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3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10"/>
  </p:notesMasterIdLst>
  <p:sldIdLst>
    <p:sldId id="256" r:id="rId4"/>
    <p:sldId id="1592" r:id="rId5"/>
    <p:sldId id="2147483148" r:id="rId6"/>
    <p:sldId id="2147483127" r:id="rId7"/>
    <p:sldId id="2147377851" r:id="rId8"/>
    <p:sldId id="2147483131" r:id="rId9"/>
  </p:sldIdLst>
  <p:sldSz cx="12192000" cy="6858000"/>
  <p:notesSz cx="6797675" cy="9926638"/>
  <p:custDataLst>
    <p:tags r:id="rId11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552" autoAdjust="0"/>
  </p:normalViewPr>
  <p:slideViewPr>
    <p:cSldViewPr snapToGrid="0">
      <p:cViewPr varScale="1">
        <p:scale>
          <a:sx n="80" d="100"/>
          <a:sy n="80" d="100"/>
        </p:scale>
        <p:origin x="72" y="42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F54D5E-9797-4F5F-9FD5-217ADDF4BAE4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5A1113-1875-4055-9A17-3680448988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85761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9D9652-1AAB-4CA5-B4C4-7FA575B39BF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905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9D9652-1AAB-4CA5-B4C4-7FA575B39BF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7690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9D9652-1AAB-4CA5-B4C4-7FA575B39BF4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39842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9D9652-1AAB-4CA5-B4C4-7FA575B39BF4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67735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Most common Customer sentiment ...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7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7.png"/><Relationship Id="rId5" Type="http://schemas.openxmlformats.org/officeDocument/2006/relationships/tags" Target="../tags/tag20.xml"/><Relationship Id="rId10" Type="http://schemas.openxmlformats.org/officeDocument/2006/relationships/image" Target="../media/image1.emf"/><Relationship Id="rId4" Type="http://schemas.openxmlformats.org/officeDocument/2006/relationships/tags" Target="../tags/tag19.xml"/><Relationship Id="rId9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26" Type="http://schemas.openxmlformats.org/officeDocument/2006/relationships/tags" Target="../tags/tag48.xml"/><Relationship Id="rId3" Type="http://schemas.openxmlformats.org/officeDocument/2006/relationships/tags" Target="../tags/tag25.xml"/><Relationship Id="rId21" Type="http://schemas.openxmlformats.org/officeDocument/2006/relationships/tags" Target="../tags/tag43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tags" Target="../tags/tag47.xml"/><Relationship Id="rId33" Type="http://schemas.openxmlformats.org/officeDocument/2006/relationships/hyperlink" Target="mailto:webdata@bain.com" TargetMode="External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29" Type="http://schemas.openxmlformats.org/officeDocument/2006/relationships/notesSlide" Target="../notesSlides/notesSlide3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24" Type="http://schemas.openxmlformats.org/officeDocument/2006/relationships/tags" Target="../tags/tag46.xml"/><Relationship Id="rId32" Type="http://schemas.openxmlformats.org/officeDocument/2006/relationships/image" Target="../media/image9.emf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tags" Target="../tags/tag45.xml"/><Relationship Id="rId28" Type="http://schemas.openxmlformats.org/officeDocument/2006/relationships/slideLayout" Target="../slideLayouts/slideLayout2.xml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31" Type="http://schemas.microsoft.com/office/2007/relationships/hdphoto" Target="../media/hdphoto1.wdp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tags" Target="../tags/tag44.xml"/><Relationship Id="rId27" Type="http://schemas.openxmlformats.org/officeDocument/2006/relationships/tags" Target="../tags/tag49.xml"/><Relationship Id="rId30" Type="http://schemas.openxmlformats.org/officeDocument/2006/relationships/image" Target="../media/image8.png"/><Relationship Id="rId8" Type="http://schemas.openxmlformats.org/officeDocument/2006/relationships/tags" Target="../tags/tag3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tags" Target="../tags/tag62.xml"/><Relationship Id="rId18" Type="http://schemas.openxmlformats.org/officeDocument/2006/relationships/tags" Target="../tags/tag67.xml"/><Relationship Id="rId3" Type="http://schemas.openxmlformats.org/officeDocument/2006/relationships/tags" Target="../tags/tag52.xml"/><Relationship Id="rId21" Type="http://schemas.openxmlformats.org/officeDocument/2006/relationships/tags" Target="../tags/tag70.xml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17" Type="http://schemas.openxmlformats.org/officeDocument/2006/relationships/tags" Target="../tags/tag66.xml"/><Relationship Id="rId25" Type="http://schemas.openxmlformats.org/officeDocument/2006/relationships/image" Target="../media/image10.emf"/><Relationship Id="rId2" Type="http://schemas.openxmlformats.org/officeDocument/2006/relationships/tags" Target="../tags/tag51.xml"/><Relationship Id="rId16" Type="http://schemas.openxmlformats.org/officeDocument/2006/relationships/tags" Target="../tags/tag65.xml"/><Relationship Id="rId20" Type="http://schemas.openxmlformats.org/officeDocument/2006/relationships/tags" Target="../tags/tag69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24" Type="http://schemas.openxmlformats.org/officeDocument/2006/relationships/notesSlide" Target="../notesSlides/notesSlide4.xml"/><Relationship Id="rId5" Type="http://schemas.openxmlformats.org/officeDocument/2006/relationships/tags" Target="../tags/tag54.xml"/><Relationship Id="rId15" Type="http://schemas.openxmlformats.org/officeDocument/2006/relationships/tags" Target="../tags/tag64.xml"/><Relationship Id="rId23" Type="http://schemas.openxmlformats.org/officeDocument/2006/relationships/slideLayout" Target="../slideLayouts/slideLayout2.xml"/><Relationship Id="rId10" Type="http://schemas.openxmlformats.org/officeDocument/2006/relationships/tags" Target="../tags/tag59.xml"/><Relationship Id="rId19" Type="http://schemas.openxmlformats.org/officeDocument/2006/relationships/tags" Target="../tags/tag68.xml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tags" Target="../tags/tag63.xml"/><Relationship Id="rId22" Type="http://schemas.openxmlformats.org/officeDocument/2006/relationships/tags" Target="../tags/tag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3C85384F-D14C-EFD1-984F-641CCE90FE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9778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6CB648E2-5A4D-AB93-5B39-A10B06FC524A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784476">
              <a:extLst>
                <a:ext uri="{FF2B5EF4-FFF2-40B4-BE49-F238E27FC236}">
                  <a16:creationId xmlns:a16="http://schemas.microsoft.com/office/drawing/2014/main" id="{08A9D835-54F3-28C1-782E-D8ABA3B75744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302458">
              <a:extLst>
                <a:ext uri="{FF2B5EF4-FFF2-40B4-BE49-F238E27FC236}">
                  <a16:creationId xmlns:a16="http://schemas.microsoft.com/office/drawing/2014/main" id="{6FAF4200-F7BE-F888-D6B1-DB9A9C0CF57C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635977">
              <a:extLst>
                <a:ext uri="{FF2B5EF4-FFF2-40B4-BE49-F238E27FC236}">
                  <a16:creationId xmlns:a16="http://schemas.microsoft.com/office/drawing/2014/main" id="{8562C784-4D0C-432F-56A3-F4DCFC616CD9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488499">
              <a:extLst>
                <a:ext uri="{FF2B5EF4-FFF2-40B4-BE49-F238E27FC236}">
                  <a16:creationId xmlns:a16="http://schemas.microsoft.com/office/drawing/2014/main" id="{90930A35-0B31-094B-77F4-5C53180D22D2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9AC70B36-17E0-1BC1-BF92-76447A3F884C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188069">
              <a:extLst>
                <a:ext uri="{FF2B5EF4-FFF2-40B4-BE49-F238E27FC236}">
                  <a16:creationId xmlns:a16="http://schemas.microsoft.com/office/drawing/2014/main" id="{94D883F8-BF43-B8A5-D78E-4CD1292A783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265271">
              <a:extLst>
                <a:ext uri="{FF2B5EF4-FFF2-40B4-BE49-F238E27FC236}">
                  <a16:creationId xmlns:a16="http://schemas.microsoft.com/office/drawing/2014/main" id="{2A60FB9F-F38C-9636-C8B0-758F7FC8DE29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392428">
              <a:extLst>
                <a:ext uri="{FF2B5EF4-FFF2-40B4-BE49-F238E27FC236}">
                  <a16:creationId xmlns:a16="http://schemas.microsoft.com/office/drawing/2014/main" id="{B9AA6F45-7B2A-9EE8-31E1-F1596233FF9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386347">
              <a:extLst>
                <a:ext uri="{FF2B5EF4-FFF2-40B4-BE49-F238E27FC236}">
                  <a16:creationId xmlns:a16="http://schemas.microsoft.com/office/drawing/2014/main" id="{725FA60E-270C-9826-26DC-A6CE36AA70DB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3">
            <a:extLst>
              <a:ext uri="{FF2B5EF4-FFF2-40B4-BE49-F238E27FC236}">
                <a16:creationId xmlns:a16="http://schemas.microsoft.com/office/drawing/2014/main" id="{E59650E0-00C6-EE92-EE4F-95C95B9CAD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1268413"/>
            <a:ext cx="11522075" cy="900112"/>
          </a:xfrm>
        </p:spPr>
        <p:txBody>
          <a:bodyPr vert="horz"/>
          <a:lstStyle/>
          <a:p>
            <a:r>
              <a:rPr lang="en-US" dirty="0"/>
              <a:t>Most common Customer sentiment Blanks – BCN PE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581625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btfpColumnIndicatorGroup2">
            <a:extLst>
              <a:ext uri="{FF2B5EF4-FFF2-40B4-BE49-F238E27FC236}">
                <a16:creationId xmlns:a16="http://schemas.microsoft.com/office/drawing/2014/main" id="{2AD610BD-6AE3-4387-848A-9F78FAC3A0F3}"/>
              </a:ext>
            </a:extLst>
          </p:cNvPr>
          <p:cNvGrpSpPr/>
          <p:nvPr/>
        </p:nvGrpSpPr>
        <p:grpSpPr>
          <a:xfrm>
            <a:off x="0" y="6936226"/>
            <a:ext cx="12192000" cy="137160"/>
            <a:chOff x="0" y="6926580"/>
            <a:chExt cx="12192000" cy="137160"/>
          </a:xfrm>
        </p:grpSpPr>
        <p:sp>
          <p:nvSpPr>
            <p:cNvPr id="18" name="btfpColumnGapBlocker317856">
              <a:extLst>
                <a:ext uri="{FF2B5EF4-FFF2-40B4-BE49-F238E27FC236}">
                  <a16:creationId xmlns:a16="http://schemas.microsoft.com/office/drawing/2014/main" id="{7B30A090-9547-4604-9EE9-0C4DE01AFEE5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6" name="btfpColumnGapBlocker747165">
              <a:extLst>
                <a:ext uri="{FF2B5EF4-FFF2-40B4-BE49-F238E27FC236}">
                  <a16:creationId xmlns:a16="http://schemas.microsoft.com/office/drawing/2014/main" id="{CD31E6CF-3CAB-4E44-A041-9ADF1DD3C629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3" name="btfpColumnIndicator122033">
              <a:extLst>
                <a:ext uri="{FF2B5EF4-FFF2-40B4-BE49-F238E27FC236}">
                  <a16:creationId xmlns:a16="http://schemas.microsoft.com/office/drawing/2014/main" id="{641D6620-7F3B-49F8-BB3B-195BF6AB5FA9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276936">
              <a:extLst>
                <a:ext uri="{FF2B5EF4-FFF2-40B4-BE49-F238E27FC236}">
                  <a16:creationId xmlns:a16="http://schemas.microsoft.com/office/drawing/2014/main" id="{7FF7749D-B4DD-4A4E-8088-34EF1EC72DB4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btfpColumnIndicatorGroup1">
            <a:extLst>
              <a:ext uri="{FF2B5EF4-FFF2-40B4-BE49-F238E27FC236}">
                <a16:creationId xmlns:a16="http://schemas.microsoft.com/office/drawing/2014/main" id="{508A76AD-46AF-41E9-AEAE-0AE3FC6439B2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7" name="btfpColumnGapBlocker332882">
              <a:extLst>
                <a:ext uri="{FF2B5EF4-FFF2-40B4-BE49-F238E27FC236}">
                  <a16:creationId xmlns:a16="http://schemas.microsoft.com/office/drawing/2014/main" id="{26A3E39D-FC73-455D-BA88-E9496C59613A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5" name="btfpColumnGapBlocker325679">
              <a:extLst>
                <a:ext uri="{FF2B5EF4-FFF2-40B4-BE49-F238E27FC236}">
                  <a16:creationId xmlns:a16="http://schemas.microsoft.com/office/drawing/2014/main" id="{4D98849D-3BCA-4723-B441-0B02F21687FE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180585">
              <a:extLst>
                <a:ext uri="{FF2B5EF4-FFF2-40B4-BE49-F238E27FC236}">
                  <a16:creationId xmlns:a16="http://schemas.microsoft.com/office/drawing/2014/main" id="{94193B55-265C-49A2-95F4-90555BA78D9C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974269">
              <a:extLst>
                <a:ext uri="{FF2B5EF4-FFF2-40B4-BE49-F238E27FC236}">
                  <a16:creationId xmlns:a16="http://schemas.microsoft.com/office/drawing/2014/main" id="{D06AA6BD-2F68-440F-B3AF-AEEC374F717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49F9CCAD-A1C5-44C4-8374-C6AF578D61FE}"/>
              </a:ext>
            </a:extLst>
          </p:cNvPr>
          <p:cNvSpPr/>
          <p:nvPr/>
        </p:nvSpPr>
        <p:spPr bwMode="gray">
          <a:xfrm>
            <a:off x="1726812" y="5840409"/>
            <a:ext cx="1376580" cy="279660"/>
          </a:xfrm>
          <a:prstGeom prst="rect">
            <a:avLst/>
          </a:prstGeom>
          <a:solidFill>
            <a:srgbClr val="F2DE8A">
              <a:alpha val="50000"/>
            </a:srgbClr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rgbClr val="000000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08FB68A-E923-453D-A310-CFC69C2D7CE4}"/>
              </a:ext>
            </a:extLst>
          </p:cNvPr>
          <p:cNvSpPr/>
          <p:nvPr/>
        </p:nvSpPr>
        <p:spPr bwMode="gray">
          <a:xfrm>
            <a:off x="7102302" y="5840409"/>
            <a:ext cx="1376580" cy="279660"/>
          </a:xfrm>
          <a:prstGeom prst="rect">
            <a:avLst/>
          </a:prstGeom>
          <a:solidFill>
            <a:schemeClr val="accent3">
              <a:lumMod val="20000"/>
              <a:lumOff val="80000"/>
              <a:alpha val="5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rgbClr val="000000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6173F81-8529-47DA-B9CB-17BE1262EF86}"/>
              </a:ext>
            </a:extLst>
          </p:cNvPr>
          <p:cNvSpPr/>
          <p:nvPr/>
        </p:nvSpPr>
        <p:spPr bwMode="gray">
          <a:xfrm>
            <a:off x="8852660" y="5840409"/>
            <a:ext cx="1376580" cy="279660"/>
          </a:xfrm>
          <a:prstGeom prst="rect">
            <a:avLst/>
          </a:prstGeom>
          <a:solidFill>
            <a:schemeClr val="accent3">
              <a:lumMod val="20000"/>
              <a:lumOff val="80000"/>
              <a:alpha val="5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CE3A1E6-C94D-437C-9511-83E25A76DEE2}"/>
              </a:ext>
            </a:extLst>
          </p:cNvPr>
          <p:cNvSpPr/>
          <p:nvPr/>
        </p:nvSpPr>
        <p:spPr bwMode="gray">
          <a:xfrm>
            <a:off x="5329266" y="5840409"/>
            <a:ext cx="1376580" cy="279660"/>
          </a:xfrm>
          <a:prstGeom prst="rect">
            <a:avLst/>
          </a:prstGeom>
          <a:solidFill>
            <a:srgbClr val="83AC9A">
              <a:alpha val="50000"/>
            </a:srgb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BBCABA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rgbClr val="FFFFFF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5ABDC36-3562-440A-8CAE-5CCBEC47E457}"/>
              </a:ext>
            </a:extLst>
          </p:cNvPr>
          <p:cNvSpPr/>
          <p:nvPr/>
        </p:nvSpPr>
        <p:spPr bwMode="gray">
          <a:xfrm>
            <a:off x="3531199" y="5840409"/>
            <a:ext cx="1376580" cy="279660"/>
          </a:xfrm>
          <a:prstGeom prst="rect">
            <a:avLst/>
          </a:prstGeom>
          <a:solidFill>
            <a:srgbClr val="83AC9A">
              <a:alpha val="50000"/>
            </a:srgbClr>
          </a:solidFill>
          <a:ln w="9525" cap="flat" cmpd="sng" algn="ctr">
            <a:solidFill>
              <a:srgbClr val="BBCAB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rgbClr val="FFFFFF"/>
              </a:solidFill>
            </a:endParaRP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624410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1740350649972884 columns_1_131740338247856450 6_1_131740338246954055 9_1_131740338247154583 12_1_131740338247345185 13_1_131740338247596111 19_1_131740350340356512 22_1_131740350520505784 26_1_131740351718073034 29_1_131740360203575201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/>
          <a:lstStyle/>
          <a:p>
            <a:r>
              <a:rPr lang="en-GB" b="1" dirty="0"/>
              <a:t>Customer sentiment/ Quant: </a:t>
            </a:r>
            <a:r>
              <a:rPr lang="en-GB" dirty="0"/>
              <a:t>Target lags on consumer advocacy on E-commerce with net sentiment of ~20% vs. 55-70% for competitors</a:t>
            </a:r>
            <a:endParaRPr lang="en-US" dirty="0"/>
          </a:p>
        </p:txBody>
      </p:sp>
      <p:sp>
        <p:nvSpPr>
          <p:cNvPr id="14" name="Rectangle 1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V7V/wylEnRSjNa0bZedd8Yjfz6TiCJG8OqoXAl5SrIeF08dlXg26VCLQSuMwFMmWGmihLwizelWVh0+YrBGrvbI9abCAsXIvQHRa+DCJaU1caZXRjzwrcHSZBFTLJtXIvAUZKjjZ9v3VdSF1YPXcxNkAaPO6arVNpTMUru7qJWPmpbWy6W9iWP8nm/BjzoOwjK2QJl9aKzYSn660o3rBhd3NYTbwNo1xOnuOn4AeqzfbkEPQCj2+TKs5vxY/FAcsdFQtrUKNfCiKj6myGvZiPU1ns4SH24LhuLPVdjTVujxp3hwtVtTg2+UBjxZExpY4bF98fyqiCqSUrAUq0282Lc1t0PJMMPhg3bcwQN+o8aJGHA1nWQdUJTj01Vo2NNQ1jeSFEzZs3CtAMJwHY9Lle1ilj8hluq17i5Ca+SmkeGD50VTCBKzSPJRaOsvR+kto2zlplkdKgMiIlOMMjtmYm82r1h/L0SyQou9zNvNnAwp6tvbe22PfQIUTih1Lu6b76QgUbYZR61UJ1oxRRyUt59n4lSAiK6lvv+FEC4zGrC/xDryg/SOTQ/+C5Uu0zfez68laQp1+76/lPBf5DL3vg+j5UGMno/aS0NTTuu4OsC0XADT6lEo0YCiVhM+vN+E8cGkpJcJQgZQ7JTgmEjDCycGMdAb1/TDxb2ktcpMvkeAKbc3D5KbHoD4ybPOOydM1KcwUSVb5VN42TncOSzGRKXswLLQ3wNp5NkbzFe6ZoODUz/3EfQQf6YO4767P1rU/jf/gYg8chJTqJJhcPnZP2g1eRJdh5TBnQrnFbvbE9MRE82ul6GauCsOqJ13vnV9YZIgG2gEw0aIPcAz0MXIehwCbKmUutDWpGBin6WHNpGw2OqSD4TccbOGZGsd6p9062mVdhp0Rp6kvFlUHtOxCDMxToVVEMPI9fCK/KQrhw9RQe77TbgEItIiK5heZNFSF+KvNS37PEEryDinrK9Z9BMKRbQkwx3RG0pPgjNng0iIt1HdFPxLgDiSMjgXhVYtSTabiJ+Yf5MLUk/bmPnWESyVz8MuMqTzGeQWsuXQrONBeqnvjjBVijA9uucuKUHILXL7eGjfzGaBlHIpV5oqAGaoQcouudaWSGh7Kzbx6eeLtY+BJ6aAwIvolwXPnKxlEX2Xa5gNx5NgRzrNVt5YlTDYepXNtMg/PD+lspl0p9HyCo8cms0Cm7HC2gbyLfdKN270o+KJpI6zkJKCTedJaV9zJQSQNc39yqOq63jKZAeinhdoeY5lt6DSBFSkW9NmoctU4Q6xhsmOlseNthp4NQJotgk8IT6IzXNHOMmIiJDZclNosnHXEmgtiomOoNuyisfVoQ/mUGgl7O/+bycmLra9KAI9hVMT4Xs+jv6vXOrcM2nMtYa9svH65ZkoFAZpCjBqcKgO5nat3CObxKXW7GePGn8bwe14yxXu+WqrA2L5fOl2HF8qoEwDTGODC7049gun7xOHLxasYiLC5FDSoVeFKMhuVw5DhK4MbFHS8AH5W0Ym8sf6zn7dNmOzd16WvrH9J6DoLd03i7A9g08GduTwzB44yVyyMh/T2I4uJQfSTfbRrCeh3Q2mQZUhebwUR3OlmAn3nezYo19ohxWrfjRrcS/Ah5aN1Rm7oxeuMmrs9WczX3Hd6iK2yyEdbaZH65Pdb9OUtzSJzDvQPbizh5iRx9vJ5LBFOGlWq46XGGkzMPAytaaMCOyCK3qp1qtdrFSoO3BUdytvoiY8pkpufgkGXRZSLOclF79skX2ZSOs0JxWazdhDbDNWnhZpISBXPLtTMldaqazLcV5vP2TVtN1WmL+Ca+m+JF5ws22lcEuWFnUv/98QZGTxB1rA530Ts1LmiybJiXui3PKoANZ9Mrts0u2ZDoZPdIKdV2IF63GOWGqOF1cLW+S6zViSdlcTxVbdldlhYEKnpxpQbvmlOg36BihTdsgNy04BytJiQI5WHpHH8sbtn6s3XJtgSzExdv1Py/Cq6DRmxnmUouF6JyYa8lLdcePJ8oSQoyPVQpQO0kdpgVkKZqSFXkfTh6tO8EIPDIpHL3kcXsIOEQystFC3JQ7yHAg+9wHZNC0BBfXmeuwcc5m7ZGnQa16vgsvBsfwtyWtgFYiyysZnHrNRG7zzzP779BVnN1hK1LNdaa2QLyJoYbg0Wv/XMlHqk0i+07Z4lhfhulhFdKk+SJL49yc66JSK3l5++n8a9n1RbRcf6bLHiMfR3ZbiI0KttJ5Owi4/wX5rbapWWCI4a99xZyccVAJJhcbJK+pBZ8q/NXMkTON9fX0Zm+KWZ3XInn4mp1+YYiXEVsAjVFATyquKn7N8r46w8ijnqnxpK/hkcKK9VM8LnGVl2cHUmoMsznyu0E0JQUXa/PQrbltbuhrrjgjCfvevZQN6WLZe8AEpKoyOctJoiyApmsF/fCaX0Zv1Uwr4N+xtShVJ67itRjo+6wxpT0TM7pndvJBIB33t1MQ6Tx/Iu0A2UvDdCm62dVwIIpurHA1B2Clsnx9nqJOLXNP5I5GTnxfwKHBtXKdaez0GvmhhruFR9e9SwtWCvYke56Pec6duu/UaiFcG334u/VhsHdHeYZm3deIdODxBVTdZp0O7oi7Db50ARi1urYDsHoIFU0fMyL4MTcjvzzvaLyxlCeWdlje6YGd+SA/HM8NnRtYW+E4X4BsFod4otBgCVohd9Wsx/0/MG6vkC5e30YY930cHQIAyor1udUvDUVav4eOJLi+0Rlf4lQD+EHdIyzYJRvsIO+lxdepg+pqcBf9jjOxGF+3DV0fGBQcs4S7LZFB7vLBlRSr9MVqL9y0Fgvz+vSsMusqCHKnWwO7k5J358G/qE4RsTMZDZ1ArUGX8vFjBdvCWgEW6ekdtss0JNCblvAXaHB/rgmEm6FurERh3XzLKEMNAGYZe2zPeUxexfIZ+1fB7wKxTthc5wf/GgIOdxxDD9aEeTgDVnLXRQxxcFmUtF9uQtiNOgJJOSShw8R/lNMVOF0OEFI4wt19BcgP2YbbXLt/gllRrSSaWxyMcjqikR7LE44czJgh3vKzGv82GvB1YPVIlWYR+S9NdtwpMY7+81NRt86JvsoQ6+hp00zFBAfiugvr4l/w42uRgYSbOinpfrhXdnfA1hNl2gEX7Cknz+zozNYbXdL8KgyopeCIi8Swh1sftB5xguMF4vrsWr2fJhPHiQlnrZvsG9/zSBo4JYfK0ohB5nUk1jvZsxWvzFIj0ESQ9nwXwEqd0ATmWgUDfZ4M4IsLeb9EcqdWDOUEC9HRXCS3ETqgMxnX180pydZpXUBo5QZj/cqwjkmaX7ZF94Ll38pkFT0kcFaby4KEg5Cfj5NPbJtcv3+eHKnCkeDywRaJWpI6P69qC3bg8bf46iwMrqDF9mdJGq4DJuINheGAknhUUiXhPTwlesh0BtZbB5p1KTYStiQl8ElIjZzp7KTJkpvIEwrEVn6vecVHLSxWScld2hdWyaRe4By3xqHOFIB9r2GxNcD5i+vbsROlrfb4ADbf0GTaFAFjUioImCLJCX/EYf8k/qOJ6wel8Dp/jWc8PP/j3YFA6LxS5aK3sy+2HsEOKENxluBsJ3MGVYNh6G4y7fVGOjbTq2aqOxUMOlbTCM2oqTNxnMjwMvTFGLY7jT9tlZ6P36HDlVPpfclr1RiaH95gCGXVqxLkyR+ITz4tZzF4ZQ4GbkwmFZA+yGliVI9gOV1iQDBOidv68qyKi4bjlAHaDuuMAlBXCN/GMVUuZvthYs2ki84Twiv4WlzSIXwgW0leI20N3ozbTlcJLiisoAk/KltI6Y5JqYX7OIe6vrrGTW7ulAPRgaU/arRCybJZ+Ecg/YbfONK9U1BOegGjOaMvC1LBEN1SMsEMtyKj6Fv259ZGtohVea1p8DXGFL3qpkXGqHM0E5K3adaiDy76QPe7JhOxCJ1g+CmMbSdySyOWUTOfRC5k5M7mYF/9grF21vxo5E/oXOpCDKZ7kFMjL5BKk0mwmJWQ1c/T0MhouALsaf5PDvndP+soWG/o+NZVLwx2y7zC6bWZvquT1HnD425f0MMj/UWss5o4nWopsIsL6XZKrSIaeLvc7hHNmHibrvRL7xb5XctnzalVM+2CfaccxBss6GA+wOryM+yzJ2ZdK0wWzZ7UTEeF3qD8rPDutLWg7WZJSS2anb0nqcht4t5nzxyMGvCCQwxatiYqf1g1F3kAiL79MSdZKxpgzHrET1GELfROmFmCcGvQZvfRlPN9tz3+9v6/qB2dQibIK65c8jy0ZaX9a8uI+LDz/WrBbhP6zabLjjEdmp/bbIngcZz0TdJD0nN/4khXw39OuzT6rUou2utL/bLKemktLknn0NDlOwJt89iTYj14Q2D9BWNtHd/TWdr74E51kMjOI9r9Q/Uc1yK13dlSa8piO7o4NBogcfNXnckhOBVBqrSc/wgoMEnJQyjdpgVKUljr3aSyuIuPjL946vSPVLKzBKFpzED8nNxRbODbXJgaeg454Y3zqtAEPOxx6BfdVbCKmsULai3LnC0aEsA/lNENhyAsDKtfYUGNSlRNVFWcPOKWSocwhCGj9ZiP2QmAiPnVgFr8pNoBydtVHx4vO8ztjZmHOufh3ugOL/tNiEV95KO+nOvPJEJlRw2VjcVsR+ooPiaJ7brWMZ929UCnlABrq9/7q0q/nznMfz1m4m3NvYF1gSRHqjuTc+5EjjL2tRLeh0rC/t0NIq6ZnSuklsc+7dhZBShrwa9YHucDXpkBQgqr/a5NNuY4QUfV7ZweMXLYyXl4fXZRNcxV8TaTXDSx/BiRhPWwxuShcLusOf8gH/6YajD5h6tmeLmCSGz8IBCmD6MiIkUj5os92DxfurIES/Kk/d6doOwQby4F4cLE4TBI7t6pm+1O6mJgQSx68wo/J0fwVLXKIBaea39XdOae3jdAr0HsVJHPFryh7XrZ5+foksAFWKLzTkAjdAFbRNpJG8Men0vsIkgyQQTZCkrrUYhDzb1CVrtv8BuWfZe5imt8UNKXJexYOktw5LFYuPr1lBQvhbcu6BFkfM2sacQDQySa/C2Uv+BYyQvIqTjZ5a4gvKMic1KosNvjbSDbET4KCac3UvZxggjCHh9din5Na9S7LtSHwuv6u4TxwuIg9zFm5wKMfo776HLuTvXEcHfzWXR1Ka32P60Uy8zzsRMONXgTGKDnDyeRO7ODS8Cv46bbv8eFXJJ2+jOY9yVs2kbLVs3t8rR0nhbuBu5vlLeqJcaOdKMrSR6S9YUgyqHoYWk2hjOzWt4iA/YUYhc44hobRJNRK2tEe4sCr2ZzEzPfZ8i4lE4X4WnS+1tdXQhQ0NLuyzRBqRk83Xc+2ARjHuRcqY8DRwHJzNJTuSe07/xudnxCiS67L+HAY8Fm9mLi9xYbIkNWCcmLhdvRlpXsTRadO3dCBWAKMh4Ym7eLHuVD/5oNoPSZIrpoq0SQ6ePZy5yTBMPahW1KDvZbeobm9KCRB+82vEtqAM2+ovH901IJlXT2KzAVR56O0PbPYB7edqOr8FPp6n6rBC7aVoWA176Dp5eZ2fu9qjC60CiXnGHbdlAF99gu41bsKQuQDFVHam9OkleJxitXkXk+yMeLvJFnvfnTsRG5FkMt1vPXkOfkPp+9tYNKkZhBn6kyTGrOz/+qSmmKFbDMNjBwf3G61Zs0XndHNJ0u6ODqcfuUC8BqOPqWaz/WKNr4+/Dm8wyXoiqfBu3mpXtOfqnXurHFS6PD7w2LXIdTGqtaxPrb0aXYxXjrMhb2XxWGBawQx0aO2fZILkH5Lzv+Fk4kc2IufEZ49UBrQK+L0gwnNzOHhqEMbAvvwLx4XMLGgdQOURVsJHHszLmA+oKVf7rLmR0T9F7SjaCkcebp6qzgLiq755SGfldAiaRGFG1sn+sakFZP6i7weCRMbhX/7Y2vfHfrNm0fSpgv4Zgvg57mjmoG1BfdXJfG9xd5tUnWDuhFkjrnL1Poq/cZVI/WC7SF+ia9xv4th75awIMX3/pnYo7bULq6EEEFKbbeBJwGFUzTYSUTjRUwhV5hwjS3t8Hj0xMcN07Lv3l3ynW1jxm07qEzhMLXjXpUarTl3ltL1Qlajn75KMyiT0eeoZOHkBG2E7QQ6RTXkKvXqZMrX4e7qgYgbX5B0PQ3gRIxAteeMF2y7U0OvS0CAkr0QmxrcUFe6esjLxMjrYFW04qWjT3m48jLepXicTTEmw2eK87Ornq/DtRPOSTy9dPU/w3iW4/1ccSNx1/yEV7+/3ThH72EEUotJF+zvnRahXWDYsIp0ickwFFvO94nI/Eh4uZNMfXyPH/P6n/baUnfvBQBd+tjD/wl4cADquXrpm7FpauP9gog2QhSEyz7mgS8tDlsaU02rfkMU/IaMnuOhxL6VkOIRjbxcaiIFqpBbEOUGCV16+nT2fjEpYnmBF/wz46r0wxpkLRY6IqgYP4TngJ3wWH4i78fT3lTB+AuPZT9d57/YPO++w9qiQkVEaq+9y64HgtxCQGSRnA2fjGdZ7CzXtkV8wudbQnloJEqUvLiG04hnD6eC+wtowrr7uDv/M7w/pQH/ETtcWSSkgOb+jWVKjjR0FUqAoPhguuTqV9wtCv/wAkDw/WmPiLNynuBPS0Hm/+j5n/BOwy9SSevjtwmmpPXNjpEn5AABKP1/h7FgeAeLjNusyCuEwNvU7MB6TNrfp19xI/5Sry2b4WdcTMT/qxSVvt0kVHdEZwg8Ygw01VCQkz9DdTrRzpJa7dvCZmV+s7ZWnBucWI8iqTVgPeUQjZ7QJjw9IVeHBb6ibhU6zClOTY5pm7biljCDJGHI37xxu6CkRwAeOHUo4FS8V8RjbJBd/E+9yeaXrj+hS7B9RP7vFjkrAsIwT+2ZsPNj21EyCgRUxxzSVCImn1AWQv/m9gYE3KescJDgW+YNyZG9bEiVEHsUhmyO7l0gXyuDr3TzSh518rhLYlcpHPRLSMluNGYjDNr25+qTsb7NpE6A8I1Zr2GG5D9VHxIvd9Qn1BK7xn+9ODfIXmYhtoyef8N32hIUMOwDhLRToYAIwUg1w6ChUvQQDWI2gSTPRMW1VS31mbRWS53ijR88yRqFNl0iI+lniQS4hSMkb01+9v5l8p18mU9SChTcHQ4on4t8leK0FAiiKxz/jMHX/9SQSQmx0BK6BdXAm0xebOULCQulV12Qlmh081wXdi17qN0NrhxpdByG23Hr96oiM5+rVFYOJLxfcZWNHk4B2VHRTcy1UtEAqSrE+BS59ReIKqgDxwX8xCP1Ro2gUUQYdqMvY0m19MTh/xGe+0iJ2z4MlmU4evffurZfSg1LrjFHBuSXV5rPs4pIC1/GJG575Jybxk6NTcWTn3aJD86dqt/C5CuGP7pPWoimTCZsdlhLj8lk5dmInBcT6ryPnQDrqlWZycRuaPkpv3723We67UEwrMloCKno4+SEPPXiEpVKP14PtjKhJ7vwc55cIr8HhGr2xgEDIIu+lObGloMRIlNH50g6t3kDv5R9KNloFBfVfDfUE6lKj+2tZobiCrUCSUV0yB5cBscEDdRk5XeH4cg27Z7CILV0Jullzzys6HPl1GOktAGy8Pqsp3aRLriayZGmMTLB8QnsGHZ3Q1z03WhOCqppnrm4JRyDbM0v0qGAhw6KxK28As9jtxwqYKO+I10NWO7zbYF7cHdTZDJC/KW2OCls6fMtzZpaWy5J+xD84GjrFsu9+JkwubzquFL/yMk8+TFiHEFLFonyQYWqexNiZ6O6JvgBNmvqaWmsHmpuuHfsuObc+hGD/l35XtUVrvJSadElKQa25LC5AodZaG/NJzIkuyickAW3t9FfZnjzF1C0MTjzYFHcCKeGiUYbFJ1rjcY1SvM/sprhG2kbXsxEwHYeCwB6/bOvP9BduGQrDP4b2ARctFWwYCqzOc85EyPr2g7gxz50WRkDqXPToWgL0XjnX5JRpno4/+RIAtmiuZM3DXjCaQmMfsCloCHrKB2wUVt8hhEism1OgMG9fEKW1VKuFIMAsbh8s62VbNaObrRZoEZK3neKqZYKvVx1GaxjjZhVUXI3IUb3rlqwGWMg3troWwDVKbjL5DOXJk3kU95quTP8TnbG39/HgNCJ8JaGEtqwLVkGht7b74yLaFmRQbVX1mrmHZ2n8oXC6uCttETtUyK+QXicHGl+L4QbfpyUuRQHDkIh1z51brrx58+n+Lp26FkoEnrJVkr1xLj2gyY2Eq380Jj4cWmR040GAJfmSAdhzsTqFIsWfFkGAsjTbQdbyvsDuB0/AG02lgG/F+mT6Ef9eTZPWiY/QVcHRNmexA8M1NLg1nB5gVdU+dWUDH8PErHC+h8Kq6ALJNOLdE+R9yQmd/FDENdH89Dq/QBiXg3jWLi/OwDILqv4Fpn4TP+uOxQHbnFdjvcBi/lrm4EZ3fgtGhCDdjfTh3ENV1DRG1Yl13zroR/rnl7l/PoIhQlSuT2DQw/ngghB/C3hLLOlCpcD3Kcyoob1bpUJJNa2Bm5T6GOe8t1ziIuH2d+AcBUQPVJuyFGzCXFmvww3pl4orMiKs5Sp5ZCx+QL7eIgz3b2pe+TpqLUXQqsjN4tlAzMYDSd6F6PBC5mn28YBmiPp2Wi1/Z+BeLYCpZOzaG14lh0qz5z6UTs72TTVyJrSbPralTkPzEsGT9Sq7AemvCzBYoT789E03/HGHtAVI1/5mIuvnNSM5Bp7x7ggQJT627AmKvY3hEz5bOsCldc7UDLlXXDxN72U/6dizniKdNAvb9FI93RvT1TsdWQUSI9iDShmpWVIuCKpSFOFNcsPea1vC68AlEmjoA7Fmb7bCw0u8Odj1vxbJS+kYK7P54LIE9JRnL+pu4XSh3G9a9qNLDnhhcp0+z501NVuFS9EaUTE3RvGxxwLD1GzvhgT7jAeEkFgvKpz7Q7oA0nwh6waMWDE1v4VGXuup7PLuB+vg1hz4VmQBAb3YdKvb4Rd2Kvyq1HiZMRiGzY/NhAiCyMpY7j3vGJrqcf62bF5wyDQRg6nfIIjuVKHUha/nDkQ30uD5n0qyBeXBv7pebVqr3rYXFV6xvm5Z5sqkYV58qAJYPM0yy1ZxbzITj1lFpWieFRKLfit09U/CtbstuWclRKcdCDkCRTE6PJyH+DiZCqFwZXjzjarqbcWETEJGXbJ4i7YXsJKU4q3WV+gEcI2rQbnprA5h9KVAYy6iwVgdsz1NpaEPcx7cIBieBYi/7SLo55DeLv65oVQPrS4/k1KBIb9DQQmSUOeM6c66BI8zyHU3Yt/XtJFdXu3+0VyoVwSOUH2hy+pW+PPgyGYsGqpbRlkRZQLhwJz0Ziaq/YKqFhCnZMBY4idM5cDU74bBp360NkNO35c878F4KEK4Cbt94GUtVPBx6FLqcX6mEECTcqxVKx0N3OTRRcLO4NDJfAxHfVrPiOL1jrTaL3menpnMatXqi6aTTOn6LNpptKHx+MPntDkKbtTce3c9LY6pwoVam2G69wfkBPKjYEE6/AgnQRHiIZxfnX4tXX8Igb+icQG/17NdVlMZMW8Img8aT/mVnwj5fsLo6hjmWcQC/eCmyp4p1AYLyiPN1zyMjnrlk4pEMwsyACozo8c0CQPGKpp1tzd88XNRLlD8m6noe3UmEeLjvN+0urmFQbUPpmxERCde/lt+195n63Vz9h0+s1D7WyTF8rbek/pLsOOvIxWv/+ovsJMGwZCPg9yHu2QS/A3bfdEZeJOewNN7kTIKTgTi+VGs71S/hfPTke3pByz/Nr7TfWsd3x4dXObQSTDCRfXY/4YzWsZuL3pTBdY2l87X6kVlHsuz78RkxrHbpML4hWlz8Jtw19pKShLQDKZd7aIzSaig5NXNAZHAD8F/Iv6vcYZUlqPcw2OTmwUmaytm6nfpk56a/hDVTIcJ9pDZuNY5xwq0kXQ9jzrPr17RS5MfO0CvFZVPGf3oJVjOTiwYeaeNUyabV6R+jTyL0Hil12hZtyUIkzlE/udJK/bUyX6yX+qNYJ2fdkM7oVUN4+AWJVfWjbJWE+yIsRr4d4OwkoxAXqHi4CvAQtaNmWPn6OGDQsw3AJ0Exk71LdllmwhOt+nbY21GPOed0IToIJNhLHyPPdiBYGZYbBjCKH5pqI7xXSYbp4X0gjB0S0YzzCHJ/3U7h68Jwhew69wYHp+j+SiFxPE0/qp/EZ6ePfvu/7GfMN+PH0o9Oz+TKGKF5Stzo7ryyJbyZ7CuQLRLOfgSrJ3ZGKVIooEYWwejuft6taUBXxSQsBkxXp0xKX2xl2zWjl6o8QtbvXA94JiGvoJGbdOhI9AX7L5Jts3BnvlelpyDjdxZX+UpKgMwrVyqxpOswMzBOZ2vrtR9ujJnkTXR6qx6r9rVnaCYImW3UkZWwexLKWbrbFr4ranRhlwonYSUzFMmDC5PWELwmy5usLYeIgYM8duOa/kWcfFHtAFqcQLQ57rjjtxbqgKHcQGNKY713SLjvbM2LNjbjk9A1N8kv4OQziFCeE6nf+KHIJmt0J0Nw0ACrgVpuUMn5ke3K3EGBd8d/rIY9/4r51ST5X1cUV75LVHp020w1JP1i3ZtWwXQpQrY27rOGKSaimLsC2saXiRmhACdD0WoZCh5wPIVUn/BKAP+C8zE9JWUzNRYb151C2REiLzh3Tk8ADF6Eqzt4zTTRwWhS/ieKcVp7ntY0QAGYopD/V0oGMPRVe8AWf5P9cc/EUvTGZVEcad3/ALO+vtxJYTvklHkDg443KbGgiJ5oMj7PNK46+PxIEtK38EZhtEN/cAWwA+Vvhqg83njDRVNdujI2PO8V6LLQAb2AKiWlnRgAB2Gx9zgsYZHn2b8UQRLUWuokr/opWKi99CwQHnP9TWQj1/ZoVqIhiXR3ZJad7pgiX0A7FUX5TZXvpJPU3WUgLXLrfWy/8QSaVzmIweOSWOZPjH/m2Pl7sWHKv89EoAtwvDxJtGHrZmu/FSFR0czqBqepnLOJ5VqQkYVoS2y2mHtfRJj3X2m8RssYI2mK3NmqXk6LMMtYC38XzM+PDzzwIj8GJJgxGIQyvXvxSVUOQ+82SBNyR4sRKyGOXHQGL8v1JApuRBJcJMO1s967Ryd7GV0HNz/Qk2l/XY5JraF5bl73RWVXJXm8x9x9quM+RuZIDk4VgzdORyNxi5fUzNm/6NJhiv8nJxudaCKy7VRwVDF/y05H7uHBA6ZfUZa9HRT53ROYwEj6FR8DD4yPhZLtwJkoXVa/Zoavx7nYQhlHasfewWkeKh+lZClsgSfxtcekY4BARQTPLLmZ9x6eUyzo/E0BKT2VZSo4t9SAyuu0IFppjCI88wjeBXReS0eT1fQdtEgYtdKK16FQKMV6IOssYBxMq7jNTOapYdngwmv1JObY01Wn1zEks6Ctpz4dluyPrAhZMG56tILMTFq10ZgJ2aPpgfJ4zl80VkRscXAIy5cmb+T4XMDr5G/9tN63Z3jjWx3K/3yx7TBCx6raznmiwRK6AIUP3dfmTx4fN3kPgzJeHtIrsi6qHn3JJ8fVXu+JncZ2aWPv2Cz9fQvG0aeTyP6fsz69vgcr93bCy7FYWWa6ONRPvpWA7/U1FSfPJL9c/+CzLLy14A1rOxAvxW3zZfWF8dDRrVTU5EcEC5XvUqvBevRUnpE9uOpMRKwgrf3T4DdT8TrNeKdelaPO46mjhi2VcROhG0l8qlIwZuQ8v6sZc/46vmv0oGyqrRoPF9gEfsTR/EqjApLlNwDIE3Y7Ty02O/wOE+ZXpNtWc39UJdw5N0XnMmYUU9+adMpCgEy2P9Y4W55opaJa7zo+J1LhV5qXRLi6b13InPlUy29vkfWpVjF84/qSfKwqg0PiyuDkvB2wIgXNgLyMTsER+dY9yMa5mZ9S2r/48EoBT1HODHqsPo0LvY8kGnmch7GzXAixF8+yRAesv1XgysFbSO51odtb0x06oacFm7GkULb6e9o/l/7eDVo/roFyk8ozjVygOu5/D4vbrs3nD/nGV/t7sXOn2KTaY8vD86arxjnaRJh36BVQeptDEp8aufGkArVomQ8CyO5w13dOjCZw6AsO50wPBQn7BCs2eLggJ1KA57C9qZiva89hnkCW4At4h2snAFwZjm5WpY6bqTMo/jhK6BthgEA1hEIeIUgo/a4eIUkAbBXRRZBwK6Av1Dc1Hw+pPgCyp6cuQ0yS0lI+XEAFi+3k+NjjoyZTjKp/bVNymzgGaILUpwB1X2XZMmkhY+Ht0kvaiB704ITvcgTdEnVj9Ca6AOg9FY7ggIxJ5V4CvyrZHEZNkCYzEDAsvh6tOy7vHGGoKldNt6+/TVcopfQ4zOKfGQcSg5/ORy+fztv6uEXqoBryWWWPL3DrJI/AwSiP9c6iMDsiFWc4a8yQbUHkYDPXtGHNUtrCvoGFUbYs6irxa7guwaAAoq05fnayFBPGLsqAA47jP+HGy6bGn15MneOqtVaAGy463ShggfwSJ4p9abMkCr3hQ//kT35ZDSG79AqFsYfWDgFcYS1NKcZ/GnOroSzbIpj84D+3bH8Az7bPz6uwWER3tiehb5s6AjtlsUEHohMGLcmSJM/OcYOmV50CEBvGwz0XgdZQPqonmdLqCmqdxfIKM8Dq6MgRN45zh+H1yk9TuUw7A86Lmxqq8J6O0+RiZKcL7L6UP2t7+wPFr0Dc+8oXTRkgAw66uDGgemdcxK3uA7vPya+SSjjo0AFaLPyxvt8Y6esf19CqxtZz+sROWFakwgsdRG/cFCRP+Teebfj9mXaBLYiAcMDSlq/T2I4Vbq2dWMpZHwK/A6gv/o9AbwhN+NW2JDMdHPCOuX3qZfszmS8ppaZaeKoNfqD3igviOEEJFM7oBzLo0veC+6hGe9PdPqftxFZstbnMffK09tTIF5G9JnJWXRelHpey3b8af1v3UCVR/SLX6wGnsw11Rp1HhJiqFDcHfQWH6lZX347Mm75xhNf5gwfnqrrbrkLX9bkN2+6TU3uLY3pS4/GSzHqNJs4s8LCkhtMthBqGUS/aJgCqeH4uXZCPLbkTLtnKsnsMsMQBU31sOtlsk2HyrSSwJnskcsDSWqcTGdcFZ2ZX9gk0YqmQVtDNlNrGvnVXuhlDpusG150Df2UYOQzaJkYQ7SVHIkDbppBRLoptO3Iqx8H1o41g0hjvZLef/gIWlqihiFKtnyXk1ibM+4vqai3uAAB3hFjZ2IXnpv3KAdAZrdwwTdmkdVxSNAWu+XBc06V77u+whDO+9DSLPxj/ZSLDRmOA8j+nbxM0CtjLOx8Z9O+gjsn5YslkoHZ7v5tRMkaEPJWplBK1PKice7a8AOynMIUKwiq3xPYQ4hnjsHXhbv6ApSY7xANZiU5M8/XOZEL/Xe5NYdKHrWJvKGa0RFJQ/rsppoFXXCmS6O1KHlsZxchFQjQl2zc2cbz3bmpG70i6IWJ7/6I2O3TJWOnJTfPtK+pPDAVecuXCxlc+e6uYG3TE0tcR+bjazKlho5c0YPCPK1kk0U+oly+ldVltmvTQTP/6Gs+byWuAPOSb255+rcsIBik6S5KSgKbq21RauwtFd1W6aZk1MFD2Kcf+UQ30ihfN8eynJIo0jng+SMeG7gQf44F8/In8nb4RbhA0Vd6jdNFtMhCeLY0MaDmeoAy4BYK9obQYGk7t6GX0qXwcuiEgA18eVmbh8JYDVEL85WQpufWIHzZ/LcjwCGYjWft0vi53fQwFb0ucH3VjUdGUZQK3EVeXH9+GK1md+qRgxbG8CIasLrwzwS2RPkNg3W8R9HkJaHicW2TJJaBNLIFTYk0mEaVsi/9eGNKBZrBD5fJXn1J7RR8ttAXPB8/+V4ktu7ZXiuyIuqGnH25Cx4BdwHrIucfJDBqW1gs0A/xnD7a42sfacwdL1+B9YmVdlTDMBdcikW77L97vnSyRa9cmtE5OVBVU55P0+rFJdFTIhb7l70RPv7d4LHEqJwhJ4Le8nV4tT2dUspUBw7FPxVwhBURqTTXoMO5QJezEHCSYcjdO2bHJap3xQ3mNF3FUu+w3cc7+blbRc3TmkxwwBJrmO5ZcSPR/L5voAyRcJGYhVuMm06Hj+knmw8q5UZy9INInV6zVYNv7TRfd2e8xOWMsZiR9tPYUrbCYpm211oVRtLOnZ297cdjolr/cTb8FKdpUierhLGUuZu/5StGjZKvv13kiPwOg1MB3kXGPtqvc/NVFOdEBnIo9VlnKueK6VYlooGtzShUnFo7tlg9VHDDEcyKMpkQxEl+d+WL7CG3HQ6x3I8/FzwuDxQAazIX3ReVzXT3DNn+jKtSCJ1y1IMtzg/zewc0QuNEpE/JIjF6lTN8ow6ShnNpL8zC1nVdtWmrH8LHlAVqmbHtB2U8jK4znymMiP+QZlwB/msk3rYXLIFT5ZuL86TkFM/GJhqrtotxw2f7NbwI4fw+jGXn6pg8DxgzN23+ouBVffVSOxwE2D4FuEBnGu7sY0+R5GxgVux1mz3eT3w+vlLSmuTYgMAVpKzrA+MIUrFY6xJbf5K7Xwya6fCQ/woCOb6bpEdRUFTensyZZz0ltyCz0p0vHVUOuj5rMFXJUrB8dEZ3RUmWqS6ltzuB2ELSHO0iZHUCbYbYVQ2flAvVOyB2ONSfp0eEXFVnLJRNomat/aD220A79TQ7oaJxInkH6tANl1ip/gUchWMbcxsRMeacim7xCbvyHshJbIAvi0I0QKUtKIOvwRIg5V/vyYMcw1rZ3deZFdJGTiFSa8OHuVV0HUlk+1aO9poxvMjssXEYwYH6NvIcfEclzcX0YkzGQD0VK97G+yn+7HXDsKZfE36hsgy3tOVGkr+ZiEu84cNCGBi+XMs+5v6ssDhF3o4NGPTM8AGvyytx+kI4odik8aRfsPvXAGmvoYQ7sGwB+dBIe9h2icM2lJOprHZTCzlV4odpuOyfIYr+Pcdfbhubjl82aGl4C3ib6Vfd6OcXjkASMcLreeU89pwonsNEYG+q2yDxcUq7BLNNNo+gxkcFDKSiZ9lFr9MfwAxWjzcyN/L0yLMLF4TC2qkG4TSQuwvw4ri4gBxmqBiBK3pkPoO45a/JFXZA2pl53XcnKSJtpWhT1ZREkuO8Bunb7YWO/LeCRvWGTPPiBGIXIljSf3Zwo0gF5WSWa1TVBcxqexdjYWqVV94YDUzf/DVf64xanQWXAsUAef1q7brmvntCNcIrXM4zprOUki8p5BOzec+UjdHjrkQf4rexh/qaiXXDhbRNfxqNsg7+IKKb/9/gnTHIuwpoPG1huW2jkKLtCX6HspvgdtlKni6xdPR3mT9OyXTY30z7txNvXVLehjh4IJlL3mxdFoicB0WSNceOtltqqQ+RgbkMhwrUdaZ5or+0Kch1i2JL4URJ++NwruXdGrmnminuDnlDcW4YHelBfFJdfvNqsbfBkrYncibew8xSYQyZqPXlgfA6MP+g0Z8XYrPugqBW+bLxIXlx9VyOPusatnaF6tu5ZBUgeHvwKpB2jdFSASRb/xEmLPcg5xOJvDX4NaFPm+ZjX1oE+NaRLSSgbqYOpVqlb/gf3j3XERCM+u2IWE8S9S5AEAOh92jo1Lu0x7QuccgOi+XcwDuQP4oT2kX2epDAo5aNH4tuUFbPV4TKxB2oA5G8XrDd6J6Pa5GHSJP+Ho66nY7bIMAubpo5ED1Ku96NNtFXbQBGOK1fEL0EbbJmT2Ix//sVcDmjVZ5gOXJtBHYn2nNYxqRZarYvNniI+hfmn7XVcN0d43wPEGi9glL+NgiaBS+CE8KSXJ0AVTNsECvf7FF+Jm8ijw3TWLcC2D9pqRd0YSenHlfewuYVtXj3nlc5SMgCyqM87DceOlqrqve0hBLAXdKWEneeY/Geljv8b9YaWJZqF46Qk0lj+lMgg068CfeIEtxPSEMpo402FMGgaOtc7An0I0EChbVCaKVotkfvwnerWpKzYOagDS2ot6KHhKl/WvrUX9u4NhebFN1Cxrk8Hr96AKGIDIp7fHtKmSW5+wrE2XgQ4ilRtPGzOu+mQ7rC2AhBXbzxFESfZyWFSzbvPpIRwKKqg/VGFw38LVHoZ3lXt3wTiY9uwqwetjT7PDHI58bKeYjEk4SKMgT/XHlei0RVV6amDG2Ds1XRG/VTlNvxNcdNVWU9dT/jLuOglIRNGlAs+WMUzsIm0pdOoh/YqmOx6Bn7gcf4sLcgpsS9YNPidwrVRWHNPfkba8wdV/M7dyzJR4YfdmT8iRf7DUtupZ9bBCBviZhLAkM4ILm9WgB5cBPlz/BVXNFtxBBBUaTNEuKXVP4MBvqBz31k/H/qGw+GAv1+4lTMpudts2XhTC4sHc1+lCEw8xwte+KmEMj3SMLZTtGq4/YsIvjc1hiiTALnbVea6YtHFWtD+txm6CeY6m5UGnoAmxSPtVB0PlVdm9c2JQB6EM7+kCkRrA7vLxx368eD1fwtnwDcwSFYDEf1qJlZl0Yp7A8rSSLa3BdjxIgHa+iGKUhOHOYnzTj96wDTpaSIJwifS/l1OD23WdrblhwtRUr3G21UFJ8iWUAgaqW+wUKbPyd6OskZxssRydNDQuwZWTi8L38mSe1kZKU15Vk6J5BWAPpOcT5B3rTI7Hz8TLUHCm1sJ73D+3+zeWaN02iX2pv7SEteFzxCAKyDKGsoTh9TIOR5W2J5GEuKApwAq73CIZ1kSwLZ72RbkPi5yPVpRd8LIcqMUgWGtxquMgocDUCJKod+jmH2UL7PQH5LmtaBaVB4NwHZIMnRAb6BEGytTFLcRbXLTcgvuf1mMSEHwRKtgpITCwMtUQRiGmCHcIGU8plId8BGFnAIgm9WuxYf7ID68l6H2UNoQuuuHgaxwD6lTQe2gHbSTPHoPQsb7nXhIi6bPbJUFoHab4I0Rv6+k8WbWfQwwJzhnpgHUAxrs3U/u4SFFrcCRICor5SR0SL7mWpQykbqpICz561/a/EUiyYAEG1XLXyoI3sSf2PXv66Df1xGC+IedCUy4zesvxZ+p9tr3nZkiTttDXUAurueSEp0tR8WTjUfcY4XH/aqnxq2WOnaZdYwB3CtjnZoowDfgG2QB0uFCFkfzcC9eqcOD15G6wJZNO4H2yX8Pmw/ZxyH28JzweRlGi+Tw032faG1L/825pq1GMMgrY8K72r/NTNO2HgaLj+M+JJLzpcxcFTCFKqpd81WiXPiB6SLsTIAPYNMx3nBBFR0hnfIhppdZEsShH2JDpV8WkwGV02D9wIM1xO6h6yRDyfdX+j4BdkxNph+wxFPN5o6amdMVq/PkLNWT71Ysbz/1vNNPNhbj+kqSBkGWCw3Gw2txWZZ/bcUPdmHS5W3NfNVpySMBcsb9iVwqWq5vVzT8B9rO+9MCqBt458RZQgKmUPOY1u1vDk/ca3/z0OPqHdkM+vAL0nO9B0akAkc8L5s1CDQQ43YyZ26GqfsFF9Y729heZRy+5j1DUlWLSnwo2a9msbPFTdSSjQCkCtIk8zjwdjmBIdpA+KoZxdxTmyugV2SP7Avfq2FQafUtpYogWLQ3wGBRIVSXjpDKuW4jgSCo8QP8A/ESTCtF/RhZnI2D6B1eCwzMeZXgO1JNOchBOXSgy2KyEG1N25Bm15jumSYVIi+m4NMlV8zDMt678OFonWTNaEfMG6uvB4XvDjd82rM4M1qGL5uFcjst0N0uLpXgOMThi+CEDJANweWO7on2ScTd9wOJm5wEUD99Iua6qYS8vJvF+PTF8iYXj+zAediVy++PywglAkSv5vKXOrLdnr6M9yJ3C0B5AWQa8PRRTi6xKOB10aZ0a6HuBZUqZHzcUqNOPcLH+9A+s5NNU4qneIYWcVQJEvD6UHKUHwrSmRFT3TYQCneVYDy7Pbw9ssuIezpaqC2hINTJOK6vGU+SUyeu5DzWx8XDEhEjvfpgfPdZbZ4wFRO1nsbSeUUp0dsoRD96kFoxy5TfvKKcTqT6FLNLuwJNSx1OTj7dQQgIliY82UcCqN0g8ZkfrO1xH1MdbQ+c02idZ+usstwPhxiqvqdLAY7MS2RTFIS1AWhM4KEpS2X7aVMs0wqPAQyYtX/Efl+p2r7nxsa/cypGrMqltFzbxZqelKFc29bCuoK47D55fQ7YRgBKhdOGN84sPSZI2TKN7/nTv/9b7KWW0fj48ciZt3/V62C3LRbD1OtkWwKfY86v8nySfAVGPhylFzBwdqqKmUfshj+3rUjYGiwRP+scTBd+GAASRkHUNuW+bIedr5FynrCfEJkt/I8Y3isjq3PAljNGq2M5bVVYYIjq2oMpWL0cGtWH2Vhhtqw91LpkivI18x5yLq723vs6iZN+HAQeuOUQda93nseWf4P4zDrIO6/v3Bdz4UIfdcvRuuiPS3PXtEjQ+Z02QVDfCmpXXbtLqUT/OXZYLtblMqBBTnvKMu+Y7DNT03Swxe8gLIwTR97MrrdxJSAQorUWmyyi7a50ckBLed9z05NeJmyNnu+i3W+H75jY7H6t33dboN6fRztzxnb6wDoQcVRKMbUVOqt/F7xxoksPMsqppNF2GcqhEvFZcpzGtcmxvPrNQHqHqXHtEwnOHcq7GS+BsFtWL48LEcR3tUZ15lHhb+IWngigo5uQgWO5F3prYbgxHEEZ7MYSWmyvI+57vnUCbAHsKhg4C0Ke9PjzG+re0HtkMqmuCNhDLaExy2NulxgSPRraG67xze682C5hv4IIhnL6mkuBxNUEh/Z18iS6+7eI52DZ8K+lEGjx1LXiM5UAcMh5/nux0634r/WyiWJlMvhdFOZKYQXYz1xKKPpN+qRIauFaWLCyrKsvDFrekwRqYuQs84O9652lq4gco+UeMLCn9Dbqdq5Qdu63nLa4k6/wn+O8B2/NsRaxkximQdkyEsRvDMg8TSBoKjeeY0CrJea6vy+GGy1i8COA6ICqBs1cG1O66yU5uOOYNaWjs5Tg6r6udXf2syrD2Ci3HTcfMj6n2fAMNoupjahfTfz3veslOQJVElK+NKGrs+PacYT1YCy4jRrSzUPKU8z9nNcCxkjgtzQRIvmJDbK7gwu8qZ+dK++giRkVSq6PQ8lhk3hQ0WVNpLFKiRO4Z4/tfqvhaufc56e8K/p9qVc23X91dk00oWcqSRkzFVbvXjyrn2OBAyKlrMBIlfEgcSbHqRjfAARdg1m/z8VDzNsi/0/8Btvoy58aNN2nLsYBS277PEAm1DpKY3Q6aQD1aXm0IXkmJvFIEb2vtZ3I/7mA9t+gxQCBY3AOFN5y4B5q9Ro3wAplK+gchw1vW5NTKeHjPy2sI1V95Q2453IuSp38XK21n++ajYP/bVy9vUDNi2XwsbpK55IZAv3+qUEW8ZzUSxtWvpycPTuOvTepXrgARjufCQMEb2nIdvA5BLtOalDRbpSj4nB5u2rGtBq0/qjnLX+sEC8fDl2S8CzgQWizGF8Z9JqRx/dSnPJfdEalB8uVcpbYMQcpHNHn27cgXGItTZ73B9/AR0EfLLQsZCCyDCld3XLMc4A8kIVZk7zDlPnSzecqS4pIL+inrmyoDN1hXX2B6Gu/h4ELbjYKGvqyDWIPo/pcresFesjs1QN4sAggxuO/Q6YkySoYp5yJ7Is3rSHASwCPkb9GR6ifv3VfyJkeHaMpE6OCOcRtWf5yNMmkXWCa4D5TBvk4Uq2jRgNGgWTZqKFNacPzwZhb5ELS/4IWA3F6OlHvY701GeFpMlp5vE+AJjFGWlefC/ZzTBXNplGkcap0f12U09yxXRq/H19netGZB19lcNt2QEtl7MaQIkLF93PRKJc/1fbZu11jwyeVakM4qn9lM4np3G06cbN1EtormEg5ZXgwM2FnuUvIXcQX1W0Aec0rcgMC3RPeGaOle4xlPGOkuYUFL/4N73p0AzrwssBRmQl3azD+KLscEbi019VPxWOgcPBARiE0DmKownU2cP/guYkM8dntz3QgmHhSO3p2LyeIFjnyrnw6vZxKNeUaxXkByTVFmMpA2u48j+d9PUmblzIp5pBpvcfdVz8WoXFckFraMuhb6LhA43ty1C/yzom3am4/sExAd/GO0G+3RmjMHCcLMcclIOObvngf/6OUN6Pue7W8Y56ID16CKi+nIjKWMq9Hnbfjtb69WI1vrSzbooUNS48DTayRN4WVyACcVJb5Vi/CBoKqnhUUd6otmJtf85cfeXuWREmrY9lySy9c3+DF0wgSIHoCH0z2z9sRL846ZNq30aQkj+GK7fdx0RwJ/Akptth6h9tijeqD8XzoG29vZ632BptE7movBNlh6t5S1b2lDcu0t6JTBS6Lhfd9qQ4PouDSPT9w5CBX8GRSMwkoO5ti9MIBHDWdW8KP9j7ut7+fII6JgaofBT+vtAljzJMAc5flq+A99kyE3WUmB58KwEtwtiLLRb12dk6ekaCR/TnbXc1Hzee+r+7vSnkoWft7f9G/0airi0zCK3cMzOBsU6V92xJlc6B96XTTG4uhPuHrwnHDssU5JmyweR1/5IiS/U+nm2CriUA4kpy61O4ueyLFPbggQNgDoET0QDHqgZmC58nOIx1KUag7rxaqBE3Q6R3lzG/enCyLJNyLpuflAvq1U5kOpLpEfLDE/hGcU62lbJVBK0S8zUYjnp57RGFwAlmczy8fu0RQ5W0gp9dJLMYx3sYvL8KQIE1jmDNMAEDZS84cGWj7/w880G5/IBXZCgQb8f60HBTlqKRLP19BqbMIPfT+BBfcqYzO7w2DzG41HhuwC6rpBe4gCxC8hoEg1HjGI8ZOc8ThOaxPjqNNQC41tRKevFGWw4xcBiDmis0TWIxowQN7OyvXr7WJibS/DgHmt0HD5A0YINp9aeOuNGUoFl/SvVaXPShC5HqhJaEwoCYGKgPRzbgMU/Hy5rDLn/VpCh9u/6lSf3RkZBXylYGO9jDUyTBY+68XP2HgOxyiTKy48rSbSro6RqmwCQzvFzbArvg45cCe4xaX4xQnw9bxk4yAh1gNW0/eRq/K4HttssxDQFbpGOYjfVWZFaaeNnS3OXhkiXT9pK7Z9E+mQwic3sYmObKpUdjHsEFus6DTPB/QKK0A8QsFaNPiqHuU4TAZWEJBEkdvkX2bOOqJvzHYkMpWc/nK7f6MqptvdXlSRRbcqBQfF12Pcis2Lm3kCdnsTL0jq+OYKf5YjYgUlGu5AvrZ8NmzRFzDALY1AQMmkMPmBU50omf5izQvpuT6Le1MHsWfoqT2O72TVzycKt33RFXK7c28KzEckjhwCRdNuqFBOv4h0pIcSH7gHtJ/F2cMpzVyFmY621WSXPoj6/XAa1hqzkAURr1N/7ul+QabEAaXRylNDyicy/3iyZHHCecmbqJqyocbnZN9G+v62sm6Ro7LJkJf9neCJnYrwASuvJhQpWEcfPqPGpjunsliU1pOQc2AjRpq+jpl4OaxrvPXYRfWUxk70p0Vrph64Y/Twb1RSWFxh4eBAdexJl2HMzJQeKZ9arEMce8hukPcmDbJoilEQpsudhL81xbMfubJQtcOm7dXT+MyK2zj/9vdFu9UI9KEtlQneq7bMbDKmimsv/qiKK7VyDYB+nR/rxX0O4H9X1svZGLmlujxbM/3DBdMmTCskDUqtG6vB4hSSW1qmoYhy2UFRgKpHE88WVDtKAOII8QB9MojqkvTq5fa312wSCeA2we6mlXncdy1K5NIg7zrQxK5ztWtgnNcQvUH+ljYcyGN9oikoNfBW3KChdbbFROCvzXUrOqMWZkwzBQFAsZKaWY+AqhT5MAGCBebgrYVLF/6qj5Ovc+fNVpEKDMamZ1QruUE9c4XFCWb8vL970KrIUJKItRzGeyH20bpJhfF4gcCO9eV1knwUlpy5GIsL/+XrBhGsPBrimubtxaHNt2dHpcEI/vRjO9Y9kmgqCVcT/i+VwwvPhaLZYRJeFAgEmTGBLiTJzBIlUCNMBRwsQydNlSA8ywg4HD391NNLRmWkecPJ52qlOe4fJy4bKZ2afY8/zyoTsQQrcuQb9iwSTV0yBQXJlJz1iKrYd2mwQ9p6w/vRc5+sYcyzSjyly7gFPZhSPe84HUmACTWyovc1X2ePdMAPuWaolvKli9orefC+K8GdDfV/zieABkDO4zUR4V58hN1qSx7M2TcYGQ42GXXoeRBmZW6J266UlJQAUbkE9bt5xsHtVEXc0MYPV8ZSiOuMqhboZi5EeBzLF2oNJMRp8CXzWUAY9ZGbNJwHNBCtRUwxoxYtNwmttbKlpYW4jzYE6D45GeoVHM1Ilsv4/yVgGJ46/N/63D01xagMb2R7rNaLZe6Dy/WSAZbDIXYZLIyL7WN9sXf2ZfkTzI28WdjsNRKe7XCvjxT1qz/01IlbpKglCYlyc2ewlW29LbZaY0To/SDjnE5CDsNXkNoNxU9k9O7xeWjFjFdiUv43fTsAG0/Nwe4GbRsR3lnmVBeAw+qWKTGI8Ur0itkHMRbEJm/x/+qbAOd0OAxuwcALPA/o14A+VYXR7b7E/S7SQB16/+umCKP1wNiGI+g6FZQgfyQbhtPSthJXJamWjeDxxVS12noth8G8b7hFD8bKmwdBs+24TLKwEFpHWKxDWAJvUzq+LSg5qZqS6Qxnt0d351b79aezA3nGO/g4uXBofpiAGqcsbYxIAZbB9IbVI3afhgwfbOXO8pijye+sEUTYY6oHoI8w0IyOY/hkWMepyCbqvfvLGE0Wt3oxbmS/KN4ZzV6gU7zSUdQ7R/tRE4w8+o7iZSvFMEvUDRx7+XH84p2SzcO7Opv31Buio6+yaKmrEh+TezT1PIfDjXibsQABp3QUvmhxsR8MXFS0+FEOZFJ3OZnGwoplI2+KyN4nGL7VIRcRK7m1ygdhlt2kJeXMdqHerkRppxOoIU6OGoD7sf3xGoo5HPNCeh9TizRxNUayjpzk906V9cbFLIPgS99tjExydqdSO4Qoag6HQ46JJVtt5Rn7QlaXhyCn42yoZLCELHpYBJRvRcemHpCMf9M45f9n2IqYGWG0Kpzo6SvaZG0vpqVXXJiwBM+z/ANmlbOmFxMbcRRim5q0edys2sMjClcdc2KaD0Mkx9Bt+dZLfcXAmn7bnQTVoncT3CBqY9e6vSqd/ZRaiMVUWfBGLwuudssDgGYSHIAYQqPn+/l3jcayQKZg6+pHHT/vKqVGvkXKaDqv9xq5xtzdJXG7Smgl5qvYqNSyW3ExL8UpLExctmmCAbS+63boA6jMJJTszZDhUSiwt6grNv0/v3m40G+7XMcta9Z45vR4ox5OLCJN9xBGpOMOY//6za/gVyaKf0oD+IXACJlFMHwhAzSHWH/ySrDLFTIwseiubqIQuGtCdsOTXe+t5SJ/PMGZ7Sh4JdtqdhMMYWYw+QiSpcF6TXW9UPN/OZzXBByuZOVGwAKwrL5ySxRzlkNPlbniRGcvKkjBATXgCXjxx0xOd2p2DptbEyiK2j3t475/bCFt7Nmnv41/oCP3eZppnsPj4HgMUOLccobAkXwjdFuUc2K/UEMqYs6OYkOwrFxJlA5gSaRkMDRdClwn3frCh1HTDhr0D3BwhT9h/XzcNGn28Qhdwl28eF+X7p0+gADetEqu2dHpvHtoD3cEtuTyJ9T1RMf5sVDeakr2YIq5NVDFC9B8TsE1tGM8OxxuGRKTLoSK/OKjKULEASXBwemSLoYi/2emioeOxpUoNqiAPMBRK4iVqSNxBG/ishR9XnnI21vqu2UsUkvyb+lCiLRdLMILg33bwg4xOfPHG38Kmgu3ZKKDsxp4ZWofuo7exyToUjup27mjQgnDHBeVrVK2V7UhtClPUplRY9aJdObUdWNy63y9uAqFk2zpQ+o0UAur1lrJM23SPXkASStUwoAT518fSVk/SW2VLD51o9Izwgef/yb84zKJMN8YhreTcSnOeLMbL8AL1S8/4CFY7iRde2ezfvhIrPwEncPDQAhQ+6OhjY5TGNjQu2BWM9MXkOH6PlHiUN8RzwPTD+gCWoRS+uq52DG1APn0G2t0lFTOsCblptfXIuvAoFdsgJkh88Qxcj2b1z8pX4qrVYpEWI4Z6CVzcOU+adcWZax8vmFX/ndp4qkHnKV1pZRjv5/vGhGj5vTTvhJkzazgtm6ISYpN1jPpSY7+l/DNxXHzLDa1h4UAxMFML/VX7jufBQf1QuDLoX5PE25sK3jwL6KJwtFv5T7G+agxkTVFP0sQg3WLqIFu1rNbfQTvAJVACuGOOWwylqI2eWYEdwJKvmkcPolhk5jQcWrCSxyiAsJDUIC5us5NPgzepnoYBO4Clt3UK+uqHcfghTS4LlGawBZ2eys8q6E/8i/jGmmh8MZPNrfqg9ZxivN5a7sm4ZhQM+I8NJK4nsuMsgu+dvA1sPYPxRBlyO8e4SH2JR6Q7tPsp37SAuMbkoPg2tdOoeWyNJL1ZXkcCZUEuKxvxIKZalbRTz2JhRKA+w8Bqi60hOpFnkLFWzV2pXf7kLv8e/d/dKNGW6R4pqYwOvX0v2X1Ik3yT/qHNRBwZZz8nICutXgiTtJhwt0yI8rrBP0h0Q7vhnSWrnendE6I/aQGioBMDaqUjHwEX7agexTpcSgHoavZ/yJ0YSF0QeFqLdKc2D3LUvzX3TbELTp4vpKMuj5rSxrV7WNvOWwn9cjlSuOVMp/vWJ6AeZ6Abv40k73DUVvG/RqBW2dg9hVxN7zaUjdAhd43H1IPNkZeOGXuh0YM9gGuAb3atzICQu4kObhX7evAA2AtxwRtkt3jr6wsdAxX9GxpIrS6RSHkCnA4TW25/H2SL8Ygdx3MCSrmcfTtv5sieT4/PPq7GcOYtP4F6SMmeCiyFjGZVxSMdVgxfvutkpiJcJkpkmXMsZR2SY88p2CtI0LOHsdniwNgexBtZEdNJXfeAqYA5YcTlQVO3QHF/CSUIEYrMsA4quD7b3L1s520nfZY102X1Vw4IaeMJfniTx0XiENREior8Ypq+lDWAq8BOmWpwHnhWSpMnf06O8Ioa6rUm+A9s/rG8jILDMVbiHKxneNg45jr5uF4nXLItoMMtdB8/mG/fjuBKBU+mZNouwWVZhcBHsKB7hPuwXu7Yf86ntbgPR/sGBUtP45XYuUC54DRuPy+A3ufWFKDJgAHNNCkYZ7rZzPd7FyXdaO/6C5nVPadTxk8Ar9BOw2GUhl6wH2Iugtyl1z2ps6lRmcwoepUtgFJL15TwSM2y87MIn5F7jeXxTnubYV4ePHuy0xJ561XeCzFY20+lnuxIZIRU/lx0uYvvke50M/NqRzNJJ6QkiuUhMjhECavaaUp2Wa/RdkgAFcY7zGWHkqQe/0EcqIoIob8BCD9UxUk3ELtiV3Fp0fBCH1O6G/zZ/eEIi9I+5Pxs0Y40G8fjohFtF95rUeqEjjJ1RVzfP4mi11UjEhUC/GdaF1+xOW5GPXdcwAG6RbtR7j4eFltWmEMMEOp7oVUCdGQZ/hhYgEqNaEOfPTz7Qioz0DEeJRK7gDcYM3Grx++M6H/Ja8HakxSoqQhqJFgz3xNTFBuj1gohDVaK3V7t/oLq+sFvbs7hCKT8Thzg1TP1H3xLQavV4hGub8yaUvm9fzAleJo/t0fDF3pv32MrZluw3V93yVPmeiLIYIRnWup+R+ly+VL4KHS6DRRWKBf/u2hzsjSy1O0kl1XpHU92SGOQNsbHxELYzNbeM/ahVHqH8vlPFBkZljPe35j6R3DnefJutw66hqepruhAxQgb2RTcvU0QoM4o0oGaOB1qhk6lJloQLyA567l4SiY8x7JaVpF1bVKLQqQOd3xDr9/wGdnJo8qR9Qk7CRKa8DKnTzZdnTFU8QSR7FSkVAzTwQU9VC/1ve9ItX2NOlbXChguM5j332MY4mkoNQ19+ldii/p+JSbsR6VFRiWWH6SUSlQxiApvuoMh1iDClu4pLOJAGg+zy8FUQcwEL3pYbKz5+7sALPB18vaaSsAUvexC2oIVSrCaTGQPqe1S/VBvgl/m5B64gRaTsCxcwg7gfo67+NkJ6BcAOLMeoAjRrjWVZicY1FifM4PTc8Xjdme/HIabKojaWpi9Bhkdqs2Y1upOfS8diMm3t/s8cKc0xUKqRVpvDV0po44GmjtyE6IV1FdKNvQ9eIUDeICo4CfzSma1ralWvAngaE8TkMYT3uHSznapH+bls0SBfZyTXvazBeibP/BfpLkltYrXQ3X7nF67RZtHhCoV9LKPQLzHRNzw8LX/iIsCzSHsvrHn5H8+4utkX/yOBm04DTfNMJ4sxQsbLtI1LzUPqXZQ7OJ+jl6K9Um8m8IqRcrXuCe+Eoburma1PctuStKK4hIkeRWU/DcOtjEC+fWGWQlfVVfYarbPwgDNz/IGruOdWW41i5vCsTAkmzkCxKa1aezvUCLHAQZrU4ZRMnwa6euGem4FaVixcAhNMsp5k5UBTzocDls9NHXvWaleiwByyp5Qy+qsuS6tiKc7jMswnziRsi+3UyPqL7r50rc4QLzKGfSxTipKuOqymIzN8gZtB1I+UUhgdhB81tn61ZTC3WaqvocmqbgEFk6wTixnbbmGe9ozEbdm+75AsMGuqZDCOjoSfohTs3pDi9yyc/uG72Ko3CB21BkT7I5VVh5x6iZ2QPHktJMYIjJ/YlOf2jMsrj6cbJgIP7AV0pnqNO21kwrlLXH+EEZlCyeq8H70VqWQE6u753Sy4olc5oqyt7euYN2J8xmOXSa3j3SJ1Gv+ZLYgl5i0V5ilWSRyUKSZRBFYxYlw84cSXPd3IQ4MRa6q/UOioUK/5M9BR7rPnuPD9Vl4XVOd6tPXluiVWs76VVGRs8K8iwIV68Qq4Fnm9cv3xb5t7h7TecepDHtyLijCjPC2gUQjYQLpVO9qSpaYFxsPFV0yzFG4stBnGbZQYmIzIDUo2AqUHK+ij2f8+RXWWFC8S8fx71VhJavaf//u8RxH0Vkx1ytjESxlK7IF4qd3uit1h34u7TZ0t27wg1LME8Tyu1q6vp1kX6DxNN7Vm/z2KvD6eMfrzzONX8ENivLxC5KIOvGfRmlZRFS2QZaqawg73c1E3FhxKGfb0qybtL9BXnQ7caWThhNjYi4/mAC5cwHm1yUT7V4LCylys5ktXwjUDHzbqQNBBOnGrZudcYCKAmK7lpK9jMKQgpEmekh3o30je+TjLWbzGfKdNdSc19L0PkvQtmCiJ86tmVwSB96nMzwOsXpeOmayEYbCMhDL5spz1EDnUVABMBHGVV9pLugeKZVrUQjCXIlAL066sTVQX0b9dtO7Ko+bAzOttvE+sWoPNJ/Sm7YuHDBEKPxo+wqak/Ykc+rKg0QOOYrYRcriIRnneS/VsvGKp/MiKRl395Smg6nglikVJaEbITG4pTCs2ln5OobMiPTuBcsK3/Dkkd50kMlUHiUmKOK+X2YcWlgmkJDSclZ/28wcZU/nglFJ7U6wvmOin6S68LQYJVox8C+vIzUysDppdf+GrajR8cCCehE9+y4rpVPIoE5vPlMwK8YYkO7tTZB1gAGZp+AqpvT+I22XMdBHTkqmcdg+nuAOV5L2M974couaYX5pe9r84Zivs/1uS3pi6C9tCvLoYFuTdz1izfQwJSoeZxV+9YIauu3kY6y4cVt+piQ4mPL8NW/Yn/rYwLixPIONsDsR4g8RvTYYmu9g3O6yVtxZgBKDqZuZM51ZoM+yeeoa3yZi/zKGA6gTYtHba2LPkzT1T7qWodo4q8vxYrrhUvvlzUzqwL1dQI2/XrsTEpLK+2oGXDYnSx6dQG8nfeikIBn/z4hyy/owoINJh/iQGJBuI5xFRDbuIVH8+u5LUiD4NK4OVBOkRaAUYDZ0c2VCJqNT8whbhX05GdbaoWTwCwSQiqHCXVEtzzFRkxvYUX0fnF/LnJzq907TZM11ql5B5Yrk9d5DOo0AQZBnY3uPjXTCitJq8AGkkl9hFt0rVpIAU12+k8M78ZtXt0zXiwRfGfC7YWf/mWZlKzaa3EbFavxuXurdXa4sg9mm/wFLD0w/cKtB8AXIqXeIkIa07TirrS5Ahd34dWPNgwwJCT2tUwf2TbOLrIcABxUaUFsfARwzrwsZWgskJuyD3y7P376N504RuO2o5R/qK7qC2rZ4Ux/CfCauWenxwKR1ZBPGZkpLF4vpwALoYu5ITtoZqugiZ4fpPKdPo+mNlLwduSX67IKoC/xFi2Km7Mq5Rr77j1KfY1TM4W7MGoki4pXDrpPBZmwlCCskLU3fV9eu70DKDB4+C7SsbnJ+0dUIHWZjh2dEZeBsIQEJOq1fe1k2zn98P3kyOdKFAjrYuWMoWZfd2LFHKGWnK86134ebaNotbIizXfyg4oxUkDKpOE1BJa6ZOe67K8AshKshbxCqmMmrFeqjOrKyk3P9TcCXtMgROOathKVLY2XVZBo6Iamy06Oly2V/0v50aH8+cfpa/6q75tHMN8ZT6+50PFT5fs639bzLgagt0TuzcelGDkMGkjLEutQKNh2zyLPSnZhyAFy5C6IWZ2FmQ8l0lRjHlbCWRbBAy2d4qtFpNnmypvLn09UxfNHpKj003l4JN1J+u2PDwcxLQ3dL8VMUU6goXGcJiYCSTGfL7eJ2B7rTuvoKFJiuBPwH5jHCBpZNoI2RrJEojaLUO4lktxPCEUFVor8ZWO6db//ku1712KWLq1nY6Qcx0NDTRvcZVehATF/nORpS7jiLLM7OpW2vJJAz2mQpIdlZrhBmQsKxFEzTMIOvoAyd1TobKzqCcDt5R4uHTdPs+xmpAA6ntdHUKN1fPhOwtGkT4Kq06Dj+E4254guhQhDQuLf+vLJAzUO8ZubjAvQBsDGxgYOdQel36FXhVCyflfd97XDgGl9zQUAUYHyep48L3GzVQ+MYE0/qoDpbVneKxX1qkzuzheCsywwMmvjB7B46tnZHrvaWUry+9lC9FCvG1C8dFvKU+AUSKGy4Ll9Sa4KxEevuoPzOlZfc/7NJl+yqzQkbmYxIDYtgOUV600tYcDRTtZe6875TttCSLc+06rVbPESWOGBEFCc2/mSCK4IrMZTVrc8sHy3cHAg4hyll4i3p2/hQKyvwfbXPxPDgQZllQ8EtBXWSmogXJs11HHUGCOyN6AT59d1iYDd99lxJ4fT7ZCjDXzOwr+cAupVKI2q1J2BIiK0Fi1MdDukew46QcMXO4z9lX9TNGFXfbu/yqKmnz42cl2nA1jtOSP9swPCueAyp0V5KaSpa9lPMq/ghhouNfce9FMqUbuK1lSRkyTtgGphTK4AuXW8jsd8yZTiYnRgv3VkcBRSq0b0CzvTPgoIGfE7nTB/1fuPObxaSCJERx8UGH/GhmNnisV9LWYduPe2cAomUmb4MJNJwj9uA+xFK1HuVDSQCieuSBA16T0ktx4AyeO85/2bAmdj4cz1KSsf2D+O92e3uIPZ+I4upG2JB4KSH73KuHKnUa0RkD1euO9AeztqKvi/Su4owo3JTxCU3DFl9AVxPTb1mJrED+4UkeoU0+xjCXsZ0+JOFsm+S5otYTjOS/U0b+9pb4dzF4632FlDi04vvRXknMhM8jno1+oAckp5rc6XEjBt22nbs6/NdQIeWCwSmd9DcwCZDBRHFDfgmkEUTTY16YmsOOLqqnn38mGk546o4zLvQi/ldxphF6g8yCiozlZLM2qKafjmx5JLmu6g9cX+8VimKUjzO9ao6RtGMDzuuQCdzzsTnweJwKSt3caAu8iBDDT8rONZZQpDDrm2i+okqlIIJ69GQwCu0kq5xtuC7GVx6n/rAlmuZ7G9U36ZNhPbY46xyo4mQukwhdlM/HBSpyxCa2P77VXWx2m0E3VFWykho4pX0FIsQblR2j5snpm0y9OgQV2iOA+SEB1MDhBGOCRCDioB4PqhDqRfIHVAottcGU51xEj3aVhRXCuLEpP07Rn4YdXbiabLBYYt4+gZaTUMi+tvrOtk9KaOW5A9G+eF3NgXVT6AgTiXrxCvvMMKtFTNVXmpnV5rO38I0qmixhN6MvCO4GVHxIn4Wva1Hk91+C0DH5dPkwetdMpFWWnn8meZEK367dToTx//pVcmqxvPYiWkrEi44eU6fidIb31f6jrD7/oZmFFbZppbpO60HjSUhbLoD/PVGrvfjOYu4eIJ2tTiwfXiE0BTclyiCVWmqSNOB1Tn5FJsGG2mmiHAcCiRrsAVP2IyX/YpDTca6KcCgPAZgdtFCT0zq7pUFuxNw7HMBs6Du6TdhQV17GiJDKHpgH1thT2ERWthS4QrpLHXeHOsAeUCIO3G9yICFGaMcmoYs3nJ7P+zod8IUKUWBKXRIQoC79LykB+0t+3SbvjD3olbyNBi5MjUxhBmIWeNgh88/GDZDq7rUMaN52TleXPz5w1evHUFYQnnqCtijQQGuey0BRrV6vQB/trgmR1FkCT+v1Wz/hwtudvV4htP/1IfiDBpWeZfs5tRfQCz7yWP1tglqg90Lb3fSj/b5RKRoaNKpcMl63wTufRA/uARmmaicjY2WnLGbRDT5SplbVkGKNsQM30rputva+mlTobQT2sZObRU9j2ps0w7HoM96n1bE5hv5KSq4piS9mPMIwbqPGwiwPsampGxLQj9OUEvyXW9hpU5ozlsz5Q/ncPIPEmpm3/wQsrKxcvCmX10tMBBWJK4dLu3jZ6YYE25NnEHUbsxWgckGGCiLw+Tn0T4gv+VTCpfACXdEyGnOLZHA1Oxbxt70xC2IIjRomSMn3/FMSESxT7BvoT2+4OuGPhZ19TdmnVDUEZlprI8APyk+kEVbDN95NhnMFb2voXY67drDVOkrbm4dkAbeZ6cbWII1RcpFQDhpM0Npk2nJDkwgiDsX62wtB+VlgqBBzCxlmCyeYxlHT4iInt51zz5wUzUejNXrabMQj+jebPBY8y1GeN4l293epYxfw61fzd9Cd8vd0GR8axbObtGInrc4pfSwqBiI/cYsMOSZ7ADr5Bf0qU4ot/NaQaS1FDrhMHwh+I5Nyq0rliLzAVq/enqqfSkP7NiEQ5HvadySW9lKm+kPXQMbbBAJ0Q3SWXmp7U3repjM0RZapswZThl6z1o0zOCxWtzkIIyH55tgFeFWJfAb3Zg2SiiH14WmavLUX7CEg/6ocnEHqPJfCEF715L/hr+m963NcRzm3e/bzuHANsl1ctXOKwAViuOtFe44dUQKc8h0H62BvjsRWL+czf2c/eReBKpr1jEUxFaqDGM8YAPYNS+b9RC60NBToxjOf1ENStr0nioXpDfnxdZI0lCPbfkSSwnJ8x4iVvTN0G8WrI3UjCZbOpFFcTjI/MUx5vSAbGsxfOrDKSYEumuJbPHENCSm+s/+IHtRp2sbjljYX3oUohmWa3PjsuIHtV2aRHw1u5XmCLEMjomJQKI+D+pBM8ZrX58zIGyYjkxsOLixVUsWSENdNjazekq0kf5lEJulFiDCTBINx4+nettTk1fbZAEVj000vA13hqnezrSWmZxg86TR++UX+vX1HAmI2PqIgMYZSkqTK2rCMpgdW23++oMfHbv+z2MlquwnBm2uyMycDhR0WJ5cZQiTVbuCufvcqNl7NODJ1mQQtmxKvQQ71lQgBMxtBMymim0lJ2A4/FvYb3aNhtUNH00gGfWz33oUMWUhWtJvaOlxVODCh54kBRrTAcXa/sYSpwD/dzHDOdv0KZ+HvQclUnm3Ftc6+5t0v401h9SV4xF2DG1bn8lG/YTBz9YEzDu5s8Rew33RRbKmihFFi7i4TpCmyADVYPazx7X6R01bHiSAUH+iRSxTQ4EF4av6f1En9V7S1pBHB6IABd7BolnbBUPVDHlNqMJ67E6zvefrTiLLfppTVXmI0l2h2/2Qb1XX2PDElaEH8jMw0ki+Se1VIhuTYan0QVA7qSP3gVqUWWBFAwiVt8QJPHrCESGJMd4YKK8GTEDvOybPgpolOvpkvFpdafv++HHSHdGf4QwDJK3uCXKYaT2qNCq67eoIByjRX5UnescR52SSq4V2Yx1zStlh5G1kVUWU1LYGIJivc5NETs4tfN8BzndCdhzuFBTpitFrlqEbXHSrx8w17QehRTCTSIIyI1YyB25hxvN57NF95w6WZb+Q1r5HdoeWIInHroNFIpliM4ihZ9C4VMnisOMLBIVq2kKGWbMZU8ilrBFMxB8WEepKfBKF7+nlCAOooe79ObQ+2a3nlprCzdBtN6gjjGypMBAg6U3UsN3MjTScHbqYkHW8cgBXXLZILdmunONoycpQYPHehx4ba7j7f5GVVw63lhcc43+W4ZFDhsuoCYAr9zt1AQqqFY5CWZFY2wvTD7bMkPLucGQsmd/edw/mMyPoKQTvjxQu4IQbYTmv4jqTESiFMnlzWF1NEsx+gpMX85z6O6accVu0qFIHFO/pktnFqc1LCc+/FpUDnnQxNgW0XT3/nOZ+8IJdvCAUz+D1uWtV/8/AlXNwg+ddRav7xO37d06aQkpuc3Dq4NEAnA2PpyOm42BxL/oZkArpNOSxCWzKi03hR4emWk3MXKvxpSJs2sXhg1nRXN1+9L2f4qW3bekP7OH2qFheok81HV695f7LLdXNxIXmnRo0oQzsghhhDyQRDEmYnWeg/GfbaD50XYlSBrXKrOvZo+8rk6rkP18M0YJFx4tdbyjuROsdkK2BcIZzQ2qRsb34FX+J6MQ5oF28/O7QhqZxHb9e8yNF1o+U3PB+MT8rp+13p7EeM8CGHyXwrcIy8qVV7QQWa/IUR/BB6+zurZRG0Mm9IQ3kdly7CE/NvF4ydD7u9I+LqNlqniTJ+CDPXnj3UE3XkdkfvGGU1orFd02AeacaIrPeqqbvh3+IO/KuLeGIbCtKCyBdzFaAfFD3gmJWPd72lmR/yRPid9AQmCmBYs98N03p019/cztRIBbAEC7hb7gcIBfKTMfI7vEHi3FLxC0XftcvnzQqG//7Z2LXuYRxDk7qDzflsLQhWFE5SYqYafwA4s1CZV0PB3h28Q99tKmZDpYdct4HDvfsy68+IJ5wrISKK9KNWdl3NrboAmhaaBsaqF1IPvzCROUIU9gHsE7J6gNqilYEDWY6M5u1JMtMenuY1w00C5fSMH6LJjUeVrQDAXMBTI1NufuH2E58+1D7I6GMztjofs6agFw9g6eraZcnM4mvCXQQGfMjYjAqUcOOmrQLiGtlAwLwIITve7KKpLr22Vi6CjoPPu81hg4sODjIx9z6vK5nyWyZJasoJQI7jpn5VgB3Qgn53yfSPTTIvp5vQdDUnLAi2FlGVmB6JGXyXTdjdBwe6ESmj9B9+1kfSbF7+7y9kJ5tRjI3PTKalDq/iVwuJmxBzkGRfBORGJxZGPsxzSKdmWHAsOz5kHZ7D7xaD2B7tAz5PQ/MDyjgoNqeZ+waUOnCf9kGswbv/dB8PsiLN4UecK7Y8qFL971xsxc4R9UAHJsqLd2VYhRlaXoGJoPgGjSTD3Fhqb0Rn1qiHETTPRpEM3oBtfOJpt+61oPYymTCagdNHV6eWkpX8KJIbKDrcx/MVm+Nv9Prjr71Uht7QQSw/8ALYSVVwHXrywhYKUM1EyaP49uWReQiwUxQHoyzh/kmLospmF4tBKAkXGFj1lGcOqiLZmskGnvsnPohaWPyVpBqSB2AROsl3wDtWNoSl3Scb/QHAMLlB1ysPE+NRPDQgt3WiH1cgXG2kH87/FREkaKbEZhN9gLU0fh73ewWNXApgFMjUFj/e9uQjZq3f7HPsM53lfrrlb8G8oYLdLxO78/bP41JYx7K5B6ahCrra0YVeAyIk30wIAvOo0zIaNTbOONJwyM1qcblfln3i8dIIZryKlK46i+Fr4f1uVfUQMPt1RJfBVWClHZErnX9qV66AuHei5xRIMH7MDt7xB/bN9elVxflU3u2sxtg5O9jGlUdubkFbN0X4Uk7Id4qyoDDioD9YBXntct3KqH9HEvK2t21ppdCCHCtDJ0rjnmXrDa23zd/6Phxcg66D+Tw3548adfHfPTMXCB3pibA78KjTkAqv14IXepvEh8hue+P2zLdOzSZzfKRH8ABo4kWcXuZ1jhR5vbea2ijloMb0753A3UiDqkfE6v5yr7ZzzEL9XcC6NoIBX70SIGZy+9hblBQM5rs2zLz9NvnSuIfLL6VSf3qcmbXEKDcmz9/ZL+gJaIIcsCquryNzMuayZL8sX4SP93hEbwb7iuU/gG5GUE3mofaC+Ql1uTvoEhLRkEIsCBcn7JkFLEu0HmFtt3+S0pDu2hB24CHDnmkcTjEjtZDAEOuiQr+FZ65TeONwpC7LI5TultAFwaN79mJ908g+arsRgZeJEyazBPtWOS3LYwlZHerbruyAkIsoM9HppjBmb4A4zqccUVC+DbGi4eY0kR/9KqN9iAu9tNlpuU65A/2qCqjgT1PWS9EMiUZQgZSBHxxBS7it+j+WGznL76KgxF92I73StCXxvPFhT9VTVQWd47WlgE5Yiak7+sqOA5xSSt5i7VHTU8DB1KMoqqfCABkd/ML5Y9OojhvL2tyTLz8KcP26PQDblxzMEe1px/mUJ8x86jq0QLk2ug+m2S6OgUM40qQ0pzF+x4lzKj1L+ydsZrSxCLc+Qr9sNn9tMEMz0atCGMZBY/sMyIsg9h9Rt3qbG3qeWr4vQe0CKhcV/oQMiEV4sDkbhCLt0x+jGhuWM5hjoJN4ghnqu/sPHHgiV2VMavjGEwMBSTIGPTugzjy/galBGeDIBVMlJZeGqDEu1EwdCRlQf8xXcsGSB2Ge6NTuCFqAb3nG1mq5SqJu6wFf08TFx8GQXPcCbmvc9zAvfSE+uuWN8hk0uD4ImyjU+I/8TgrVvqQKm4V6fiYwkWNxyab4aW1aJ4vw/S+mMprGwyyCMwRcpHznqXrYKIff33AJ1GHOjWa6XvX3LFXxbzTHys77RgbZsBSd4GqX5PXBiUsYxXf0LnP4HZvC6HGx/IkNs2I42ObIRgeGbTg9HKpsg2JebzPmBdWx5R7m55HjhqjqD6CgiOKfNL7KfafuDetDGJx2aLKxwl4F8XNkaccH7ZbsTYlvzEmHNSa1dUB1CgyoGa+vHvU1d3u3mYCyjRdGRK15d+lPbW8EeHljgzDCr2cfw3BtSdbM32UzMw1M840C15rpG7B6YgvZpWvC1y1baWXIqD2q5bKmjPk6Lk5Ds+2MNwXua+V0pz9ZBc9sJJPOJAYW0A6hoBBysX2tcV9PUydmmt1NHGGAUYEqSxdY5Ez2Ou1DxEgZz6w8effqWhrx2Kljjvbb+XQsNFuTKhxPUpVl8p2MjdJyA22LJyrvj2GM8qzP3NmUkVCLoKr5dJji9V1WLHMrjAKCVmJ1v+9rmAQ2WJF54I1Ww1Jb3hiB+F5ArA4FT7+p/nfmfTAbqoXpdlQaiYggxlaYePs7oj87Ght6CahBQI4WrstAXuKZ1I+08Sbl9ykeHnPF9pa3oAUySaLtGulih0JG4tc9PnjcUawwvk8X9jVuHoWGE8fJDdJGcUaC4DnfMAItPAsWN6svhVWuQIhNpddkQubr+ks0oLNDsbgeG65dPlGvtdxDQJSyCaa/Q0fM5huVOixHDgocNQEP7G1nBwcdEGjpFBC69Fh7G/GDVYcu6xoQRVOp11keImcHE4HXQiNWL+yu/l+aXNpHxujto5LhbKDl/JYqBeH+1srCTSQ8XTbYNKCBpTZ2TowYO9LxNurkSNIdpAPeRvinwq0POYkhcAWXdY8hS2KawT7GSp7m0IwbKmk9Pzp/2mv9N0o5jXHfaiCEpIdfX63fjUUSn5YNf9wrAApmQAkCu73rHSjX4JQrPb6BCa1tqNS6xZZREeoyNBt/qT6l6eI4UgWHRy3vicndGJ17J6tSYSRQ/dt1V4BUnaOQZ7gZREhBnpFqhcgWbPB6i3oRQq/RZAzOrNO00KpUDpkA/PcDLlVpJmSp1oYnkZtyquP2o+KZEzerZpvu67YIUW3rXznu7Xg68be9WGVsLPg1j6JE4vLTXiwto1iLnJxFy9AcGy1caAsSkxb2iyNPdU1UjQhJcTMJFwO2B5h5FdBpI2dYeALal30puYGi93ihIBUIrqhmsX2k8qXkiGwGlB1Chr7uM0why30sSI3NrsVK5TJtdN8EmNfPKf4hGhBqRXcuNaVnRofyJoX6vq/o54BCq8RT1t/Y7l8NglaQC1Xd5rhwZzQal/7Jnw/nY0dZt5hl9G1b+GTf5DthMK+TyhJpBYe+CJBqHmpffaH7omZcSRpDxe2v507B1OGdVOHCTtrOa2nkqV3dTbajcu+STBpJWnmaCiRB1TqdXtk1hZGuvlRpROTm5PhImQba+vtlubo63S9Qsuv4c/H1EY7Xek8JKX3EYvPvM00V0/VRupUbPj4F0/FAPM6mOjbRX32Iv5Hf+oKF5H/j6kEjkbhDvQEjamXsl0a/sZ6hsjC/X1YmvwZ2rapAJ9G5mOdECqrssoaswIDr8fMx029XVboMgSSFEYkHIQLx+ceHPWWNoltJjhRe3xqKOX1lr83AGpFrbLCugfz/BDFNfpzCKVgmLRgzdCFxchuGlyHgBr5EPjdaypItrZ6k0IfS3NbHgcBjTPgcD1yjvPprHwVEAfAlyJoV+sqPr3vPCHBltM6OTfRYo+wCEYghtlUNf6/WdKssTMW6IyNfwu/AeCu3jF0L7vOiv8JHhMxN1Ach+TrB//l2XHVnSQR5nJ0mGgej01ovkVva920Mdg07NMiUxxm59ieT0jy+ZEWtJr89P2zMWq4QSngeB8efdw/BxqFcLLDIPChE/7u+0c/0nip84VkV6Y7NK2pDDhXLj2l3yk92ktieVTgUNfvtUwzTGQLh5loPTGEkoxAoySAghIJNRyHiAaxiCgTPVHJig0KdqcpALpY3Ocxylky6u3m2mRJte4BcojDSQedV+5iRvOqJmLyB6cwASwkZxsP0okIB+GF2uI3bthot/b4QPHOv0xKjJO85ZsVMLCB0NxTMuxcDrZuDA0EmcSn7D/m533tqAmmxdCjzb8+cqVOUliNDlCNEJfEIt5qsWA79eZVCvdivxLInNX3Hu3JklxrtxsTEmYJUKXw4pH2nXxFRODrfOR1HQ5PszVr7UPRdV6xL1w66QpLZpIw2a+lUdRdQK8jwep7tPCk0rPj/VPeb25Nl6lJVkXCJiiawjE2hlKC6K27WBwVVD322ZNrofXuhJMShM38FVFoz4clTAoCrDtzC75qcR+GSSQQ+mm7PNbejzKKm2kxxoitZ8OF1RynZiNwoPELsOfasePFJCwn0wWrrS0wyJWsNYNLBGpVbE4AFL0ZmG6/zwN224wQsuP8CmCRHLQiPH6SDWBM8onJq4u613q3Q6Pjtyj27CMwSfQWOoPWbmZ3equ29pFVctjGFdCb3FzjRq/JM2U6T5FWHNOYGzyd7bVaqWRcEdukniEbnE9zwC/2lPRf5TV2WyITT3ToZ3Ye5/aPoGIFe6V+ZKAMmXkNar8QKelYUBlS2V3ARxfwyxeeFfYbhGICH2JgbuaWBZ+/Tr0IVyob74o/jHw8FmUKkgiMaMgWalrH3QgBNlhu6+d6Y3yR3KVSmG4p6GrCCyXUBy5107UI0EWreDttwS9L3g4rP3kON/woTBSY/7dB5npIH1DzCgG4WkbdKLCMB6zRzHreNaM8mppJk66POUNqsrVVCO1XfIXp4B/86TzMwyN/CusnUrNudCvc4chnXUoQPESxRZao79UYWU0kcYnbCQ1FN2Ph5SDl0rhPq8LXZaOyNJSR5erdERtVTeuf+eojkypMPvIcaPw8tkwLHOHghChmLy9dQenMoV+7G4wt/0RxRJMtSBkLMuUiujZHXfDz9nl0vT+j+BR8AmIXT8z1Ng9veSZe87wgSxPLgtEc25jhD7sVmNtew4dYtjgU+JUuoi+UWu2Z6VNc/PHsxJYPUWh9yaUnEDh5tSN3/PokHdcR9EAPgOxl1odRTAtgMiD86J9hjbf2m7WVntRtJsgaGnqzAaBmqzrqtIetWW8W8ncYSzZwRT1W9KLqciDOZ0loxGzyoyJ9rznRmVNvXCjE8OkSVr7DHGtq56ZMrgZ3i7IslbQJ9PT+Y+kmuPoCXD9lKbWjWynDK0IQA6z6R8ES9MQAIPxdhA37ggcwrESlNsRp/3bHZJbEcm+M5X6bhMl4PmY+VZlzgVTVX4wdy/1epkS0Jld38LHZ5gxvBKzVSSNqzLHb8bdDazMloBC3Jbk4yC7tTjQ+zVEDL5gn2fgNY2xtN6f/kRR7LsHL6TAUIrSAQEf4tyLdbfiJq2p54k651KrAAjpbInDJxoleKHryDSKUaMleQDKPsAT7vpqlCD29P9R8GbhX2xKb1fH3CisrJm3MrznSVwTGargz3iB25PIncDdkTc2S0gkRmBRpfmhyHA9L7y3rohO8oez5EJ5l70wnQ6EC+3bNgr8ISuN82HLvsk06mZo5Eku1sun+2W4E1O6Ra2NZqFvAlxfN4JLCg7cACRYGn4HbPop8pgVzas1rbUu7lYpucjfwemoLvZIB4wUW5Rl6h0cZEuXa2TL5ZpF7yOW5rIEwjibaAuhM13ScLVNOSR32nI4DKb0turyBFisWKDLt4/h6Zpa+DAia84I2rDD3aTqDvXMx8sMTqslY4xDCfCJpDUF+/YbjqFK8yt1cDpy9lipw+jSclYvx62m9TCf3W2UuFtE0Hxxt0SkYwbblh25+C+DMOw4FE4+YiqYHKEdGYnHntzs2VYrzZvLHTlMT5xx84NsfIzyxwVQEaLSqUzcrGDmHRdo/0AMQKpo1vF4XC+xEeWmmnA5eALEnmySZYA7wWDZf357xJNK5FAIXpO5ZRewQkmjlMIb6bUpCdr9HZyPwRYO5OuucaPyMzcWqfThOoK1j2jzbwUsxJfq9GszgBNS5R46iSY0Xp2/vukBFrNOq6wYM9dcr4gYC4t5VTVMAw8272HKnYqOT/DcFO3za2AxU1eHxCD8eiVAvEhFrKx/IS+r/2la9vtnN202gfZPnuMmyiCzyLccxqgfLnfRqEmN27L0Lm3syW6Dcg8jvlziBHO6+4eeD+dTosmp4Ahut/ITHm0XNicoV3VoHPcNw//SPfVQbUgnKaDgUIGn6qknkawhNwX/RfvYcIYbD9WHKXQd4tm42SgtcJPrUTnhSjcF0BuVz1XAMBVuFri5BMKvV+nCc20cpxWiU2CXY6+YCdMKDfvNDMPnI90fcw26aIn4yqYzdbfW4fU/o9Dr+qrzEKHYtuXhrA32aVqOll7O4gmQ+/Nx+4Q/XLKIxU0AxGtxPu5dZ1X2j4zqxCpJOBxbtlDWYl+9uiG9qXLj+30u9V9/4wnsAZxju2asHQw+O7DnXDGhUq/oV00YpNKTH+upV/S03MiLBvQ5YlWmUuZYm6EW66oUTPXT0c+cD2bRteKyOftOR9OXgs9hWZsw5KEd7javU12zRqTdaMIL+UWXsD2t19TebWWWTryfIT1Q5bfKndkD/kGU/TlRRrqsH3XiSUorA+nH6RH0RXcauWLrdjSWk6xPz/d9Y5Fkw+9yXQRtv0y2CToVy6Xj4SWSslaxcZuzdnmSaOKQisW3TDVJlwbvffmIm4bTvr0k5H5NP5Zj0B+CyVoTe/t7q040ytBknEFvh51fIG7ZQf8BaKu7WLxTBZR+OjwWEX3V6IlN9Ac2cxqdQrQImV7CjD7Q7HzYtsdi4Mx0DLb6clgjXkxUQehIad92TVLTLmH99yWz5XuL43MRK35TBw6Rpst5phaiTQ/ztwPj6DKMqhKZRCOkvERWK9WT0IV7fzPakFf/03B8rs/4ilSPR00Q4d4RRxqFobNhldm0Io9VFNaXR7UBphCpzwd3yR/dzt2zf7N4kbPvWrLhpDuGVoJGYEpA4aB0lrRFT5Y0FejKYjkjrZLSwKGt2fluvbjMUDPwm/IVfLGB4DxPQgSBnm0fzNCTkmpdNQVnBRuZP3gjMHk8M0MRO+2cQ1tXpVzgbY7i4Ar+9Cg2GcEV00MMsrpTKkvuoZLJHaR2tbedvKQs5K4r87gfQoefjR0P+I5fbzeJEbY5BqthDz8Ogbjfhc3HaOVwAmTxmjiCwtCzkFQL4a2LVvGglm42nbANuQjXXsstRYh0jdXL6NP0KsTAOV0+iFK0WNGK6pL56f7vtlHxua5HPgCawNZbetSPj0Nj0cFgU6gc3QHhRV9R5Fuz3wJH8u6sYQKQwhVm2j8nKp2khecbbCsLXEMOcwWgNb0S2rPeHIZ9rUBjxNCEPiwJskxR3HKZXblHXjwhmciYs5j1HRNFXnCj1EVx6p5qdBFZr3nFXMb5cwwubDNW5S4Itamg0Jx7zl5EyRMZaEh1+XzTRRerQscZ6nqb9Oktnvv7z3ytBMOpVv3RqAnWEbXMy/OkKgeRD6jinNeMCopsRLmFnWS67/e1CXlK7uHTnOWtR04QXPEXt1Kgf4sYz3IGXMkQy6yQTZWcXAASskwYqHRJ1vaGXMjYTqQXCgSKxs5DznWXWoZBQ/On2H5Nk14kB0QTiOAfXczVllQenjQ75V3lm7Ug7w6j9J4/LcLc5/gBcvcwOdrl4Imq7S4l7OnUltc6HaRwSk3ZZbh9D9dpYmwzET0La2JT2LZSzxsNtcH0MoQ02z0xk8pwMgn4ZpYB91BCx1Ty8/qhsrZxbQ/9iGEiQ96loKLiZJILaEtL+idWgYuaqXbfW2gogwYD2+L8ILXsZsAD0iln14G7b7pz8Hkbp4Bo/PCbfcfEF4q7N15TU6nf/bAq0Aw9+v+bqKLcZNQ29gRog5z/QPSF5VjxI0yyY2zy3UTIgYYjRHaGX/oyn//hnrawf4Cud4eWbf9Io8Ad8EjFmNAmNV3LnjxGOjpZRd0bqHdKwU9ye0clTkIFxPugcuGgeUWOBt+6Q/bTYzXZvJZWpUPRz/4LAD2HbNzyxXw+ociT3azXrXXl9dqmx2whDCeAXKvlx7xQRCg558lDByBqcHTTNwvSG/zFnLCP/l4Q02lcAbDvAJ7XFpgemdwWEgP2hgYCxVYOJTMNvQ6d2kga10oZPhV67gQaF9EbA1JnZnG3iLR+dXD1Ntsi5Sf2X3cawJ+QVnwp7S8Sc13qEd6dKdM3jHWo44+5Rp3LV0eh+CZQEGGTzRR+f8r1CBcWM4PhsqSJLjEnJUVsMbuLLzsifQS0Bn4B6wtO0MB8O88O7M13VXVDmApRUnEYzYnNC2VA/6gvIojELHmHEG+DFeJsXKrVUhJb8yl4eOZmoxZWmPBQRQaYKqAv788uuBeO3nT/VqPNTMcFX/6w8t7G6mfC4fdi9RTSO1ftPuteISSXh0ZJ+fXXBLgLZlQ92nHu6Zi1k1QmttvR0FU2Mh1iA4IVBLq8Is9Z2DSDTABOIa1XiHHpbZK+vXgDs4rwtbggxOP+OE/KDsgwRrVeqzX2EBcJPDbo9QkWWd03C6KkqvCMzwwA6xNuMweShpRsvUpVgMJtJtZ/G8MdfSAvrxJ7cd2Cq+EWf8MQkvumI8gPAOPI02JvDGqbrY62X/Q4rjlJxj+kWdOlfexvdr6nQhwNRP4S19hFieyiXKYEL19K3DDXf56ldTrYNEBWZQF2H6Skaw/AyjHulW1REE1ym6FWrXDnwGt/52DCFu8RAjZ+77O9hgFpe85q2LEmfmA1fOo6dv1ihlPylmrza+okt07pJqts9blmjMhOQnu2/DhzhVqT4B1pFJla9QCBEmOcK+o/MlIAguBAV1WJEXpV1Dnw4YOthww5cbbC9qOoKfZgSp9FfGeLU6jkOiEG4ue8n/9RX7rdUqE5VSO6r4EexpDwUITwB08pLXAQH1/XbzqQ9z67gn4t1ERFuLOAJp0zs8N2yTHfa5E0AbeHrUaRFIiRTvi+v4zjOiLf9xQqMmV7j6N8AaafQ7vbt0t1pW7MCyzbC5Qwz61Cfc1JGeJ0qridNuvBy/BgY/76XVp6SUNH3CVOp/DAoZvPqVAz6geAoge4oSNpWHTz+9b0oqDouPKr3EQugzK5vqqtBv9ywvbciRB1OvGgfm6uO6b0XHoYRyQsTbD/jMBYlaUwPM/nS8E0e5s5q1Us42IL3JJckyMK6Rw/VfFsKgUWH1D42D+8WhWqeL8AtOwBXzoYmoZm6yMICELbKnSCnFNPxFo85o7+YS5cJK+Kcx9t8W/buoufmQEr2XUkfMAry6Wup8BCh6LPoF4Ii8AK7Up8Bfb8aoz9C2CUbaW9n6MQSCajN9aHo3DoPoA+c1POvBJt4vSI52tZfGMZT+0G/KcY7Coohkn/8HcT2R9y8dBiZzznEHiUAZ/cV6YSJtderEw4+RWEwJ4tNpzXa/xUcs8LojcT2eM5LfS9tAPKqfg6mMUk87DVapZC+TG27/CEnFeYNovxfxerpTozQtZmUR/E/roBFWhY8GQJgErBdmVJBJJ3P9rPH50MOwrmhw+GEC+kGoY0UWjmWevNnCAvugOwFJz8TyZ1WWn+mTq5PIg2U8IovFvKtfWuidDeOanTYXzwsCpDUVpiMn00NuxFWL04k8VcrwP3GgfoxjsjR4KIMJrL+HD35Ao1AE+S+1aFXbUlEHvoXmG6HfnlBcABVbuJa5qC+yfvC34f8Ib0DqcNJCX2IWvKvypvmraLG40gj6CL0YHwVB2BEiP9bTcWADn6r+PXUTMm4knO8hPFEVqbHJlPRyMtm3/EfQufqiApM0hamnhWb8L+Zipe81TUFgh74ga75/KAlJzhBiithd1rTp6aP8a85IHoI+V8uPKhpEPw3Ey42tTMIxEsvl2eCPDZOGvtOqwL3vPqChsBFVQsZtn0IIKFpuc/JskDrmzcBND9Zr4kK4PEvqvg4BxPTPeMI2Oo7TMOzLISHi2xJ1M/fB4JDfjwJbSSTLDVEu7htEEP/KjYqAFv7+eD7dWl545+nkUSykeRJDI1qfsgavHRZ2AWbME33fMatW+p+Y0epW9jYRYEBAI0lvFGNY7e2orHFACtKEpN1ux5cgppDOoDXxhlIVkp2Dr21OG3qjkRe4hhUQblwVSymwlZo/wBYP1JzX8hnnWr7HL4u5eraJzszMs7QaI8nbPJ9s0VmAVgcfJXdiKAHsEIIlg2RSu9+9mbpPtDfna1CCdWh7olqsfFBXsTBIAAawLOr6Bv4Pqt15Bn9O0IG7Viy9qAfDYctsqqW5vndmJktIaQIgUibLewiWVdcCO1nxg7caThCA7HSKaX/TVM2VpfLuicg4E31BweeybyNo3ziH/5XtMBMcpBCZfOJZWv7jxko9R2i/tkloD6ING+RR8OciSFolwpEaldYW1t7idN4FCX3iZIwoEa1njbG1WxrmGomcTeh36eNbKioNFr0SRG6Y2/TgRfsHeMwuo86q03ymLcJ2aSMZKeaAyMgEWVzRCSiuk4kS3Yb+AZJuQOWkO73LLLlImzcNr9QW/S5wp4Cqw/5JpO/PsI2fVfpEud0VCjtOkVPGlYNbaWGEfBtxSb1fI8ZL8IpbprKzthIdHTcKbENrKWTXpSh80Q09JaZ/J+rn1UHkHEVtuRdy/mCr/7MWB7GNBt+tM21AuixY3d1AHMlYOrHZ1/o8puCJenMPYsvAZz2oTFW0PwmedWXPLY95XiVusPFG1HMyPuyPUv8L6f9CvycSeuFVeI3iw4KuB/P65Xb+Rglt6woRbsVNcp8GPglfN3FVRzJzePP0NaWx3MCIelOVi3URfJd+z4oWD1U8cgAnltnsCn55O0CrkI9dSTfF1BsnDymml3Rd0Kk17HAr9czrxsI1C3w9+SnIZXRzJ65R70RCfZM2st0RXfQWBdQnzc9CvKSXZUwDnzFkCxA3Bs3oJsd6bnv03wFsYXnBJyDSyZFqKItuwas0iJsgTjjUl9EB2EaJDoOp8Awr5GnH6tlxSgbu1hAm8uAHY/XUddi2KkO/UmGQ+KW926tMXTWuux9HkRBPi3t5d15ISSiUMs00YCS0fi2niYzz7TfGH8mazAa9BkBP6z9TBsPV0Gc28Pq2OInHs1a+QgEqpUiQ/32k8xhpOaFY4Bu6YyuP2JJqpzWrJAAzTPhrPp9kyHlmwIZzEJHxitu1imGMx7oRGc9OIS55DPTDWLX/MAvi9MDRHMHj1tzcsPBalp2bgVR3E7yyT/duHPacNNxv3Ox11tH0zWE6zDQDAOxDTnEe9mDLUqMfuOftlAwnVBe8WcSz4gBcGzfa9tXQBQxyCZ31QcRmkVmH6yfQYTsEif61CQROtSAQ7mJ5pHqwV705w9qKg8u2kD2NUV3YC9if5B9XiSHPLIsnu/CeLww3AK5wfyZFqeKVLrqycGxcAngUQIbRD4XsyIng4YU04Xeawd9Ln7rTCRCrgzcHQwx+8raKhDVFCuUVdYGdvEtZcUKTpwmick4BMwPDAzXtCESVR1ZVC5GAPp2aCfyoKiXoHb6FYoEgkBYExFMn8DZpLzf5ANtS/cYnKzurDZbSP2ihVnvN3JR49YCnXGaCByWxOxNVPOgdfMwPdr8bGQ2OPjQmElWTQxVuKY+lxiWqLKzvby11M0C9OOv1PRaExYuMYLn/B+Jt8zKbBbAkliEP5p+MtExSPGbyiYilSxZRCMCdWGHJzlTONtDB/or2Qn0fEHKNJVyOdFeAGMgBEM1p9sTArJI87N7YlWNJTA6UyleawDMtwzYF13e2USRIHwHiesCCL0q5k2Z7pqb6PkcYGuxX+1JJlLQDcZ4aWlQZRDFAABA9ne1xA7Qq8RyM8XdKaw6iWllt/NqpXK7ApbT6PdueEgGyTIWWGAlsjSEOFVjcIWgGe7qIDH1oWyOkVDQlMVtnErJ70I8jaNc5TvfX/+HCZKb0f4yY+JNBZigGYPg7eFL9/64M5MBOJclLPVGsg5C+PKHrKPOT1bzNHfzfHLrgZOK90ngHYkENpO3L1/yttD/4Sv95ezRayUJri3sVsvqVFI4qpfZWnoyBJqjRb1VeonN8QDRJ9avrTH82MerwWmHosZ4Wwftk6tKdxlC4/jKK/zm3z4UpmtYXr7KaSeQkl83/Ama6IgjdJNS4fX5W22b/ifiuwZbqb8PfMEgFw40nKxHOLZs1MeyMB406huzs7C4MNuIpiv4BSUnyZulwxPQ87m6LwE/cD2vdPUemCWQ61EAOJI/tP37QQmO1xwOmf6xYsRfSScdDyMP6vW6Uj4npC6++EIYRLEwOq5gDDut7d4dkuLJ5juM6cP1rmRaEHIwBKl05dxWkJRD737rAE3PUeh/0t0LAJN9JhPFT3BFEN7nN6L2wCdDLAmdBFQErCzn+BxCY+sZU6Ydt12ctHyt2TnCDAOE/Jpul5ZBuv4xqjkRBwmWxgsnA+V0AkZVvNY25dvL24ll/mmiLT5SlHZ1eFHoYteluwAAg5D0qB3pvVkH/ivGyL8T0QyiQUIfP2ifP0IahTC/w9jvjPU5GMu0Cgasf+0aB42CUKZwiqkt8H9JoaI+OjR1rI4eldI0j4b2GlYX+EQiqK9WKBUaKedAmX3tuIQ1NjEmnwEb/t9ut9cakC3g3YaOOmjEAov/VJhFE4MGoiNNb40JvmbKcjSCk0jbPIkIO5t8DLvOyl6HJyLqkRD/L7iQfD13YsAYLvDwVXo8uB6MRbQhV3pOl1SrrQMcAMWj0FV9RNJoRwkae2EHAEFK28g0yHw68vMp2bH6RyVbskUnE6syBWbhWGq+jXiexIH5oc4cZGdJq6iFCzki5rEIEc09dIt3+X7SH2HKkTAFS+TtGJnmF60BI55arRuhii9E/lObLUm0pGhaCRfBZ5qMuDgFYNKZcWxZWrdfMgoDEHzInZqEFwywx7HeNu0TrMSkeFVlWTs4l/wfz203G+uhDqpNHRrHGrXYTEFrU07ZAb+L3JzBR4wygws4OfyYI1eMfog/Ba1GqlG1xBfWHyZwaR+SvHrczvGxtVXW9+SO06SYNtCuYkTxKo6IKW2l+e5Im6sKpbrh6AZaLjOuIypXPBODgbQTHgHf4T5NBYF6ZeeDAiCnjZuYL3psk2XADOyoDVzl+NWI6VZMCXCfOVDqXgkXs3Gy/oKEFoBYAGQkXUulA68vY5J8j/u+lfHKaWPxELVuqFzDmZfCT99oQvI212vwF7CHl5OO0Jvr7qFQ77EwxxaqFRFz5rxBdgFRUHwMRC2/pw9033dyOR3whX0NvcpMuda0fRqR/W/RYpkYu0FHT9D0aVxm+0cCo03lZDt7DEZPznCVqct9EJn5STjGKMrw3qChi060fbIDBfTpb/7R9mgml+6N2LomNkbRLCOX1aLeXYkbO9b4zOOox/sHJic8kSn+pBlIcU/lj9BcOSkN4+rfrPj3HDe4wTYEQQIvrQtUsWfFrvw8OuEf6zDYYDLc4rG/viqbVu7srmmjRCr8ECcdZDZiP7AJIpGbvSvakNBbOVeyYnWjTgd4f56doBPYPqrQF6jJNnWzkDvW/DC8e0tIA3FaE4OfiHNuibmfkxMfqL7T5PIjSQgVrgOLIrg7BUiKAsp/umqrBNtQqEpZJgTy7+T9s6yNOqxrHWKzlmY0Qs7GDrz27ItThpulKvgMP1pqOlNeMoKa9UU8tTsPZyPUYKz5xr4vrtGyT2KHwxqA3pj1iuOrtJI0EdD9suMcjeslp8wHz573AfoY5yn3TuTXw/IACzA8fvFH6yzfCumDJqDgqAxl1l73gstbOWAlzp3XzgfCnasBwxN5UsOo3mPC3W4XEezZhOU9hqBHKlIpawgB7PggQOuFY1uTFSdkhTfZuW4tgm9uAOc/KtDjCCPFyXn9BQW/+ctwvk+umXoANxK6WEeutxmTg5WcAivo0QE6LFQ64YwH1VOl2ipYhq6dRaFY4DqGD2/GmkaE7WRXCchfmvoS2fBtovjXcCyGPPEgc6imjwufX6LhXMh3hyVJkW3l3gL9ntn2f1Fw2vO0OhjD9DupkZa7d/0sOtMRcQXFACj3i9WIH3kcUrwRNYlzzXbwV8/Vq9om4v3Y7lmI7AjxexlGzrSNaN35Zh13m+kR/zv/HpQRrs0nN/7GMl4SonWZItXvA4Q0wbW5rQDFNLIsiRY31uKrr4yT4pco6LZGq+eocmky3A+2wtPxyep/H/ICvZfLR4sISSNi6iZVnOJaGO0qq8BFPwhrPPr/c+6XAXDHmrKm7GpEvymTlm5KSODZc44d3nk7dbxqU/H4KvI0FUVIdX66Yc2YoG0IzqM412M/FNua++Wi/LTReJMg3x1iFuzhwkP5LPGkyHXbygmwxNOHbUvKfbvqxgeA5qmAviWfTGwpo/1OdHRnh5RNnGs2EMGZAWCg1bu9RoY7Bu2Qz47xc1gTYelEVzSVZd6aDJFm5IBF/MGGyybghnCY8VLKx78RmMhd5nWyOTNra5OjBAo+/dxTnMJ12uCCVJYDKjovEg63gFHdL4UTcxCbO5xQKgXGXz44etKIfUcBKV+mMJ/jpOIy2Pjt4aWOKxByaSRd+GXtlVb4bmo1c+ecFpm60hsa+9sqlpcikpsPc8zFnj4Y46h7VhpqQGCDQ59Gex3TXwEnMm3vzn0cvs5Uk7M9/L0FB4+Qd9MxmxJ//8SLKVmyRPGRFZjHpCD2LsqX4FQ3TdM5kgbwAK8saEVp4++OdENeA93OT0oJzqujxE3gqamxZBrnvFLFznbom0Fw5PunWgNHe8JojwWtMOW5zvLnUlAUPCezN+wFMgUQcusOowRsd1szUfeuypWpnsoX9Rwz7YUJk5qWC0iXNumoDUcxtktLxGEKMwO8F8SqUiUcre0pwNTDv6ZbgvyapB9SZ2BlbYIj5ob4axFoGCmlRv6IE4IaC5ev7KfE9gPx9EqYGfyBI4xRtVRwLsR9uDEOpiRt2DkQ6k2n7k/6esPTFnN2K4kCErskyP+eWjv/RsCv8U9wGPKgMr0Hc4KEKdBPB8H3Q01tqMLIZnER2vrxciTxzDcAWQQazT4nxpjKk84yMFw1Ydo3GrUGsCNsTR24pCZorg4gOVGKzXeH3pAkwt9hiVGsnlZUcygG/BvP804JJ8ixGcKMfkDPKBG5FgqaGRovC5LIClImGlUaawrYMIaQV0uJ1TpNdpkxAdHN+J4IpX0/ttLPZnOMrBp4j8qULVctw7wyiaGAVrI88aijfaq/t6tdQU1uYywnRhq5+P4QIzUTh6VdxbYb3fb+ljCp5E7qc9xGCoTZ1ttBkdCTrnMarGGHeoeMgu7V1/vq+Gv6HLS3bjqVBYX85luD26wqUCt83FS1V29dc3/2qzxgq++OwoaqnEi3OtEY/4xoBQPgfdmciHMT7g5OBuxNFiE+pjBqz4s9PWToFZz8BAEmvOp9SFp1YcbZi8EawBv/EEDWEBBfrtPPhb3fcRE/Pk3aAEaiNETDK0zMYE+6G9FERzftqL2wosc3LEbTNfAscV8LumEX2+BKAWtelQmyFJDPWiN8on+845Ij81WBIsE/F2Mdyy5hkt0nRW/+ID85kgrPuRJQOlUe7NR1I0EeRGUvRWwgc2j6TYhrvye8wkwBsIzP2yoGhRZSVDFcu01lze7lNLR/WYPX+nRTHHDi4hGMx6JY/zQOS0tDP3snRMQo3ERXu6FvLnQpi/7Z3p/x60SOgOlsEyFAgWTVGD6siM0xsDB3Ex2acXfkWMMmqwUghfbdbmDWXVGshOAmBC8oXfDLjJetddKON0QRWEHBZHvlDhIDuRMEIKhjWBX22YiTC2FtuTtYH+vFXm6pwS22NFRA2syJPChybtpaIvPD6HuwSIT04Z9Xli+v3JVHwDLgiOIRnpciT2J0dgziFztcEbp9Ku5Xaw8OFzjw4pC8rkzAnvQrNv2q6Icx4c5QPv+bOdQ0932fGTXQBmgc1zLmBMuyd/6eGI4pGB2Mi+nyD8YguMom+I7wf+u3F8A9Yvr8u0SBkLu1UkmHybOYYKP5CLkw+aUPiQTFicUS9kZjGYSzYPbjZBir6qC81dwBs1ysYERHO4LpFjj+BSgejPdIK5gSNc6dmIQ2f7ymKSbkj37u8NZ+GufA0rFDxmkUaagErzBDkE07bo6AiDvaY4eZWseAtKdWPomG3xAnbTl25SnpMwulnPYh6ii+Tt3ksJoEtdnem5vPlbyYQVjE5ThgFh6AV45JUgyDijLrM8CVEZQAsNtDQEArpkA7XldSwDm1WeJWqCjD9Ye1yLNDgubZNNznHbsksdI5lLYa0ytVRDMWJAUppP0IGXnb5AEJUk6Ir+93fp0SRA5mGzyT2ySG7yxgpSz1oGfBX2YuxDwnw7btjQpVxjBnGj1iVSOhtkJlFO3hBZODS4I1wfVc95XWaPGK6tNTWvc2lJpondDhw4NzNl1XrpGk4teIM349DxNvwbH1G9JlJq2oiCzGZwvRMBMtdLBw7dBfB8NsG55P18yUH7mnSz9FbUQQXJHOYhw6Y1U/UJHHEonl0YaVgmfNM3jUCII9W4at1rJiF10NCTnQ5kYEBbB3e/43QuDvwc172ets5ii/ECdA26SVMBLCw2B0Icr9clXv+7f612Ttg+GNQf5Q4gSECf1BCvJDEjl5DhLBl5hQGM5nWych4GHLViGJg/4fvtDJCt/tqWXGdpEes1oBV+PlknsIlZXtRv2cvlnL6oPQyQXPvS71Yr+riAjq7Y4wBeSk2RX1TS8P7fe4QU0uxbe3AUxJI/c4KnOtWQwkx6mAaGUGe7bfTcdjoAqVst/Pcr0GmKEUJdNus1vsvLWEUn6J0gM4jQim6oBGyeteGhVnvxON+GcHH8KpBhXtFSh/vEaM3tQ49/Swqdbshvffc4UO2mYwuoTBamvyHVkqnWY7km8zCglzoVXtoVMcZBCCZL/BcuywG3sUkBHXVj8TymyLgGhkJamYKrYBhcOWmvqDDhwPbNb3u5Egpisl9ckQRardeBxlRiptUL5PC53VaJ4Hkz+VkujT6X2UKdf1q0Hhcs7E2Mddqjl535QGlOJKqO/ac4J0jqYxfkgtMro0+Hr/mf74vTWjiuh8o1U5G9oP0ifOM/Emq/uaSr7wvBuytFKkunByHNH7wyq1SIxIHW0IkewGpniTcZx7i8J/RJ+S7v6cUpOH9zcmF46IzkhiJctf/IXuq1+EBurwQ8Xn1n2F4rNsbClrGhp72nqNNtiMNEt787RuECEVr5JVEBEvj7crOkjKrDx9so099RE5Fcp4yKJ0SDP62ctn9Tp4Un5WOOWl6oeGwPsK/6swBFrXpHXbvWBzf20HD9LDoHezjJl/REcQbgw08pso5t/lohzKntNzEh5EIod9UktaFINdQ+MW/P+jjjHPmVo57pPIsDs3r+JUFlvv+j8JWo4yjE9WwXnabCfFANZBJSiC9XImBD9X2QrDZhRUSdD9xaqxkQReGMfu/eLF+drzsHJOIIibW24kyG/ibauT/3boy7ghhZxQHYSIkzbiM=" title="Mekko Graphics Chart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344400" y="1346174"/>
            <a:ext cx="11346313" cy="4770494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6" name="btfpNotesBox304406"/>
          <p:cNvSpPr txBox="1"/>
          <p:nvPr>
            <p:custDataLst>
              <p:tags r:id="rId3"/>
            </p:custDataLst>
          </p:nvPr>
        </p:nvSpPr>
        <p:spPr bwMode="gray">
          <a:xfrm>
            <a:off x="330199" y="6322060"/>
            <a:ext cx="11531600" cy="243840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YTD data till …; Net sentiment = % 4-5 minus # 1-2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Google reviews; Bain Analysis</a:t>
            </a:r>
          </a:p>
        </p:txBody>
      </p:sp>
      <p:sp>
        <p:nvSpPr>
          <p:cNvPr id="7" name="BainBulletsConfiguration" hidden="1"/>
          <p:cNvSpPr txBox="1"/>
          <p:nvPr/>
        </p:nvSpPr>
        <p:spPr bwMode="gray">
          <a:xfrm>
            <a:off x="12700" y="12700"/>
            <a:ext cx="72768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1726812" y="1904428"/>
            <a:ext cx="1376580" cy="3575098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27" name="btfpRunningAgenda2Level937352"/>
          <p:cNvGrpSpPr/>
          <p:nvPr>
            <p:custDataLst>
              <p:tags r:id="rId4"/>
            </p:custDataLst>
          </p:nvPr>
        </p:nvGrpSpPr>
        <p:grpSpPr>
          <a:xfrm>
            <a:off x="0" y="944429"/>
            <a:ext cx="3631469" cy="257442"/>
            <a:chOff x="0" y="876300"/>
            <a:chExt cx="3631469" cy="257442"/>
          </a:xfrm>
        </p:grpSpPr>
        <p:sp>
          <p:nvSpPr>
            <p:cNvPr id="28" name="btfpRunningAgenda2LevelBarLeft937352"/>
            <p:cNvSpPr/>
            <p:nvPr/>
          </p:nvSpPr>
          <p:spPr bwMode="gray">
            <a:xfrm>
              <a:off x="0" y="876300"/>
              <a:ext cx="3631469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20719 w 1120719"/>
                <a:gd name="connsiteY0" fmla="*/ 0 h 257442"/>
                <a:gd name="connsiteX1" fmla="*/ 888065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289034 w 1289034"/>
                <a:gd name="connsiteY0" fmla="*/ 0 h 257442"/>
                <a:gd name="connsiteX1" fmla="*/ 1065998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390025 w 1390025"/>
                <a:gd name="connsiteY0" fmla="*/ 0 h 257442"/>
                <a:gd name="connsiteX1" fmla="*/ 1234313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4 w 1390024"/>
                <a:gd name="connsiteY0" fmla="*/ 0 h 257442"/>
                <a:gd name="connsiteX1" fmla="*/ 1335303 w 1390024"/>
                <a:gd name="connsiteY1" fmla="*/ 257442 h 257442"/>
                <a:gd name="connsiteX2" fmla="*/ 0 w 1390024"/>
                <a:gd name="connsiteY2" fmla="*/ 257442 h 257442"/>
                <a:gd name="connsiteX3" fmla="*/ 0 w 1390024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1 w 1390025"/>
                <a:gd name="connsiteY2" fmla="*/ 257442 h 257442"/>
                <a:gd name="connsiteX3" fmla="*/ 0 w 1390025"/>
                <a:gd name="connsiteY3" fmla="*/ 0 h 257442"/>
                <a:gd name="connsiteX0" fmla="*/ 1558340 w 1558340"/>
                <a:gd name="connsiteY0" fmla="*/ 0 h 257442"/>
                <a:gd name="connsiteX1" fmla="*/ 1335304 w 1558340"/>
                <a:gd name="connsiteY1" fmla="*/ 257442 h 257442"/>
                <a:gd name="connsiteX2" fmla="*/ 1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1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0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0 w 1558340"/>
                <a:gd name="connsiteY2" fmla="*/ 257442 h 257442"/>
                <a:gd name="connsiteX3" fmla="*/ 0 w 1558340"/>
                <a:gd name="connsiteY3" fmla="*/ 0 h 257442"/>
                <a:gd name="connsiteX0" fmla="*/ 1710625 w 1710625"/>
                <a:gd name="connsiteY0" fmla="*/ 0 h 257442"/>
                <a:gd name="connsiteX1" fmla="*/ 1503618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808857 w 1808857"/>
                <a:gd name="connsiteY0" fmla="*/ 0 h 257442"/>
                <a:gd name="connsiteX1" fmla="*/ 1655904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994805 w 1994805"/>
                <a:gd name="connsiteY0" fmla="*/ 0 h 257442"/>
                <a:gd name="connsiteX1" fmla="*/ 1754136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2155105 w 2155105"/>
                <a:gd name="connsiteY0" fmla="*/ 0 h 257442"/>
                <a:gd name="connsiteX1" fmla="*/ 19400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323420 w 2323420"/>
                <a:gd name="connsiteY0" fmla="*/ 0 h 257442"/>
                <a:gd name="connsiteX1" fmla="*/ 2100384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0 w 2323420"/>
                <a:gd name="connsiteY0" fmla="*/ 0 h 257442"/>
                <a:gd name="connsiteX1" fmla="*/ 2268698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424411 w 2424411"/>
                <a:gd name="connsiteY0" fmla="*/ 0 h 257442"/>
                <a:gd name="connsiteX1" fmla="*/ 2268699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0 w 2424410"/>
                <a:gd name="connsiteY0" fmla="*/ 0 h 257442"/>
                <a:gd name="connsiteX1" fmla="*/ 2369689 w 2424410"/>
                <a:gd name="connsiteY1" fmla="*/ 257442 h 257442"/>
                <a:gd name="connsiteX2" fmla="*/ 0 w 2424410"/>
                <a:gd name="connsiteY2" fmla="*/ 257442 h 257442"/>
                <a:gd name="connsiteX3" fmla="*/ 0 w 2424410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1 w 2424411"/>
                <a:gd name="connsiteY2" fmla="*/ 257442 h 257442"/>
                <a:gd name="connsiteX3" fmla="*/ 0 w 2424411"/>
                <a:gd name="connsiteY3" fmla="*/ 0 h 257442"/>
                <a:gd name="connsiteX0" fmla="*/ 2592725 w 2592725"/>
                <a:gd name="connsiteY0" fmla="*/ 0 h 257442"/>
                <a:gd name="connsiteX1" fmla="*/ 2369690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4 w 2592724"/>
                <a:gd name="connsiteY0" fmla="*/ 0 h 257442"/>
                <a:gd name="connsiteX1" fmla="*/ 2538003 w 2592724"/>
                <a:gd name="connsiteY1" fmla="*/ 257442 h 257442"/>
                <a:gd name="connsiteX2" fmla="*/ 0 w 2592724"/>
                <a:gd name="connsiteY2" fmla="*/ 257442 h 257442"/>
                <a:gd name="connsiteX3" fmla="*/ 0 w 2592724"/>
                <a:gd name="connsiteY3" fmla="*/ 0 h 257442"/>
                <a:gd name="connsiteX0" fmla="*/ 950800 w 2538003"/>
                <a:gd name="connsiteY0" fmla="*/ 0 h 257442"/>
                <a:gd name="connsiteX1" fmla="*/ 2538003 w 2538003"/>
                <a:gd name="connsiteY1" fmla="*/ 257442 h 257442"/>
                <a:gd name="connsiteX2" fmla="*/ 0 w 2538003"/>
                <a:gd name="connsiteY2" fmla="*/ 257442 h 257442"/>
                <a:gd name="connsiteX3" fmla="*/ 0 w 2538003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36749 w 1136749"/>
                <a:gd name="connsiteY0" fmla="*/ 0 h 257442"/>
                <a:gd name="connsiteX1" fmla="*/ 896080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2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457351 w 1457351"/>
                <a:gd name="connsiteY0" fmla="*/ 0 h 257442"/>
                <a:gd name="connsiteX1" fmla="*/ 1250343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635284 w 1635284"/>
                <a:gd name="connsiteY0" fmla="*/ 0 h 257442"/>
                <a:gd name="connsiteX1" fmla="*/ 1402630 w 1635284"/>
                <a:gd name="connsiteY1" fmla="*/ 257442 h 257442"/>
                <a:gd name="connsiteX2" fmla="*/ 1 w 1635284"/>
                <a:gd name="connsiteY2" fmla="*/ 257442 h 257442"/>
                <a:gd name="connsiteX3" fmla="*/ 0 w 1635284"/>
                <a:gd name="connsiteY3" fmla="*/ 0 h 257442"/>
                <a:gd name="connsiteX0" fmla="*/ 1635284 w 1635284"/>
                <a:gd name="connsiteY0" fmla="*/ 0 h 257442"/>
                <a:gd name="connsiteX1" fmla="*/ 1580562 w 1635284"/>
                <a:gd name="connsiteY1" fmla="*/ 257442 h 257442"/>
                <a:gd name="connsiteX2" fmla="*/ 1 w 1635284"/>
                <a:gd name="connsiteY2" fmla="*/ 257442 h 257442"/>
                <a:gd name="connsiteX3" fmla="*/ 0 w 1635284"/>
                <a:gd name="connsiteY3" fmla="*/ 0 h 257442"/>
                <a:gd name="connsiteX0" fmla="*/ 1635284 w 1635284"/>
                <a:gd name="connsiteY0" fmla="*/ 0 h 257442"/>
                <a:gd name="connsiteX1" fmla="*/ 1580562 w 1635284"/>
                <a:gd name="connsiteY1" fmla="*/ 257442 h 257442"/>
                <a:gd name="connsiteX2" fmla="*/ 0 w 1635284"/>
                <a:gd name="connsiteY2" fmla="*/ 257442 h 257442"/>
                <a:gd name="connsiteX3" fmla="*/ 0 w 1635284"/>
                <a:gd name="connsiteY3" fmla="*/ 0 h 257442"/>
                <a:gd name="connsiteX0" fmla="*/ 1635284 w 1635284"/>
                <a:gd name="connsiteY0" fmla="*/ 0 h 257442"/>
                <a:gd name="connsiteX1" fmla="*/ 1580562 w 1635284"/>
                <a:gd name="connsiteY1" fmla="*/ 257442 h 257442"/>
                <a:gd name="connsiteX2" fmla="*/ 0 w 1635284"/>
                <a:gd name="connsiteY2" fmla="*/ 257442 h 257442"/>
                <a:gd name="connsiteX3" fmla="*/ 0 w 1635284"/>
                <a:gd name="connsiteY3" fmla="*/ 0 h 257442"/>
                <a:gd name="connsiteX0" fmla="*/ 1803599 w 1803599"/>
                <a:gd name="connsiteY0" fmla="*/ 0 h 257442"/>
                <a:gd name="connsiteX1" fmla="*/ 1580562 w 1803599"/>
                <a:gd name="connsiteY1" fmla="*/ 257442 h 257442"/>
                <a:gd name="connsiteX2" fmla="*/ 0 w 1803599"/>
                <a:gd name="connsiteY2" fmla="*/ 257442 h 257442"/>
                <a:gd name="connsiteX3" fmla="*/ 0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0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0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0 w 1803599"/>
                <a:gd name="connsiteY3" fmla="*/ 0 h 257442"/>
                <a:gd name="connsiteX0" fmla="*/ 1971914 w 1971914"/>
                <a:gd name="connsiteY0" fmla="*/ 0 h 257442"/>
                <a:gd name="connsiteX1" fmla="*/ 1748878 w 1971914"/>
                <a:gd name="connsiteY1" fmla="*/ 257442 h 257442"/>
                <a:gd name="connsiteX2" fmla="*/ 0 w 1971914"/>
                <a:gd name="connsiteY2" fmla="*/ 257442 h 257442"/>
                <a:gd name="connsiteX3" fmla="*/ 0 w 1971914"/>
                <a:gd name="connsiteY3" fmla="*/ 0 h 257442"/>
                <a:gd name="connsiteX0" fmla="*/ 1971914 w 1971914"/>
                <a:gd name="connsiteY0" fmla="*/ 0 h 257442"/>
                <a:gd name="connsiteX1" fmla="*/ 1917192 w 1971914"/>
                <a:gd name="connsiteY1" fmla="*/ 257442 h 257442"/>
                <a:gd name="connsiteX2" fmla="*/ 0 w 1971914"/>
                <a:gd name="connsiteY2" fmla="*/ 257442 h 257442"/>
                <a:gd name="connsiteX3" fmla="*/ 0 w 1971914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1 w 1971915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1 w 1971915"/>
                <a:gd name="connsiteY3" fmla="*/ 0 h 257442"/>
                <a:gd name="connsiteX0" fmla="*/ 2140230 w 2140230"/>
                <a:gd name="connsiteY0" fmla="*/ 0 h 257442"/>
                <a:gd name="connsiteX1" fmla="*/ 1917193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0 w 2140230"/>
                <a:gd name="connsiteY3" fmla="*/ 0 h 257442"/>
                <a:gd name="connsiteX0" fmla="*/ 2300530 w 2300530"/>
                <a:gd name="connsiteY0" fmla="*/ 0 h 257442"/>
                <a:gd name="connsiteX1" fmla="*/ 2085508 w 2300530"/>
                <a:gd name="connsiteY1" fmla="*/ 257442 h 257442"/>
                <a:gd name="connsiteX2" fmla="*/ 0 w 2300530"/>
                <a:gd name="connsiteY2" fmla="*/ 257442 h 257442"/>
                <a:gd name="connsiteX3" fmla="*/ 0 w 2300530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0 w 2300530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0 w 2300530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0 w 2300530"/>
                <a:gd name="connsiteY3" fmla="*/ 0 h 257442"/>
                <a:gd name="connsiteX0" fmla="*/ 2441401 w 2441401"/>
                <a:gd name="connsiteY0" fmla="*/ 0 h 257442"/>
                <a:gd name="connsiteX1" fmla="*/ 2245809 w 2441401"/>
                <a:gd name="connsiteY1" fmla="*/ 257442 h 257442"/>
                <a:gd name="connsiteX2" fmla="*/ 0 w 2441401"/>
                <a:gd name="connsiteY2" fmla="*/ 257442 h 257442"/>
                <a:gd name="connsiteX3" fmla="*/ 0 w 2441401"/>
                <a:gd name="connsiteY3" fmla="*/ 0 h 257442"/>
                <a:gd name="connsiteX0" fmla="*/ 2441401 w 2441401"/>
                <a:gd name="connsiteY0" fmla="*/ 0 h 257442"/>
                <a:gd name="connsiteX1" fmla="*/ 2386680 w 2441401"/>
                <a:gd name="connsiteY1" fmla="*/ 257442 h 257442"/>
                <a:gd name="connsiteX2" fmla="*/ 0 w 2441401"/>
                <a:gd name="connsiteY2" fmla="*/ 257442 h 257442"/>
                <a:gd name="connsiteX3" fmla="*/ 0 w 2441401"/>
                <a:gd name="connsiteY3" fmla="*/ 0 h 257442"/>
                <a:gd name="connsiteX0" fmla="*/ 2441401 w 2441401"/>
                <a:gd name="connsiteY0" fmla="*/ 0 h 257442"/>
                <a:gd name="connsiteX1" fmla="*/ 2386680 w 2441401"/>
                <a:gd name="connsiteY1" fmla="*/ 257442 h 257442"/>
                <a:gd name="connsiteX2" fmla="*/ 0 w 2441401"/>
                <a:gd name="connsiteY2" fmla="*/ 257442 h 257442"/>
                <a:gd name="connsiteX3" fmla="*/ 0 w 2441401"/>
                <a:gd name="connsiteY3" fmla="*/ 0 h 257442"/>
                <a:gd name="connsiteX0" fmla="*/ 2441401 w 2441401"/>
                <a:gd name="connsiteY0" fmla="*/ 0 h 257442"/>
                <a:gd name="connsiteX1" fmla="*/ 2386680 w 2441401"/>
                <a:gd name="connsiteY1" fmla="*/ 257442 h 257442"/>
                <a:gd name="connsiteX2" fmla="*/ 0 w 2441401"/>
                <a:gd name="connsiteY2" fmla="*/ 257442 h 257442"/>
                <a:gd name="connsiteX3" fmla="*/ 0 w 2441401"/>
                <a:gd name="connsiteY3" fmla="*/ 0 h 257442"/>
                <a:gd name="connsiteX0" fmla="*/ 2627991 w 2627991"/>
                <a:gd name="connsiteY0" fmla="*/ 0 h 257442"/>
                <a:gd name="connsiteX1" fmla="*/ 2386680 w 2627991"/>
                <a:gd name="connsiteY1" fmla="*/ 257442 h 257442"/>
                <a:gd name="connsiteX2" fmla="*/ 0 w 2627991"/>
                <a:gd name="connsiteY2" fmla="*/ 257442 h 257442"/>
                <a:gd name="connsiteX3" fmla="*/ 0 w 2627991"/>
                <a:gd name="connsiteY3" fmla="*/ 0 h 257442"/>
                <a:gd name="connsiteX0" fmla="*/ 2627991 w 2627991"/>
                <a:gd name="connsiteY0" fmla="*/ 0 h 257442"/>
                <a:gd name="connsiteX1" fmla="*/ 2573270 w 2627991"/>
                <a:gd name="connsiteY1" fmla="*/ 257442 h 257442"/>
                <a:gd name="connsiteX2" fmla="*/ 0 w 2627991"/>
                <a:gd name="connsiteY2" fmla="*/ 257442 h 257442"/>
                <a:gd name="connsiteX3" fmla="*/ 0 w 2627991"/>
                <a:gd name="connsiteY3" fmla="*/ 0 h 257442"/>
                <a:gd name="connsiteX0" fmla="*/ 2627991 w 2627991"/>
                <a:gd name="connsiteY0" fmla="*/ 0 h 257442"/>
                <a:gd name="connsiteX1" fmla="*/ 2573270 w 2627991"/>
                <a:gd name="connsiteY1" fmla="*/ 257442 h 257442"/>
                <a:gd name="connsiteX2" fmla="*/ 0 w 2627991"/>
                <a:gd name="connsiteY2" fmla="*/ 257442 h 257442"/>
                <a:gd name="connsiteX3" fmla="*/ 0 w 2627991"/>
                <a:gd name="connsiteY3" fmla="*/ 0 h 257442"/>
                <a:gd name="connsiteX0" fmla="*/ 2627991 w 2627991"/>
                <a:gd name="connsiteY0" fmla="*/ 0 h 257442"/>
                <a:gd name="connsiteX1" fmla="*/ 2573270 w 2627991"/>
                <a:gd name="connsiteY1" fmla="*/ 257442 h 257442"/>
                <a:gd name="connsiteX2" fmla="*/ 0 w 2627991"/>
                <a:gd name="connsiteY2" fmla="*/ 257442 h 257442"/>
                <a:gd name="connsiteX3" fmla="*/ 0 w 2627991"/>
                <a:gd name="connsiteY3" fmla="*/ 0 h 257442"/>
                <a:gd name="connsiteX0" fmla="*/ 2813939 w 2813939"/>
                <a:gd name="connsiteY0" fmla="*/ 0 h 257442"/>
                <a:gd name="connsiteX1" fmla="*/ 2573270 w 2813939"/>
                <a:gd name="connsiteY1" fmla="*/ 257442 h 257442"/>
                <a:gd name="connsiteX2" fmla="*/ 0 w 2813939"/>
                <a:gd name="connsiteY2" fmla="*/ 257442 h 257442"/>
                <a:gd name="connsiteX3" fmla="*/ 0 w 2813939"/>
                <a:gd name="connsiteY3" fmla="*/ 0 h 257442"/>
                <a:gd name="connsiteX0" fmla="*/ 2813939 w 2813939"/>
                <a:gd name="connsiteY0" fmla="*/ 0 h 257442"/>
                <a:gd name="connsiteX1" fmla="*/ 2759218 w 2813939"/>
                <a:gd name="connsiteY1" fmla="*/ 257442 h 257442"/>
                <a:gd name="connsiteX2" fmla="*/ 0 w 2813939"/>
                <a:gd name="connsiteY2" fmla="*/ 257442 h 257442"/>
                <a:gd name="connsiteX3" fmla="*/ 0 w 2813939"/>
                <a:gd name="connsiteY3" fmla="*/ 0 h 257442"/>
                <a:gd name="connsiteX0" fmla="*/ 2813939 w 2813939"/>
                <a:gd name="connsiteY0" fmla="*/ 0 h 257442"/>
                <a:gd name="connsiteX1" fmla="*/ 2759218 w 2813939"/>
                <a:gd name="connsiteY1" fmla="*/ 257442 h 257442"/>
                <a:gd name="connsiteX2" fmla="*/ 0 w 2813939"/>
                <a:gd name="connsiteY2" fmla="*/ 257442 h 257442"/>
                <a:gd name="connsiteX3" fmla="*/ 0 w 2813939"/>
                <a:gd name="connsiteY3" fmla="*/ 0 h 257442"/>
                <a:gd name="connsiteX0" fmla="*/ 2813939 w 2813939"/>
                <a:gd name="connsiteY0" fmla="*/ 0 h 257442"/>
                <a:gd name="connsiteX1" fmla="*/ 2759218 w 2813939"/>
                <a:gd name="connsiteY1" fmla="*/ 257442 h 257442"/>
                <a:gd name="connsiteX2" fmla="*/ 0 w 2813939"/>
                <a:gd name="connsiteY2" fmla="*/ 257442 h 257442"/>
                <a:gd name="connsiteX3" fmla="*/ 0 w 2813939"/>
                <a:gd name="connsiteY3" fmla="*/ 0 h 257442"/>
                <a:gd name="connsiteX0" fmla="*/ 2974239 w 2974239"/>
                <a:gd name="connsiteY0" fmla="*/ 0 h 257442"/>
                <a:gd name="connsiteX1" fmla="*/ 2759218 w 2974239"/>
                <a:gd name="connsiteY1" fmla="*/ 257442 h 257442"/>
                <a:gd name="connsiteX2" fmla="*/ 0 w 2974239"/>
                <a:gd name="connsiteY2" fmla="*/ 257442 h 257442"/>
                <a:gd name="connsiteX3" fmla="*/ 0 w 2974239"/>
                <a:gd name="connsiteY3" fmla="*/ 0 h 257442"/>
                <a:gd name="connsiteX0" fmla="*/ 2974239 w 2974239"/>
                <a:gd name="connsiteY0" fmla="*/ 0 h 257442"/>
                <a:gd name="connsiteX1" fmla="*/ 2919518 w 2974239"/>
                <a:gd name="connsiteY1" fmla="*/ 257442 h 257442"/>
                <a:gd name="connsiteX2" fmla="*/ 0 w 2974239"/>
                <a:gd name="connsiteY2" fmla="*/ 257442 h 257442"/>
                <a:gd name="connsiteX3" fmla="*/ 0 w 2974239"/>
                <a:gd name="connsiteY3" fmla="*/ 0 h 257442"/>
                <a:gd name="connsiteX0" fmla="*/ 2974239 w 2974239"/>
                <a:gd name="connsiteY0" fmla="*/ 0 h 257442"/>
                <a:gd name="connsiteX1" fmla="*/ 2919518 w 2974239"/>
                <a:gd name="connsiteY1" fmla="*/ 257442 h 257442"/>
                <a:gd name="connsiteX2" fmla="*/ 0 w 2974239"/>
                <a:gd name="connsiteY2" fmla="*/ 257442 h 257442"/>
                <a:gd name="connsiteX3" fmla="*/ 0 w 2974239"/>
                <a:gd name="connsiteY3" fmla="*/ 0 h 257442"/>
                <a:gd name="connsiteX0" fmla="*/ 2974239 w 2974239"/>
                <a:gd name="connsiteY0" fmla="*/ 0 h 257442"/>
                <a:gd name="connsiteX1" fmla="*/ 2919518 w 2974239"/>
                <a:gd name="connsiteY1" fmla="*/ 257442 h 257442"/>
                <a:gd name="connsiteX2" fmla="*/ 0 w 2974239"/>
                <a:gd name="connsiteY2" fmla="*/ 257442 h 257442"/>
                <a:gd name="connsiteX3" fmla="*/ 0 w 2974239"/>
                <a:gd name="connsiteY3" fmla="*/ 0 h 257442"/>
                <a:gd name="connsiteX0" fmla="*/ 3142555 w 3142555"/>
                <a:gd name="connsiteY0" fmla="*/ 0 h 257442"/>
                <a:gd name="connsiteX1" fmla="*/ 2919518 w 3142555"/>
                <a:gd name="connsiteY1" fmla="*/ 257442 h 257442"/>
                <a:gd name="connsiteX2" fmla="*/ 0 w 3142555"/>
                <a:gd name="connsiteY2" fmla="*/ 257442 h 257442"/>
                <a:gd name="connsiteX3" fmla="*/ 0 w 3142555"/>
                <a:gd name="connsiteY3" fmla="*/ 0 h 257442"/>
                <a:gd name="connsiteX0" fmla="*/ 3142555 w 3142555"/>
                <a:gd name="connsiteY0" fmla="*/ 0 h 257442"/>
                <a:gd name="connsiteX1" fmla="*/ 3087834 w 3142555"/>
                <a:gd name="connsiteY1" fmla="*/ 257442 h 257442"/>
                <a:gd name="connsiteX2" fmla="*/ 0 w 3142555"/>
                <a:gd name="connsiteY2" fmla="*/ 257442 h 257442"/>
                <a:gd name="connsiteX3" fmla="*/ 0 w 3142555"/>
                <a:gd name="connsiteY3" fmla="*/ 0 h 257442"/>
                <a:gd name="connsiteX0" fmla="*/ 3142555 w 3142555"/>
                <a:gd name="connsiteY0" fmla="*/ 0 h 257442"/>
                <a:gd name="connsiteX1" fmla="*/ 3087834 w 3142555"/>
                <a:gd name="connsiteY1" fmla="*/ 257442 h 257442"/>
                <a:gd name="connsiteX2" fmla="*/ 0 w 3142555"/>
                <a:gd name="connsiteY2" fmla="*/ 257442 h 257442"/>
                <a:gd name="connsiteX3" fmla="*/ 0 w 3142555"/>
                <a:gd name="connsiteY3" fmla="*/ 0 h 257442"/>
                <a:gd name="connsiteX0" fmla="*/ 3142555 w 3142555"/>
                <a:gd name="connsiteY0" fmla="*/ 0 h 257442"/>
                <a:gd name="connsiteX1" fmla="*/ 3087834 w 3142555"/>
                <a:gd name="connsiteY1" fmla="*/ 257442 h 257442"/>
                <a:gd name="connsiteX2" fmla="*/ 0 w 3142555"/>
                <a:gd name="connsiteY2" fmla="*/ 257442 h 257442"/>
                <a:gd name="connsiteX3" fmla="*/ 0 w 3142555"/>
                <a:gd name="connsiteY3" fmla="*/ 0 h 257442"/>
                <a:gd name="connsiteX0" fmla="*/ 3237837 w 3237837"/>
                <a:gd name="connsiteY0" fmla="*/ 0 h 257442"/>
                <a:gd name="connsiteX1" fmla="*/ 3087834 w 3237837"/>
                <a:gd name="connsiteY1" fmla="*/ 257442 h 257442"/>
                <a:gd name="connsiteX2" fmla="*/ 0 w 3237837"/>
                <a:gd name="connsiteY2" fmla="*/ 257442 h 257442"/>
                <a:gd name="connsiteX3" fmla="*/ 0 w 3237837"/>
                <a:gd name="connsiteY3" fmla="*/ 0 h 257442"/>
                <a:gd name="connsiteX0" fmla="*/ 3237837 w 3237837"/>
                <a:gd name="connsiteY0" fmla="*/ 0 h 257442"/>
                <a:gd name="connsiteX1" fmla="*/ 3183116 w 3237837"/>
                <a:gd name="connsiteY1" fmla="*/ 257442 h 257442"/>
                <a:gd name="connsiteX2" fmla="*/ 0 w 3237837"/>
                <a:gd name="connsiteY2" fmla="*/ 257442 h 257442"/>
                <a:gd name="connsiteX3" fmla="*/ 0 w 3237837"/>
                <a:gd name="connsiteY3" fmla="*/ 0 h 257442"/>
                <a:gd name="connsiteX0" fmla="*/ 3237837 w 3237837"/>
                <a:gd name="connsiteY0" fmla="*/ 0 h 257442"/>
                <a:gd name="connsiteX1" fmla="*/ 3183116 w 3237837"/>
                <a:gd name="connsiteY1" fmla="*/ 257442 h 257442"/>
                <a:gd name="connsiteX2" fmla="*/ 0 w 3237837"/>
                <a:gd name="connsiteY2" fmla="*/ 257442 h 257442"/>
                <a:gd name="connsiteX3" fmla="*/ 0 w 3237837"/>
                <a:gd name="connsiteY3" fmla="*/ 0 h 257442"/>
                <a:gd name="connsiteX0" fmla="*/ 3237837 w 3237837"/>
                <a:gd name="connsiteY0" fmla="*/ 0 h 257442"/>
                <a:gd name="connsiteX1" fmla="*/ 3183116 w 3237837"/>
                <a:gd name="connsiteY1" fmla="*/ 257442 h 257442"/>
                <a:gd name="connsiteX2" fmla="*/ 0 w 3237837"/>
                <a:gd name="connsiteY2" fmla="*/ 257442 h 257442"/>
                <a:gd name="connsiteX3" fmla="*/ 0 w 3237837"/>
                <a:gd name="connsiteY3" fmla="*/ 0 h 257442"/>
                <a:gd name="connsiteX0" fmla="*/ 3403844 w 3403844"/>
                <a:gd name="connsiteY0" fmla="*/ 0 h 257442"/>
                <a:gd name="connsiteX1" fmla="*/ 3183116 w 3403844"/>
                <a:gd name="connsiteY1" fmla="*/ 257442 h 257442"/>
                <a:gd name="connsiteX2" fmla="*/ 0 w 3403844"/>
                <a:gd name="connsiteY2" fmla="*/ 257442 h 257442"/>
                <a:gd name="connsiteX3" fmla="*/ 0 w 3403844"/>
                <a:gd name="connsiteY3" fmla="*/ 0 h 257442"/>
                <a:gd name="connsiteX0" fmla="*/ 3403844 w 3403844"/>
                <a:gd name="connsiteY0" fmla="*/ 0 h 257442"/>
                <a:gd name="connsiteX1" fmla="*/ 3349122 w 3403844"/>
                <a:gd name="connsiteY1" fmla="*/ 257442 h 257442"/>
                <a:gd name="connsiteX2" fmla="*/ 0 w 3403844"/>
                <a:gd name="connsiteY2" fmla="*/ 257442 h 257442"/>
                <a:gd name="connsiteX3" fmla="*/ 0 w 3403844"/>
                <a:gd name="connsiteY3" fmla="*/ 0 h 257442"/>
                <a:gd name="connsiteX0" fmla="*/ 3403845 w 3403845"/>
                <a:gd name="connsiteY0" fmla="*/ 0 h 257442"/>
                <a:gd name="connsiteX1" fmla="*/ 3349123 w 3403845"/>
                <a:gd name="connsiteY1" fmla="*/ 257442 h 257442"/>
                <a:gd name="connsiteX2" fmla="*/ 0 w 3403845"/>
                <a:gd name="connsiteY2" fmla="*/ 257442 h 257442"/>
                <a:gd name="connsiteX3" fmla="*/ 1 w 3403845"/>
                <a:gd name="connsiteY3" fmla="*/ 0 h 257442"/>
                <a:gd name="connsiteX0" fmla="*/ 3403845 w 3403845"/>
                <a:gd name="connsiteY0" fmla="*/ 0 h 257442"/>
                <a:gd name="connsiteX1" fmla="*/ 3349123 w 3403845"/>
                <a:gd name="connsiteY1" fmla="*/ 257442 h 257442"/>
                <a:gd name="connsiteX2" fmla="*/ 0 w 3403845"/>
                <a:gd name="connsiteY2" fmla="*/ 257442 h 257442"/>
                <a:gd name="connsiteX3" fmla="*/ 1 w 3403845"/>
                <a:gd name="connsiteY3" fmla="*/ 0 h 257442"/>
                <a:gd name="connsiteX0" fmla="*/ 3564145 w 3564145"/>
                <a:gd name="connsiteY0" fmla="*/ 0 h 257442"/>
                <a:gd name="connsiteX1" fmla="*/ 3349123 w 3564145"/>
                <a:gd name="connsiteY1" fmla="*/ 257442 h 257442"/>
                <a:gd name="connsiteX2" fmla="*/ 0 w 3564145"/>
                <a:gd name="connsiteY2" fmla="*/ 257442 h 257442"/>
                <a:gd name="connsiteX3" fmla="*/ 1 w 3564145"/>
                <a:gd name="connsiteY3" fmla="*/ 0 h 257442"/>
                <a:gd name="connsiteX0" fmla="*/ 3564145 w 3564145"/>
                <a:gd name="connsiteY0" fmla="*/ 0 h 257442"/>
                <a:gd name="connsiteX1" fmla="*/ 3509424 w 3564145"/>
                <a:gd name="connsiteY1" fmla="*/ 257442 h 257442"/>
                <a:gd name="connsiteX2" fmla="*/ 0 w 3564145"/>
                <a:gd name="connsiteY2" fmla="*/ 257442 h 257442"/>
                <a:gd name="connsiteX3" fmla="*/ 1 w 3564145"/>
                <a:gd name="connsiteY3" fmla="*/ 0 h 257442"/>
                <a:gd name="connsiteX0" fmla="*/ 3564144 w 3564144"/>
                <a:gd name="connsiteY0" fmla="*/ 0 h 257442"/>
                <a:gd name="connsiteX1" fmla="*/ 3509423 w 3564144"/>
                <a:gd name="connsiteY1" fmla="*/ 257442 h 257442"/>
                <a:gd name="connsiteX2" fmla="*/ 0 w 3564144"/>
                <a:gd name="connsiteY2" fmla="*/ 257442 h 257442"/>
                <a:gd name="connsiteX3" fmla="*/ 0 w 3564144"/>
                <a:gd name="connsiteY3" fmla="*/ 0 h 257442"/>
                <a:gd name="connsiteX0" fmla="*/ 3564145 w 3564145"/>
                <a:gd name="connsiteY0" fmla="*/ 0 h 257442"/>
                <a:gd name="connsiteX1" fmla="*/ 3509424 w 3564145"/>
                <a:gd name="connsiteY1" fmla="*/ 257442 h 257442"/>
                <a:gd name="connsiteX2" fmla="*/ 1 w 3564145"/>
                <a:gd name="connsiteY2" fmla="*/ 257442 h 257442"/>
                <a:gd name="connsiteX3" fmla="*/ 0 w 3564145"/>
                <a:gd name="connsiteY3" fmla="*/ 0 h 257442"/>
                <a:gd name="connsiteX0" fmla="*/ 3732461 w 3732461"/>
                <a:gd name="connsiteY0" fmla="*/ 0 h 257442"/>
                <a:gd name="connsiteX1" fmla="*/ 3509424 w 3732461"/>
                <a:gd name="connsiteY1" fmla="*/ 257442 h 257442"/>
                <a:gd name="connsiteX2" fmla="*/ 1 w 3732461"/>
                <a:gd name="connsiteY2" fmla="*/ 257442 h 257442"/>
                <a:gd name="connsiteX3" fmla="*/ 0 w 3732461"/>
                <a:gd name="connsiteY3" fmla="*/ 0 h 257442"/>
                <a:gd name="connsiteX0" fmla="*/ 3732461 w 3732461"/>
                <a:gd name="connsiteY0" fmla="*/ 0 h 257442"/>
                <a:gd name="connsiteX1" fmla="*/ 3677740 w 3732461"/>
                <a:gd name="connsiteY1" fmla="*/ 257442 h 257442"/>
                <a:gd name="connsiteX2" fmla="*/ 1 w 3732461"/>
                <a:gd name="connsiteY2" fmla="*/ 257442 h 257442"/>
                <a:gd name="connsiteX3" fmla="*/ 0 w 3732461"/>
                <a:gd name="connsiteY3" fmla="*/ 0 h 257442"/>
                <a:gd name="connsiteX0" fmla="*/ 3732461 w 3732461"/>
                <a:gd name="connsiteY0" fmla="*/ 0 h 257442"/>
                <a:gd name="connsiteX1" fmla="*/ 3677740 w 3732461"/>
                <a:gd name="connsiteY1" fmla="*/ 257442 h 257442"/>
                <a:gd name="connsiteX2" fmla="*/ 1 w 3732461"/>
                <a:gd name="connsiteY2" fmla="*/ 257442 h 257442"/>
                <a:gd name="connsiteX3" fmla="*/ 0 w 3732461"/>
                <a:gd name="connsiteY3" fmla="*/ 0 h 257442"/>
                <a:gd name="connsiteX0" fmla="*/ 3732460 w 3732460"/>
                <a:gd name="connsiteY0" fmla="*/ 0 h 257442"/>
                <a:gd name="connsiteX1" fmla="*/ 3677739 w 3732460"/>
                <a:gd name="connsiteY1" fmla="*/ 257442 h 257442"/>
                <a:gd name="connsiteX2" fmla="*/ 0 w 3732460"/>
                <a:gd name="connsiteY2" fmla="*/ 257442 h 257442"/>
                <a:gd name="connsiteX3" fmla="*/ 0 w 3732460"/>
                <a:gd name="connsiteY3" fmla="*/ 0 h 257442"/>
                <a:gd name="connsiteX0" fmla="*/ 3564143 w 3677739"/>
                <a:gd name="connsiteY0" fmla="*/ 0 h 257442"/>
                <a:gd name="connsiteX1" fmla="*/ 3677739 w 3677739"/>
                <a:gd name="connsiteY1" fmla="*/ 257442 h 257442"/>
                <a:gd name="connsiteX2" fmla="*/ 0 w 3677739"/>
                <a:gd name="connsiteY2" fmla="*/ 257442 h 257442"/>
                <a:gd name="connsiteX3" fmla="*/ 0 w 3677739"/>
                <a:gd name="connsiteY3" fmla="*/ 0 h 257442"/>
                <a:gd name="connsiteX0" fmla="*/ 3564143 w 3564143"/>
                <a:gd name="connsiteY0" fmla="*/ 0 h 257442"/>
                <a:gd name="connsiteX1" fmla="*/ 3509423 w 3564143"/>
                <a:gd name="connsiteY1" fmla="*/ 257442 h 257442"/>
                <a:gd name="connsiteX2" fmla="*/ 0 w 3564143"/>
                <a:gd name="connsiteY2" fmla="*/ 257442 h 257442"/>
                <a:gd name="connsiteX3" fmla="*/ 0 w 3564143"/>
                <a:gd name="connsiteY3" fmla="*/ 0 h 257442"/>
                <a:gd name="connsiteX0" fmla="*/ 3564143 w 3564143"/>
                <a:gd name="connsiteY0" fmla="*/ 0 h 257442"/>
                <a:gd name="connsiteX1" fmla="*/ 3509423 w 3564143"/>
                <a:gd name="connsiteY1" fmla="*/ 257442 h 257442"/>
                <a:gd name="connsiteX2" fmla="*/ 0 w 3564143"/>
                <a:gd name="connsiteY2" fmla="*/ 257442 h 257442"/>
                <a:gd name="connsiteX3" fmla="*/ 0 w 3564143"/>
                <a:gd name="connsiteY3" fmla="*/ 0 h 257442"/>
                <a:gd name="connsiteX0" fmla="*/ 3564143 w 3564143"/>
                <a:gd name="connsiteY0" fmla="*/ 0 h 257442"/>
                <a:gd name="connsiteX1" fmla="*/ 3509423 w 3564143"/>
                <a:gd name="connsiteY1" fmla="*/ 257442 h 257442"/>
                <a:gd name="connsiteX2" fmla="*/ 0 w 3564143"/>
                <a:gd name="connsiteY2" fmla="*/ 257442 h 257442"/>
                <a:gd name="connsiteX3" fmla="*/ 0 w 3564143"/>
                <a:gd name="connsiteY3" fmla="*/ 0 h 257442"/>
                <a:gd name="connsiteX0" fmla="*/ 3732460 w 3732460"/>
                <a:gd name="connsiteY0" fmla="*/ 0 h 257442"/>
                <a:gd name="connsiteX1" fmla="*/ 3509423 w 3732460"/>
                <a:gd name="connsiteY1" fmla="*/ 257442 h 257442"/>
                <a:gd name="connsiteX2" fmla="*/ 0 w 3732460"/>
                <a:gd name="connsiteY2" fmla="*/ 257442 h 257442"/>
                <a:gd name="connsiteX3" fmla="*/ 0 w 3732460"/>
                <a:gd name="connsiteY3" fmla="*/ 0 h 257442"/>
                <a:gd name="connsiteX0" fmla="*/ 3732460 w 3732460"/>
                <a:gd name="connsiteY0" fmla="*/ 0 h 257442"/>
                <a:gd name="connsiteX1" fmla="*/ 3677738 w 3732460"/>
                <a:gd name="connsiteY1" fmla="*/ 257442 h 257442"/>
                <a:gd name="connsiteX2" fmla="*/ 0 w 3732460"/>
                <a:gd name="connsiteY2" fmla="*/ 257442 h 257442"/>
                <a:gd name="connsiteX3" fmla="*/ 0 w 3732460"/>
                <a:gd name="connsiteY3" fmla="*/ 0 h 257442"/>
                <a:gd name="connsiteX0" fmla="*/ 3732461 w 3732461"/>
                <a:gd name="connsiteY0" fmla="*/ 0 h 257442"/>
                <a:gd name="connsiteX1" fmla="*/ 3677739 w 3732461"/>
                <a:gd name="connsiteY1" fmla="*/ 257442 h 257442"/>
                <a:gd name="connsiteX2" fmla="*/ 0 w 3732461"/>
                <a:gd name="connsiteY2" fmla="*/ 257442 h 257442"/>
                <a:gd name="connsiteX3" fmla="*/ 1 w 3732461"/>
                <a:gd name="connsiteY3" fmla="*/ 0 h 257442"/>
                <a:gd name="connsiteX0" fmla="*/ 3732461 w 3732461"/>
                <a:gd name="connsiteY0" fmla="*/ 0 h 257442"/>
                <a:gd name="connsiteX1" fmla="*/ 3677739 w 3732461"/>
                <a:gd name="connsiteY1" fmla="*/ 257442 h 257442"/>
                <a:gd name="connsiteX2" fmla="*/ 0 w 3732461"/>
                <a:gd name="connsiteY2" fmla="*/ 257442 h 257442"/>
                <a:gd name="connsiteX3" fmla="*/ 1 w 3732461"/>
                <a:gd name="connsiteY3" fmla="*/ 0 h 257442"/>
                <a:gd name="connsiteX0" fmla="*/ 3873332 w 3873332"/>
                <a:gd name="connsiteY0" fmla="*/ 0 h 257442"/>
                <a:gd name="connsiteX1" fmla="*/ 3677739 w 3873332"/>
                <a:gd name="connsiteY1" fmla="*/ 257442 h 257442"/>
                <a:gd name="connsiteX2" fmla="*/ 0 w 3873332"/>
                <a:gd name="connsiteY2" fmla="*/ 257442 h 257442"/>
                <a:gd name="connsiteX3" fmla="*/ 1 w 3873332"/>
                <a:gd name="connsiteY3" fmla="*/ 0 h 257442"/>
                <a:gd name="connsiteX0" fmla="*/ 3873332 w 3873332"/>
                <a:gd name="connsiteY0" fmla="*/ 0 h 257442"/>
                <a:gd name="connsiteX1" fmla="*/ 3818610 w 3873332"/>
                <a:gd name="connsiteY1" fmla="*/ 257442 h 257442"/>
                <a:gd name="connsiteX2" fmla="*/ 0 w 3873332"/>
                <a:gd name="connsiteY2" fmla="*/ 257442 h 257442"/>
                <a:gd name="connsiteX3" fmla="*/ 1 w 3873332"/>
                <a:gd name="connsiteY3" fmla="*/ 0 h 257442"/>
                <a:gd name="connsiteX0" fmla="*/ 3873332 w 3873332"/>
                <a:gd name="connsiteY0" fmla="*/ 0 h 257442"/>
                <a:gd name="connsiteX1" fmla="*/ 3818610 w 3873332"/>
                <a:gd name="connsiteY1" fmla="*/ 257442 h 257442"/>
                <a:gd name="connsiteX2" fmla="*/ 0 w 3873332"/>
                <a:gd name="connsiteY2" fmla="*/ 257442 h 257442"/>
                <a:gd name="connsiteX3" fmla="*/ 1 w 3873332"/>
                <a:gd name="connsiteY3" fmla="*/ 0 h 257442"/>
                <a:gd name="connsiteX0" fmla="*/ 3873332 w 3873332"/>
                <a:gd name="connsiteY0" fmla="*/ 0 h 257442"/>
                <a:gd name="connsiteX1" fmla="*/ 3818610 w 3873332"/>
                <a:gd name="connsiteY1" fmla="*/ 257442 h 257442"/>
                <a:gd name="connsiteX2" fmla="*/ 0 w 3873332"/>
                <a:gd name="connsiteY2" fmla="*/ 257442 h 257442"/>
                <a:gd name="connsiteX3" fmla="*/ 0 w 3873332"/>
                <a:gd name="connsiteY3" fmla="*/ 0 h 257442"/>
                <a:gd name="connsiteX0" fmla="*/ 3985735 w 3985735"/>
                <a:gd name="connsiteY0" fmla="*/ 0 h 257442"/>
                <a:gd name="connsiteX1" fmla="*/ 3818610 w 3985735"/>
                <a:gd name="connsiteY1" fmla="*/ 257442 h 257442"/>
                <a:gd name="connsiteX2" fmla="*/ 0 w 3985735"/>
                <a:gd name="connsiteY2" fmla="*/ 257442 h 257442"/>
                <a:gd name="connsiteX3" fmla="*/ 0 w 3985735"/>
                <a:gd name="connsiteY3" fmla="*/ 0 h 257442"/>
                <a:gd name="connsiteX0" fmla="*/ 3985735 w 3985735"/>
                <a:gd name="connsiteY0" fmla="*/ 0 h 257442"/>
                <a:gd name="connsiteX1" fmla="*/ 3931014 w 3985735"/>
                <a:gd name="connsiteY1" fmla="*/ 257442 h 257442"/>
                <a:gd name="connsiteX2" fmla="*/ 0 w 3985735"/>
                <a:gd name="connsiteY2" fmla="*/ 257442 h 257442"/>
                <a:gd name="connsiteX3" fmla="*/ 0 w 3985735"/>
                <a:gd name="connsiteY3" fmla="*/ 0 h 257442"/>
                <a:gd name="connsiteX0" fmla="*/ 3985735 w 3985735"/>
                <a:gd name="connsiteY0" fmla="*/ 0 h 257442"/>
                <a:gd name="connsiteX1" fmla="*/ 3931014 w 3985735"/>
                <a:gd name="connsiteY1" fmla="*/ 257442 h 257442"/>
                <a:gd name="connsiteX2" fmla="*/ 0 w 3985735"/>
                <a:gd name="connsiteY2" fmla="*/ 257442 h 257442"/>
                <a:gd name="connsiteX3" fmla="*/ 0 w 3985735"/>
                <a:gd name="connsiteY3" fmla="*/ 0 h 257442"/>
                <a:gd name="connsiteX0" fmla="*/ 3985735 w 3985735"/>
                <a:gd name="connsiteY0" fmla="*/ 0 h 257442"/>
                <a:gd name="connsiteX1" fmla="*/ 3931014 w 3985735"/>
                <a:gd name="connsiteY1" fmla="*/ 257442 h 257442"/>
                <a:gd name="connsiteX2" fmla="*/ 0 w 3985735"/>
                <a:gd name="connsiteY2" fmla="*/ 257442 h 257442"/>
                <a:gd name="connsiteX3" fmla="*/ 0 w 3985735"/>
                <a:gd name="connsiteY3" fmla="*/ 0 h 257442"/>
                <a:gd name="connsiteX0" fmla="*/ 4171683 w 4171683"/>
                <a:gd name="connsiteY0" fmla="*/ 0 h 257442"/>
                <a:gd name="connsiteX1" fmla="*/ 3931014 w 4171683"/>
                <a:gd name="connsiteY1" fmla="*/ 257442 h 257442"/>
                <a:gd name="connsiteX2" fmla="*/ 0 w 4171683"/>
                <a:gd name="connsiteY2" fmla="*/ 257442 h 257442"/>
                <a:gd name="connsiteX3" fmla="*/ 0 w 4171683"/>
                <a:gd name="connsiteY3" fmla="*/ 0 h 257442"/>
                <a:gd name="connsiteX0" fmla="*/ 4171683 w 4171683"/>
                <a:gd name="connsiteY0" fmla="*/ 0 h 257442"/>
                <a:gd name="connsiteX1" fmla="*/ 4116962 w 4171683"/>
                <a:gd name="connsiteY1" fmla="*/ 257442 h 257442"/>
                <a:gd name="connsiteX2" fmla="*/ 0 w 4171683"/>
                <a:gd name="connsiteY2" fmla="*/ 257442 h 257442"/>
                <a:gd name="connsiteX3" fmla="*/ 0 w 4171683"/>
                <a:gd name="connsiteY3" fmla="*/ 0 h 257442"/>
                <a:gd name="connsiteX0" fmla="*/ 4171683 w 4171683"/>
                <a:gd name="connsiteY0" fmla="*/ 0 h 257442"/>
                <a:gd name="connsiteX1" fmla="*/ 4116962 w 4171683"/>
                <a:gd name="connsiteY1" fmla="*/ 257442 h 257442"/>
                <a:gd name="connsiteX2" fmla="*/ 0 w 4171683"/>
                <a:gd name="connsiteY2" fmla="*/ 257442 h 257442"/>
                <a:gd name="connsiteX3" fmla="*/ 0 w 4171683"/>
                <a:gd name="connsiteY3" fmla="*/ 0 h 257442"/>
                <a:gd name="connsiteX0" fmla="*/ 4171683 w 4171683"/>
                <a:gd name="connsiteY0" fmla="*/ 0 h 257442"/>
                <a:gd name="connsiteX1" fmla="*/ 4116962 w 4171683"/>
                <a:gd name="connsiteY1" fmla="*/ 257442 h 257442"/>
                <a:gd name="connsiteX2" fmla="*/ 0 w 4171683"/>
                <a:gd name="connsiteY2" fmla="*/ 257442 h 257442"/>
                <a:gd name="connsiteX3" fmla="*/ 0 w 4171683"/>
                <a:gd name="connsiteY3" fmla="*/ 0 h 257442"/>
                <a:gd name="connsiteX0" fmla="*/ 4331983 w 4331983"/>
                <a:gd name="connsiteY0" fmla="*/ 0 h 257442"/>
                <a:gd name="connsiteX1" fmla="*/ 4116962 w 4331983"/>
                <a:gd name="connsiteY1" fmla="*/ 257442 h 257442"/>
                <a:gd name="connsiteX2" fmla="*/ 0 w 4331983"/>
                <a:gd name="connsiteY2" fmla="*/ 257442 h 257442"/>
                <a:gd name="connsiteX3" fmla="*/ 0 w 4331983"/>
                <a:gd name="connsiteY3" fmla="*/ 0 h 257442"/>
                <a:gd name="connsiteX0" fmla="*/ 4331983 w 4331983"/>
                <a:gd name="connsiteY0" fmla="*/ 0 h 257442"/>
                <a:gd name="connsiteX1" fmla="*/ 4277262 w 4331983"/>
                <a:gd name="connsiteY1" fmla="*/ 257442 h 257442"/>
                <a:gd name="connsiteX2" fmla="*/ 0 w 4331983"/>
                <a:gd name="connsiteY2" fmla="*/ 257442 h 257442"/>
                <a:gd name="connsiteX3" fmla="*/ 0 w 4331983"/>
                <a:gd name="connsiteY3" fmla="*/ 0 h 257442"/>
                <a:gd name="connsiteX0" fmla="*/ 4331983 w 4331983"/>
                <a:gd name="connsiteY0" fmla="*/ 0 h 257442"/>
                <a:gd name="connsiteX1" fmla="*/ 4277262 w 4331983"/>
                <a:gd name="connsiteY1" fmla="*/ 257442 h 257442"/>
                <a:gd name="connsiteX2" fmla="*/ 0 w 4331983"/>
                <a:gd name="connsiteY2" fmla="*/ 257442 h 257442"/>
                <a:gd name="connsiteX3" fmla="*/ 0 w 4331983"/>
                <a:gd name="connsiteY3" fmla="*/ 0 h 257442"/>
                <a:gd name="connsiteX0" fmla="*/ 4331983 w 4331983"/>
                <a:gd name="connsiteY0" fmla="*/ 0 h 257442"/>
                <a:gd name="connsiteX1" fmla="*/ 4277262 w 4331983"/>
                <a:gd name="connsiteY1" fmla="*/ 257442 h 257442"/>
                <a:gd name="connsiteX2" fmla="*/ 0 w 4331983"/>
                <a:gd name="connsiteY2" fmla="*/ 257442 h 257442"/>
                <a:gd name="connsiteX3" fmla="*/ 0 w 4331983"/>
                <a:gd name="connsiteY3" fmla="*/ 0 h 257442"/>
                <a:gd name="connsiteX0" fmla="*/ 4500298 w 4500298"/>
                <a:gd name="connsiteY0" fmla="*/ 0 h 257442"/>
                <a:gd name="connsiteX1" fmla="*/ 4277262 w 4500298"/>
                <a:gd name="connsiteY1" fmla="*/ 257442 h 257442"/>
                <a:gd name="connsiteX2" fmla="*/ 0 w 4500298"/>
                <a:gd name="connsiteY2" fmla="*/ 257442 h 257442"/>
                <a:gd name="connsiteX3" fmla="*/ 0 w 4500298"/>
                <a:gd name="connsiteY3" fmla="*/ 0 h 257442"/>
                <a:gd name="connsiteX0" fmla="*/ 4500298 w 4500298"/>
                <a:gd name="connsiteY0" fmla="*/ 0 h 257442"/>
                <a:gd name="connsiteX1" fmla="*/ 4445576 w 4500298"/>
                <a:gd name="connsiteY1" fmla="*/ 257442 h 257442"/>
                <a:gd name="connsiteX2" fmla="*/ 0 w 4500298"/>
                <a:gd name="connsiteY2" fmla="*/ 257442 h 257442"/>
                <a:gd name="connsiteX3" fmla="*/ 0 w 4500298"/>
                <a:gd name="connsiteY3" fmla="*/ 0 h 257442"/>
                <a:gd name="connsiteX0" fmla="*/ 4500299 w 4500299"/>
                <a:gd name="connsiteY0" fmla="*/ 0 h 257442"/>
                <a:gd name="connsiteX1" fmla="*/ 4445577 w 4500299"/>
                <a:gd name="connsiteY1" fmla="*/ 257442 h 257442"/>
                <a:gd name="connsiteX2" fmla="*/ 0 w 4500299"/>
                <a:gd name="connsiteY2" fmla="*/ 257442 h 257442"/>
                <a:gd name="connsiteX3" fmla="*/ 1 w 4500299"/>
                <a:gd name="connsiteY3" fmla="*/ 0 h 257442"/>
                <a:gd name="connsiteX0" fmla="*/ 4500299 w 4500299"/>
                <a:gd name="connsiteY0" fmla="*/ 0 h 257442"/>
                <a:gd name="connsiteX1" fmla="*/ 4445577 w 4500299"/>
                <a:gd name="connsiteY1" fmla="*/ 257442 h 257442"/>
                <a:gd name="connsiteX2" fmla="*/ 0 w 4500299"/>
                <a:gd name="connsiteY2" fmla="*/ 257442 h 257442"/>
                <a:gd name="connsiteX3" fmla="*/ 1 w 4500299"/>
                <a:gd name="connsiteY3" fmla="*/ 0 h 257442"/>
                <a:gd name="connsiteX0" fmla="*/ 4641171 w 4641171"/>
                <a:gd name="connsiteY0" fmla="*/ 0 h 257442"/>
                <a:gd name="connsiteX1" fmla="*/ 4445577 w 4641171"/>
                <a:gd name="connsiteY1" fmla="*/ 257442 h 257442"/>
                <a:gd name="connsiteX2" fmla="*/ 0 w 4641171"/>
                <a:gd name="connsiteY2" fmla="*/ 257442 h 257442"/>
                <a:gd name="connsiteX3" fmla="*/ 1 w 4641171"/>
                <a:gd name="connsiteY3" fmla="*/ 0 h 257442"/>
                <a:gd name="connsiteX0" fmla="*/ 4641171 w 4641171"/>
                <a:gd name="connsiteY0" fmla="*/ 0 h 257442"/>
                <a:gd name="connsiteX1" fmla="*/ 4586450 w 4641171"/>
                <a:gd name="connsiteY1" fmla="*/ 257442 h 257442"/>
                <a:gd name="connsiteX2" fmla="*/ 0 w 4641171"/>
                <a:gd name="connsiteY2" fmla="*/ 257442 h 257442"/>
                <a:gd name="connsiteX3" fmla="*/ 1 w 4641171"/>
                <a:gd name="connsiteY3" fmla="*/ 0 h 257442"/>
                <a:gd name="connsiteX0" fmla="*/ 4641170 w 4641170"/>
                <a:gd name="connsiteY0" fmla="*/ 0 h 257442"/>
                <a:gd name="connsiteX1" fmla="*/ 4586449 w 4641170"/>
                <a:gd name="connsiteY1" fmla="*/ 257442 h 257442"/>
                <a:gd name="connsiteX2" fmla="*/ 0 w 4641170"/>
                <a:gd name="connsiteY2" fmla="*/ 257442 h 257442"/>
                <a:gd name="connsiteX3" fmla="*/ 0 w 4641170"/>
                <a:gd name="connsiteY3" fmla="*/ 0 h 257442"/>
                <a:gd name="connsiteX0" fmla="*/ 4641171 w 4641171"/>
                <a:gd name="connsiteY0" fmla="*/ 0 h 257442"/>
                <a:gd name="connsiteX1" fmla="*/ 4586450 w 4641171"/>
                <a:gd name="connsiteY1" fmla="*/ 257442 h 257442"/>
                <a:gd name="connsiteX2" fmla="*/ 1 w 4641171"/>
                <a:gd name="connsiteY2" fmla="*/ 257442 h 257442"/>
                <a:gd name="connsiteX3" fmla="*/ 0 w 4641171"/>
                <a:gd name="connsiteY3" fmla="*/ 0 h 257442"/>
                <a:gd name="connsiteX0" fmla="*/ 3631471 w 4586450"/>
                <a:gd name="connsiteY0" fmla="*/ 0 h 257442"/>
                <a:gd name="connsiteX1" fmla="*/ 4586450 w 4586450"/>
                <a:gd name="connsiteY1" fmla="*/ 257442 h 257442"/>
                <a:gd name="connsiteX2" fmla="*/ 1 w 4586450"/>
                <a:gd name="connsiteY2" fmla="*/ 257442 h 257442"/>
                <a:gd name="connsiteX3" fmla="*/ 0 w 4586450"/>
                <a:gd name="connsiteY3" fmla="*/ 0 h 257442"/>
                <a:gd name="connsiteX0" fmla="*/ 3631471 w 3631471"/>
                <a:gd name="connsiteY0" fmla="*/ 0 h 257442"/>
                <a:gd name="connsiteX1" fmla="*/ 3576750 w 3631471"/>
                <a:gd name="connsiteY1" fmla="*/ 257442 h 257442"/>
                <a:gd name="connsiteX2" fmla="*/ 1 w 3631471"/>
                <a:gd name="connsiteY2" fmla="*/ 257442 h 257442"/>
                <a:gd name="connsiteX3" fmla="*/ 0 w 3631471"/>
                <a:gd name="connsiteY3" fmla="*/ 0 h 257442"/>
                <a:gd name="connsiteX0" fmla="*/ 3631471 w 3631471"/>
                <a:gd name="connsiteY0" fmla="*/ 0 h 257442"/>
                <a:gd name="connsiteX1" fmla="*/ 3576750 w 3631471"/>
                <a:gd name="connsiteY1" fmla="*/ 257442 h 257442"/>
                <a:gd name="connsiteX2" fmla="*/ 2 w 3631471"/>
                <a:gd name="connsiteY2" fmla="*/ 257442 h 257442"/>
                <a:gd name="connsiteX3" fmla="*/ 0 w 3631471"/>
                <a:gd name="connsiteY3" fmla="*/ 0 h 257442"/>
                <a:gd name="connsiteX0" fmla="*/ 3631469 w 3631469"/>
                <a:gd name="connsiteY0" fmla="*/ 0 h 257442"/>
                <a:gd name="connsiteX1" fmla="*/ 3576748 w 3631469"/>
                <a:gd name="connsiteY1" fmla="*/ 257442 h 257442"/>
                <a:gd name="connsiteX2" fmla="*/ 0 w 3631469"/>
                <a:gd name="connsiteY2" fmla="*/ 257442 h 257442"/>
                <a:gd name="connsiteX3" fmla="*/ 0 w 363146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1469" h="257442">
                  <a:moveTo>
                    <a:pt x="3631469" y="0"/>
                  </a:moveTo>
                  <a:lnTo>
                    <a:pt x="3576748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29" name="btfpRunningAgenda2LevelTextLeft937352"/>
            <p:cNvSpPr txBox="1"/>
            <p:nvPr/>
          </p:nvSpPr>
          <p:spPr bwMode="gray">
            <a:xfrm>
              <a:off x="0" y="876300"/>
              <a:ext cx="357674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ustomer Sentiment</a:t>
              </a:r>
            </a:p>
          </p:txBody>
        </p:sp>
      </p:grpSp>
      <p:sp>
        <p:nvSpPr>
          <p:cNvPr id="6" name="TextBox 5"/>
          <p:cNvSpPr txBox="1"/>
          <p:nvPr/>
        </p:nvSpPr>
        <p:spPr bwMode="gray">
          <a:xfrm>
            <a:off x="2016173" y="5124618"/>
            <a:ext cx="797858" cy="257369"/>
          </a:xfrm>
          <a:prstGeom prst="rect">
            <a:avLst/>
          </a:prstGeom>
          <a:solidFill>
            <a:srgbClr val="C00000"/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marL="0" indent="0" algn="ctr">
              <a:buNone/>
            </a:pPr>
            <a:r>
              <a:rPr lang="en-US" sz="1200" b="1">
                <a:solidFill>
                  <a:schemeClr val="bg1"/>
                </a:solidFill>
              </a:rPr>
              <a:t>Client co</a:t>
            </a:r>
          </a:p>
        </p:txBody>
      </p:sp>
      <p:grpSp>
        <p:nvGrpSpPr>
          <p:cNvPr id="10" name="btfpStatusSticker493588">
            <a:extLst>
              <a:ext uri="{FF2B5EF4-FFF2-40B4-BE49-F238E27FC236}">
                <a16:creationId xmlns:a16="http://schemas.microsoft.com/office/drawing/2014/main" id="{C5316914-2812-47C5-9936-6018448E262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947956" y="955344"/>
            <a:ext cx="1761444" cy="235611"/>
            <a:chOff x="-1630959" y="876300"/>
            <a:chExt cx="1761444" cy="235611"/>
          </a:xfrm>
        </p:grpSpPr>
        <p:sp>
          <p:nvSpPr>
            <p:cNvPr id="8" name="btfpStatusStickerText493588">
              <a:extLst>
                <a:ext uri="{FF2B5EF4-FFF2-40B4-BE49-F238E27FC236}">
                  <a16:creationId xmlns:a16="http://schemas.microsoft.com/office/drawing/2014/main" id="{FBA05EDA-CEF1-4152-AE81-C89C004E10CC}"/>
                </a:ext>
              </a:extLst>
            </p:cNvPr>
            <p:cNvSpPr txBox="1"/>
            <p:nvPr/>
          </p:nvSpPr>
          <p:spPr bwMode="gray">
            <a:xfrm>
              <a:off x="-1630959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Preliminary</a:t>
              </a:r>
            </a:p>
          </p:txBody>
        </p:sp>
        <p:cxnSp>
          <p:nvCxnSpPr>
            <p:cNvPr id="9" name="btfpStatusStickerLine493588">
              <a:extLst>
                <a:ext uri="{FF2B5EF4-FFF2-40B4-BE49-F238E27FC236}">
                  <a16:creationId xmlns:a16="http://schemas.microsoft.com/office/drawing/2014/main" id="{54F2988C-627C-4F45-BEAD-0D172C38247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630959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/>
        </p:nvSpPr>
        <p:spPr bwMode="gray">
          <a:xfrm>
            <a:off x="3820560" y="5124618"/>
            <a:ext cx="797858" cy="257369"/>
          </a:xfrm>
          <a:prstGeom prst="rect">
            <a:avLst/>
          </a:prstGeom>
          <a:solidFill>
            <a:srgbClr val="7891AA"/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marL="0" indent="0" algn="ctr">
              <a:buNone/>
            </a:pPr>
            <a:r>
              <a:rPr lang="en-US" sz="1200" b="1">
                <a:solidFill>
                  <a:srgbClr val="FFFFFF"/>
                </a:solidFill>
              </a:rPr>
              <a:t>Peer 1</a:t>
            </a:r>
          </a:p>
        </p:txBody>
      </p:sp>
      <p:sp>
        <p:nvSpPr>
          <p:cNvPr id="37" name="TextBox 36"/>
          <p:cNvSpPr txBox="1"/>
          <p:nvPr/>
        </p:nvSpPr>
        <p:spPr bwMode="gray">
          <a:xfrm>
            <a:off x="5624947" y="5124618"/>
            <a:ext cx="797858" cy="257369"/>
          </a:xfrm>
          <a:prstGeom prst="rect">
            <a:avLst/>
          </a:prstGeom>
          <a:solidFill>
            <a:srgbClr val="7891AA"/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marL="0" indent="0" algn="ctr">
              <a:buNone/>
            </a:pPr>
            <a:r>
              <a:rPr lang="en-US" sz="1200" b="1">
                <a:solidFill>
                  <a:srgbClr val="FFFFFF"/>
                </a:solidFill>
              </a:rPr>
              <a:t>Peer 2</a:t>
            </a:r>
          </a:p>
        </p:txBody>
      </p:sp>
      <p:sp>
        <p:nvSpPr>
          <p:cNvPr id="39" name="TextBox 38"/>
          <p:cNvSpPr txBox="1"/>
          <p:nvPr/>
        </p:nvSpPr>
        <p:spPr bwMode="gray">
          <a:xfrm>
            <a:off x="7429334" y="5124618"/>
            <a:ext cx="797858" cy="257369"/>
          </a:xfrm>
          <a:prstGeom prst="rect">
            <a:avLst/>
          </a:prstGeom>
          <a:solidFill>
            <a:srgbClr val="7891AA"/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marL="0" indent="0" algn="ctr">
              <a:buNone/>
            </a:pPr>
            <a:r>
              <a:rPr lang="en-US" sz="1200" b="1">
                <a:solidFill>
                  <a:srgbClr val="FFFFFF"/>
                </a:solidFill>
              </a:rPr>
              <a:t>Peer 3</a:t>
            </a:r>
          </a:p>
        </p:txBody>
      </p:sp>
      <p:sp>
        <p:nvSpPr>
          <p:cNvPr id="40" name="TextBox 39"/>
          <p:cNvSpPr txBox="1"/>
          <p:nvPr/>
        </p:nvSpPr>
        <p:spPr bwMode="gray">
          <a:xfrm>
            <a:off x="9233721" y="5124618"/>
            <a:ext cx="797858" cy="257369"/>
          </a:xfrm>
          <a:prstGeom prst="rect">
            <a:avLst/>
          </a:prstGeom>
          <a:solidFill>
            <a:srgbClr val="7891AA"/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marL="0" indent="0" algn="ctr">
              <a:buNone/>
            </a:pPr>
            <a:r>
              <a:rPr lang="en-US" sz="1200" b="1">
                <a:solidFill>
                  <a:srgbClr val="FFFFFF"/>
                </a:solidFill>
              </a:rPr>
              <a:t>Peer 4</a:t>
            </a:r>
          </a:p>
        </p:txBody>
      </p:sp>
      <p:sp>
        <p:nvSpPr>
          <p:cNvPr id="32" name="CommentBox">
            <a:extLst>
              <a:ext uri="{FF2B5EF4-FFF2-40B4-BE49-F238E27FC236}">
                <a16:creationId xmlns:a16="http://schemas.microsoft.com/office/drawing/2014/main" id="{A0836526-81EF-4B9B-B38C-3B5CD3C03F38}"/>
              </a:ext>
            </a:extLst>
          </p:cNvPr>
          <p:cNvSpPr/>
          <p:nvPr/>
        </p:nvSpPr>
        <p:spPr bwMode="gray">
          <a:xfrm>
            <a:off x="9118161" y="893031"/>
            <a:ext cx="2771886" cy="308840"/>
          </a:xfrm>
          <a:prstGeom prst="wedgeRoundRectCallout">
            <a:avLst>
              <a:gd name="adj1" fmla="val -40000"/>
              <a:gd name="adj2" fmla="val 40000"/>
              <a:gd name="adj3" fmla="val 16667"/>
            </a:avLst>
          </a:prstGeom>
          <a:solidFill>
            <a:srgbClr val="640A40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>
                <a:solidFill>
                  <a:srgbClr val="FFFFFF"/>
                </a:solidFill>
                <a:latin typeface="Verdana" panose="020B0604030504040204" pitchFamily="34" charset="0"/>
              </a:rPr>
              <a:t>BCN: Requires Ratings scrape</a:t>
            </a:r>
          </a:p>
        </p:txBody>
      </p:sp>
      <p:sp>
        <p:nvSpPr>
          <p:cNvPr id="21" name="CommentBox">
            <a:extLst>
              <a:ext uri="{FF2B5EF4-FFF2-40B4-BE49-F238E27FC236}">
                <a16:creationId xmlns:a16="http://schemas.microsoft.com/office/drawing/2014/main" id="{E33B3846-6A18-48D9-BF4A-C6ABD6DB3837}"/>
              </a:ext>
            </a:extLst>
          </p:cNvPr>
          <p:cNvSpPr/>
          <p:nvPr/>
        </p:nvSpPr>
        <p:spPr bwMode="gray">
          <a:xfrm>
            <a:off x="8520289" y="1242227"/>
            <a:ext cx="3417901" cy="725400"/>
          </a:xfrm>
          <a:prstGeom prst="wedgeRoundRectCallout">
            <a:avLst>
              <a:gd name="adj1" fmla="val -40000"/>
              <a:gd name="adj2" fmla="val 40000"/>
              <a:gd name="adj3" fmla="val 16667"/>
            </a:avLst>
          </a:prstGeom>
          <a:solidFill>
            <a:srgbClr val="EED6E5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 dirty="0">
                <a:solidFill>
                  <a:srgbClr val="000000"/>
                </a:solidFill>
                <a:latin typeface="Verdana" panose="020B0604030504040204" pitchFamily="34" charset="0"/>
              </a:rPr>
              <a:t>Can add an additional page visualizing 100% stacked bar of SKUs and distribution by average rat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399524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btfpColumnIndicatorGroup2">
            <a:extLst>
              <a:ext uri="{FF2B5EF4-FFF2-40B4-BE49-F238E27FC236}">
                <a16:creationId xmlns:a16="http://schemas.microsoft.com/office/drawing/2014/main" id="{D3B82739-5DE6-4DF9-B119-0A6DAA13233E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5" name="btfpColumnGapBlocker952539">
              <a:extLst>
                <a:ext uri="{FF2B5EF4-FFF2-40B4-BE49-F238E27FC236}">
                  <a16:creationId xmlns:a16="http://schemas.microsoft.com/office/drawing/2014/main" id="{B90AE8ED-0695-4A36-BA97-3509D415D34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3" name="btfpColumnGapBlocker120312">
              <a:extLst>
                <a:ext uri="{FF2B5EF4-FFF2-40B4-BE49-F238E27FC236}">
                  <a16:creationId xmlns:a16="http://schemas.microsoft.com/office/drawing/2014/main" id="{60DE18D5-8F72-4A7E-928B-66FA3BD8A484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887184">
              <a:extLst>
                <a:ext uri="{FF2B5EF4-FFF2-40B4-BE49-F238E27FC236}">
                  <a16:creationId xmlns:a16="http://schemas.microsoft.com/office/drawing/2014/main" id="{3E67C7D9-341A-4A28-B55F-41E008203F4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899548">
              <a:extLst>
                <a:ext uri="{FF2B5EF4-FFF2-40B4-BE49-F238E27FC236}">
                  <a16:creationId xmlns:a16="http://schemas.microsoft.com/office/drawing/2014/main" id="{2C49C068-9312-4E8C-A490-07819385116F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btfpColumnIndicatorGroup1">
            <a:extLst>
              <a:ext uri="{FF2B5EF4-FFF2-40B4-BE49-F238E27FC236}">
                <a16:creationId xmlns:a16="http://schemas.microsoft.com/office/drawing/2014/main" id="{DEC823D0-7DF7-4361-A3D9-4026721E9747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4" name="btfpColumnGapBlocker113177">
              <a:extLst>
                <a:ext uri="{FF2B5EF4-FFF2-40B4-BE49-F238E27FC236}">
                  <a16:creationId xmlns:a16="http://schemas.microsoft.com/office/drawing/2014/main" id="{D697CD05-CBB1-4C35-AD2E-34599090B802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2" name="btfpColumnGapBlocker808220">
              <a:extLst>
                <a:ext uri="{FF2B5EF4-FFF2-40B4-BE49-F238E27FC236}">
                  <a16:creationId xmlns:a16="http://schemas.microsoft.com/office/drawing/2014/main" id="{599BDAF1-B882-4F73-AA30-0ADB9A4B7E3F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" name="btfpColumnIndicator706562">
              <a:extLst>
                <a:ext uri="{FF2B5EF4-FFF2-40B4-BE49-F238E27FC236}">
                  <a16:creationId xmlns:a16="http://schemas.microsoft.com/office/drawing/2014/main" id="{3B1DD74A-8CF0-4C7E-B8D9-46A93BAA8ACD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338034">
              <a:extLst>
                <a:ext uri="{FF2B5EF4-FFF2-40B4-BE49-F238E27FC236}">
                  <a16:creationId xmlns:a16="http://schemas.microsoft.com/office/drawing/2014/main" id="{A4A0C16B-0069-4EAB-B0A6-9F0A5D8F8EC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178775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1740343800496045 columns_1_131740338235471353 4_1_131740338233941017 10_1_131740343841913156 13_1_131740360328632855 12_1_132574367459510106 26_1_132574367514021497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/>
          <a:lstStyle/>
          <a:p>
            <a:r>
              <a:rPr lang="en-GB" b="1" dirty="0"/>
              <a:t>Customer sentiment/ KPCs: </a:t>
            </a:r>
            <a:r>
              <a:rPr lang="en-US" dirty="0"/>
              <a:t>Feature 1 is most important driver of customer sentiment, followed by </a:t>
            </a:r>
            <a:r>
              <a:rPr lang="en-US" dirty="0" err="1"/>
              <a:t>xyz</a:t>
            </a:r>
            <a:r>
              <a:rPr lang="en-US" dirty="0"/>
              <a:t>; Target well positioned on … </a:t>
            </a:r>
            <a:endParaRPr lang="en-US" b="1" dirty="0"/>
          </a:p>
        </p:txBody>
      </p:sp>
      <p:sp>
        <p:nvSpPr>
          <p:cNvPr id="5" name="Rectangle 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9WzVfHy8CnMUuNyY3ZV47w6JnDxChUXkSde5dDjRBeBQsqWKwIgOWhPHzPv+glRxR8YSEKFLmzUmM9huQYpHh6a+aIsmOYCzQRPmicuoltloYW4OrUhQwDcWcKVc695RqhMGgxIJfWm66V0gm/P2CBGmz3lIaH8d7u0NHspWs8eE3bBi5ZAcQQHBnjLCRjIQZAgky9AmQl1VN/YbTX1fGA2q4vpDh+4Ui8Ov/OdeGF3Vc8hZAcj0omseVNq7WA4vnHGZIMnr/dD2pJCo2hljKi19l17HguImYtYEFU8YpkVpl7eCHhhMSKeJwT2JxagubWksIEbDYSx8kOdjzdI9w6vaAupQeGQ4v089tKPTtxChNu6wGSdbzgOMxdTtPuDavDywMLJzX+TeozF6yVCz+b8/QLsqXYik5f/d6GN21jbO2g4BX3n3dJOOnL+2vZ+zMBb/qdcEibdNnf7vz+2EBJGvx/lQMaRri6fsofyyFg3x0fTr7YXp1VHJHiQ/CrxfhtUjh3WbcRMnejMy1i0aHY++Xlf+Nyi6Quksdq14lr2fiVCkjJnkcKy4Q8BFhVay11scr0z3LepzjVJaT/Ia3fMWm+PaN0ibWvMR8kjEUHolfKIYPq7wCioRbIBrxq3OBnXK2X/GZ7f5hqhRrQfg2SHcW5PqboX19aP7emKXjQI1rGJY/8hXuk9ZozRYPmgm7Cw0Nmf5wuYknIclH7X4HXhhywlHyTlc3ANr9Fl9smMEc9/ToVMSeGt1aLk8nkC29+TRzNGh7WS22IUHPn2JYm+F6VZaqcpMi18TiDc7OUkVXJjWYY2MOBen6xC1J4GHXrL6wq3ikIjvmYV35hAjb5unDAQE+n6k34cCwJJD/VmiWQstPXYkv57ii/xV9n7IQyp5TAL01KLyb0uMvR8EI2G0uejODjiaZiFE/1EODmffbqHIYrHZXRkqBvkwcK/4fWm/iqHJ4weMLA55cOYtYQIIiFtii5ArhuqQcBu16w5a8Ig+7Fy57pnrbvjeM/wLCCpXsoG7X/uEr2156wG8W5mIvn76tTAR4xPyHSuWCJf3PoojEf9avq/bsMZfECJmTy4/u6xdduJiMfBaUYjpP2US4ZYncme8MMwxO7HKo5csGBFiAuFJQV7KdWWm07A0n9VyxzDHPJd8VQd468CMdXtfjw1WIjirb4P4J7rDQ7JzVuOygk8uTWYcE+0wXV6VVShju4rW1u7oRL2fguC/+05yGsqvge08OQr93hc5Y07ldjxUFSjquH3c/xausns0pDpvqy6zpg8Ru/t+fU5o6eoE07Lv4Q2Npht3bs6ZE/qVvRveaPhwqQ63i0BtzfvJadANddw4caQ3xP8fEFTbfOPhU2DEFUqgqN2P/dvE0A8PX7u4sjexXSOcUjFJ+RXalP+RRfo2YtipnYN+TvPCm3mCOUcHgyVmvtgXo1OJNcU2lpFYvpokRQx2uGm/ZGZdwHzvROq/BeJLjvr2erJ09wGBg+xETFZTK9tn3jVrfe+uRStJUCD5drRrpv8uQgMykj1UlnQ4cHmMYZpMmfj/S8Wx8CuTjGwnU04pbJ9w2F6MBHWsPxUv344GvHi58WAN6vDDKzFiI9ort6P8M+8D3572Aqaxxv2moJ5gUKYwSET4NmkYeWQykjPrfh+pI5nKe7M+ihLevNwfWSxYQAVvdfS0z0u2zhKAHwo8pi+XbdX6Bh8nj3rGFdr2CIEw5QoZpEYwx3Jgx9OqdwuncLpB7ObLKOBtwIykmAETxhOduXamh3MNA4tqk+RMelGWTntOqzvLIVaE1DqdR8/j26oaWDCAeLT0JoGqn4rZ9pnYMyzsZFWVRynyApUsdxNUK3kPqyDprzHB/w42YlU11x1SYUfBiS+Ri4nd49dNTXVGK4T5IqBpELPak5ueNLowGujKtlKCCvILgiCdDWMKlBRfjtgXVmaYpoIVgJxCtJwyH/k/T3af5NGvLonEOBpwgDotNZ79G/kdO5xGU6uKrJHFQ+Dp/lqbB9AMuOCNLEckqav/n4sybMuaUwdcJj0Foz4Xz5xqVLRh/27gapBJw6t9mgdvUKQ/DLoDbPCB6d/sA3mLlh3rcrhWc2nvqWN+lKxrISNVs4Fhzbfm/LjqLO36xVbRsrrn62CvQ3/ynP3ehBrW1oSkRnK6KNeqX/NSLvSSGDzoRX5hlUuW2Y7YOj7oc8U4H3pPMBExp1POWc4bfp4fYHkdD/6RoXxkerY81rDyxpdyzKzl1un5ToEkqYPUDPDArr2uiuqTB3G5eRQlz15xdLsxz7IKP/KnHT6D2CryhJa/vdkfY+b3AA7W3AnB7gXzkcJ4XCl2XAQ3KOk8b/hEMBJwNQhjAGA4Wj4V0WnZ+9DRBDRQtFTOCe3mQEqvQQ/ZWAu6gY2T+zJuglGCOwfenN3cHrpqCGmq5U6s34lJ5mp8szIBIVLLfYQtossbrShq4OZjHa79EFiOsv7XwVH8HKwduxkOEZZeZYJiJ43YcxF80QTU3ajMF6a8eZ33VjvGn3gY0ku1uPTsHJDERx41MvK5eJrt2m056dAVf34tQnGqogvXtlPExs/rWDtipapI/LUiqKpk0vYVKk5RNpm/o0wthH2RK603mwjRdzcFWfgUl+T0lBi/zPF8S2P2Nk+S5d2BteM9tp/1stHEe1G39D99KQLqaD3SRpDOBR1glSMVWgKez+oBm/kuE9i/D+LKfASi/vyt0Hrgirqzzt3ikZtHCODmmV0MHvBV/g5NJmVcCJ38WnPhLRXFk6UFXMPnTfMgae1TM4inEAydm63I7Kr94DtT0EEfmqMvyTsbJeXu5tb/Hw4gaSfARuaHI+bZ9PQl0vPP18mcjXsHwWCk0IgywiXxhCJJfv4jUOrVOZ9egbkF9W5dXGVarj7ZNjle6T8yFsjBWIsh/9aUUljFjd3AF2jb0T/Kx5HxWN/mtYWRs5bpSlNhkSx1r9jn88ibpN6UMd0OPJhV1yayxDEgAncLN/z8FyJfLg4Zo1d6AxnlUNhhWYqUDhuIF49jNKOhLdps+ZMRaxtgYRwuUqdFvCQYO6D/VlULsQaNib/DrHGInsnSz2m+ZAMTkmFImt7wEPTmG0WwxLXqOUPdhDtNCG8XRwH3YFRHL9A70aNBhbhWSn5uFB/a9r98Gvmuo03vbY40Vt4hU63vi25UXEzFw8kylQV3/9WvBEdfPZlY90yDUe2viJXNdIpGt4ZNMMAl3cLjm3ZAFS3YwL8xcS0pqsEOsHMeQTZOjy0qUJW+bgEhT3lMLuRn/4hguHKZCsfd6pNVWeRaGP2/L3EAGqvMrbhsILDAiSJFftHoUZURP2Zg1Qr5Whj26ZPgtCgPw0XlSCH3lrfYPy0DFPiYRCfeh1H1wbBXQyeVDvxFVmlheNYSZIm42O0pjUHDUsm9vt7uWiMP7nOGq+xggQbBp8UizfchC7iD4ktdHFvRFU+IIfMJZ32oxWeOpecH6nHhx/vAVXCDZuZq4ioqqCasnrHbJ82ddYcvO6faIwFJ0VHPVUN+PqJA8A2STJQ/zjQb/F0exbcBK/M/pzZ0ZDla8KV2hm7mCQQq561FM7JOn5skm9fj4+syEGHhsH2lypMMpE97hvI/VeA1VKznMqAtIumwAW+hpdUKpTJ05Ge1XzDvdpEZEJAyHLre7CC6VWYDPvf4PD573r1zQhjvVeuRuqC07pOzs2J/esk7pIC2nUj5Sa7kreojsq50rUaEpLioaqF5JJllzmnz2nKgNtYHaaNvTpHDfTPLDAR0fMUKeUc3+uEtwq0TMeJXBcLXc4Yva+6EGKN8x/Xyeafi2tzID+rptTr1uRZfTkAxv6gAhR+O2sL1Ogdp/GDkkSQXMkoFBnAlUg6AYf+GEN0LuTP9OQpDATCnsBJ9AiV5IHugXCEpW/xKaMFjbLMQCtEksdHt03LFHOXkTcbai6xGQamK6p4UjJo3QLIOS1aegj3NYvQtYBXFNwM1CZfTv2QF3IcGg+0JxuH38bCnXjtJqzctrV5vnb9urvO9aJT869VZbccyc57cOyTmwiYyXWEWLjYpooA0TZVIEUbeO78zEQQOM4/usYzoHfRiB6WcoY052K3O5Cz54b83rNmsoqrJfcliWRFfFmWx5F+jeZI2nw1Nn66lwu6e9zUTgL/lmgkLsBq2Wy9QApzjCVI/rXUCqWJyOIrBXOXPleCV+yXkhB3up7jmTHZJIlt12eaCIN6tTavDpC5Dk5k711TGS+ppHUsbtgrrXK1Pvqs//WvKMQ9dpcj9HMkA897ZnBbG4APV/TFmBRXcLwXtq6V+3ghTfR424zqZgHXaOvMotyRHrVmm518/J8OUeqFULtLI+6PW0U07uuoFwcB/zpRiFh+1yzZEnLAjml2FoYVPGoYG2g6z2ACjkHw9Wwb//FyH5o5HRzMVwccKe9iTmpGo0q7X9CW8t1ZIz676ntx33E/7XQgLI8sK5SJRTyPx9uwkySoHr3isqtSwESL7M2FH2mEburc37Dlg14w/a9AhiMNtMkqxt0Ucv77lpZL3gwyqcp9G1yl8fQKE3htI88s+5MG7au8Y2qxqV36X2RmvV4inOYd+m/HMbLhHZxrKYbun/bsSQ6KllltpOORCVe6NaIN7j5Y8Ln8tfnq/N3zlRbm3JxCve6PJNeWMAtIgtxMxL50Zfe7FrC9bLrM5PKqBdH5SKwHJI4GR+1utngDwqqFn5dcFv8oj6CI4yxbpJTSELE0AKTT3GdJnfIqzFDNQH+k/d+Y+H1ZFWaB6NWUZegq+f8Osg6yyRqzDMU8z3go7+dGUf052rVpACWNS41YYIn+PuvMCAi0l7hPbSL+iseVRJlTWrK9+UbzlnwIPQ73ljSm4C6R346E5WwmrHgluQlm2+yoKSZpvZH7QwZtg7IMDa4aV6n8b9lC6NqWyv5cCT1FaEyksnISvl+TBQPnlv/3fD9SeueR6TWZnpd6r0XhcmuPzPP+EfLlUOTMxm8mvsxX2erOiLHDc8QPnaOzlHLbNMc1s1S/CTIxYOKAzEqgYGRLp1WKG5/ffGZyMXLvs+TtOSExfOZkQ1Dwbzznkdw3t2AEhPvJhFFqp/QgUu2ZHR7NH+yF7TtpMTF10x0wv5cSsJpzNrond+2r1heNWJfOeoL3zAFYWO7nzj52uxte835JqxQct/6dg/ZE2QLi2bag7JvMIQPYU0KZlDpwN15uuGkpfNE054XXUvVCiMQtgt9nGsEA4zN0f6KiQM2VALS/AsyO+SOBMdAacF+iL9Lv+s4Z6EkSV+Eri5jCP1YWaRdhPlzMD3pfr3xGOVKfoFaT7K9AGaKqol8zEfJJzQ+eorN+593S0oG+3zh3YAFMeYkDgU+jvJRbTVZMK8HSor5Bu7N7hQzuPGUmiU1Z/Gs7bb+5o9uEyq/NXB7QP2zFXXvCPFsOTG0P0fg6Sx8xSLfTnsOxLtuoHICdLxQAKw1WOTKqZbVuD5HnrSHwl9YkWOb2HFfH3j7X3XGHoMYnGl3kcIbDuDR1jL6LBwJ+uY6z7XbApkzx3sd9232MHbBRuZjDhTjmxlBAfB4qj3HHukIQbEctn/MRtloj0h+reFdLkkkbzDDc5oDXTTSVg9vhgfBYHhwCckbxZJ6zRoK8VOsbt5RL4fdtFZbb2hrY31gekQc8tVSiibr3fDV9hDSFKyuCtL4O9zhy2INwM3mWo1pOnsTntK2LfYZIvIxO6e1C+jJlJ/ld2ZkAaxRDSXPpDIiBXPKaTVLtwgoPfSPrOkJ32+hQ0xLmdYkQ/gX+jx5kxaWAIdjEpoZrAGkxs0VuaQaLA2L9uCaSQX6QdLpKJxYilkG97tALkbAu4KbNBHOKDqlcaI3hs7iz9kASFaMj6RT3MKaund3QKB0bpNR8vPt1+zQ329CnUmSSrTDy0651RtX4er9W8NmnHr7msaPAYYU3lIrOxmTd4PO/iWc7vodTqR+Y4opUfcV9t+obIDHX0C5VG3bM7Ls+20noMezLn0Vtp8oJxZTRLEYmUmQ5hEqja1K69tSDlCX1YqMVBnfasQLzOoovpSGwpC1zsOBx/GlH+KU74A2LSccycKwSKt85nSBLFkGhATfb4bQOnu5MIGg2zeJe+/lerx6Gu2kAHRXe1I/8JdoFHrI10eh4DE39VSbmyrYySssmspjWjiI7J0nAtc4nrznmfLabaYjqMNvzapLQSkkxpXeUTHFdIU3YT8EJzRY9AnF473LVdA9aBaJULz1q7j5dKhLHDCj6DwqF3bXMKoctVDFrmH8syykBpZoGWocMe/LSr3Tf97uf/y5zIsUsbQKVQ54VXNJ0EPVDbnSiBTN9B4Zw+aTOFHhWdh6Y87BrgjTUayqUPJvuEfIRUeKNZquN50YD5roCFQzFNlwMgi2BHSkmiDFgvQTWpeESnOcRgISeD3gJILJExLOu2MYVex3KT8WdgRK+sgKIqEo7Q10R2qwAHwZinDuzL8P6oFs+pY5iWQkX3Bmv4QXFqRmPHi8j2iXr/HSXanpuHpwmkMQIDZ0iuP6gxlRxMt0o0EV5jcpmMhr3PaPYr/2oxFrI4If4JjXMNVgjgX4do/0BhTITDb9JDkr2aYvmPM9GRUTXRRs73QnFEsRMuiFBZikA1o9bN8MjyiNRwIDnvLy4PIy651M/Xp8hcBxadNBRzKePfr4N0/bDwDKZ6GUq7I5vpsVw8v/MuWTvtK1HID3cUaVF40AtD75czZbbJj0k0IZO+omC87NIexdUEs06BFQtLL8rujkgjralMKu1yOKHjQc89dmJFYauFTEC9kZ6vCGgpmXJnPLNvLA+2Hbf/TlhtLE6OVYwPUkOSxmOs2jDhehqpaDumBaG6du+lwGBNVME3wVSoMhNWwWQCX1uWyY3VkaB0I0TrAatuGBMLVZKUMvQbb6PeB8v1ZUZ+2addWXH0gBP2bJzKQ/T3JxlOHvgMtyLfylou5RgcEezxuS5qW5sEt0AsYp7kMWEKGbH2zRuBnKRIb4K0lH4YaHW1Fdw0o6hRcnXnl5AFjnRMUFpaAZy72FuxCzKxxX4nBynusT1i7dqahBkALM0RGrDdhugKrPVhNj/IKPL3Ld8ccphpWP3bqshC1INfdTEoZI15c1ARobi3r5FKQhCDj1A7xyYG7nv7zl+hP7gcMwqU8tPUBsvicBWh+L3JDP7h3cMzwn7hN2sMSpUOLHHl3xoDK8MKkdOitVaNstLHsl60wPmKN2bbRxxGI7ZY3vrww1voOoH9Xs3aRRPbVFaIHeO2+koGB1mrMaqZVEQWLKE7frs38GlykvFSQ3066/R9QS8LfEXydBXypJEW7ARdL/1XTaxk5UjX8cX1V2HsLMOPk5mLcETSL1f7UJfSqdyvfN5Zyf1zeZURycu0xdGLYNBhhY1VuBlqrhPcY9HFI6oCGqxEfYLZQnToKTJUyLi/ZedQIdLEa2X2QSgJBRvGL4ZfhMKNbMq7x7++SuIsKNuJgxwUXOeyDLRA02rWbDgRKEocj42rxx2JuOE6VvPsaaOj905JuAE142FcauL44zj1BLhMPymQjhEaH8gA0je+hCURp3qj8+zR4rNlL+YmG+nIJGrnPShMwv/bzmY9LymO1M8ibn49Wd+KQTJZ7ZKtHu4328t88ta2ooxXEVPjF7oLssFh0EBt0OkwG6C0SXkZFKXNMHCQ2Fp37aJ+wbBFJ+mpxBQZJTlu51u9VAknokuweH4SrmD8gcID9z+OlEqboygRAZIUkXm8DbXw80be+OO7LSJMYebK/XR5r3tvgSxDc+UnBec7+PF88Tz5ECSQAll3VH0ZeKBo5hb5+ra5fRWwnr2ddbwptqPjt/iWGbwsX18rcIlCz/wuWNBx9P3y4CLGE3bL71Wo6p792FVD4b+SFG9TPTPsTnOEpcvmZCWVHtDdis5PmCE4e0Eje9teoCYOLIAfBq1PtO/F+SoivbQcwCIZo3oGdALhrmVW/CAA/y8V7BTuzzpVvdfBfYEgUHfcQSK96TQpE4Iv6tYm3/OeMDXkcQmZtGeWQMYhftQNOhkcufSIetPHSUY3FROZ4bOj+3OXkpsksQU+1X47gqsB6fwwaY0OauzDCV364KWeyqvFqsEX7sw/W8xnnMLMPkaX1ZN+eUjWLEjejy36jrYAkHnLMiZomgRc7DCzL0D2jH/yP0IVwej760EXH6dKnJ8UVS4p+CH++frjLxbcoMD5hG7OViSMmPfCMrpy5GoG5vPKv0S0vn6L+GM/IN9mzYNJje9NaLiA94QEIaaOKvNsN/1kJXN6NxLwQl0JSbRim9jIcNLcEYsiIsSOTB6/qwHZ+I3T4wyaCTR0xGFH+/9ktjdKtN/vVAq2eFDjwZUS77FBK2wkTeU3Vt3AS6gNmZGCtFZvRPLSy2UOt2py5NsvcQcO6ovDALhXMkiTd5mQiouVfSD+AqvQAP0AtAi18dyV+EeGxRKZ09H0FyNaCkS8xkZI1zbkQhMSMUhu9gy2pVFKuvwNfs5JGedbunxSK6oinNzGLSTGTbMBacrFkDXhsk5ux48q66Lp1PHIVV3XUjk95ZMf1DmtL5XxgNOOITpSG44Vh2bfgimLeQTgHUk/bfr+IwKP2narAoPFQAb+lD+FzR/CA7cIVFvNwbf0d2v8mAnR3ybFC/HOwNEWutL/j7tHV1iHVTVDkIIIk0aA/3vQaFJlonb0wKekmh+Rwzq3keLlvBzdh0vwhfqWPtlmD6FFfDfWnrPcwFMWwMVYYtC0oab7V5EsbfO0YBXOO32zRyuttHeIUgKDJPBsMXOuxv4GJuroyfOctMx7gxkYpWfihgixPV37aDYaxV6VUB55uVo4DhXN6Zgj8V276DEmX+boQTcZ7RSFt0KAq/ZILqnm90HOVJRjgCWseqrbPVxinitvBWXSxWw1DM/F7kPHHzKhX2/DUR8BV3OETY2M6sjhITWI2MRAW7MljcTUnobs02yyVnp1eMp3yAWugO1NciBYQydUn2SwdsMy2zfjfz3vW0eRlVpieq5oYJ65v6sOJN5YcluiZ1B61pGbyYPe35cPen5CdBdrHhsexEDhHC+EktB/I9ZEaHMKOuhM5qLje6azHOOX7jMPjMzX1pQ77D4g9rsDFPs8h/Ridxgp/U/stHGqcWyVzYnxKNDFRQvueTKz2s2YHhhfMqAxTAFgYq/99mGx5/JmVH7P6eZKIvHTcxLRVSGzonfGzWpYFzuXFrC8orczM8e/cbGnl66A629hGoZw7NH5T0HzTyTWY5UU7XT2FRIm4Ycmip8inPFH5dlYvg5/D6lk8qF8tbMQZQlxh4Fx4tLvXaEOd+sBUd7I4ByeUGSs8UCah4719+pSCc3kw3+B3Yh1BMzYZzpXnG0RCPrM8TWj9zZ8++34kGriimI2n6MVbfWgCPHRujf1LGfndHCrVqVQwVKaHxqrs+5VjN0gCdCtA9EuQuBh6Tuzeon6wWRsyv7QtVl0sggijkQMF1MxNI8tCTSVrU/HgY47mH2fxZcn6GB8xua2Wk26VJuoA3SOKu260MEUXyIimE3+X+esN5bVe96KBZYasLIxgSS5aht7my2LSzf/B3lW62G6ZTwGSffper3+iuSSUBahn+te3ubmqcqQ44yClVXvVi7MHqpL4qaWDYlmjRbAu5qNB7ZrNjpOSI/FhTZ7D5p+bx8nabO8hbKmdr+G8FnkpeR1ULcUM+OJcCFFkf5E9mdQhVZXiJUW0pahgTdyIlLeYHhgNpaJhZacjCyDrR18n8VNdBOZ10rqM7iDa3MiTCk++/DY0+hlJaOkDRZsSmHyhKJQHQUtYgLFgX8nLF9BXGaMUvMfrbjn9h+RmJoMPcenRZTMSIc7DLl+B9xKZ4DtDCtCF7i9nKIfz0P3KSzE1XgvndElAndBDxHD+eEipptPSF4Mc6d5l+xpmpxsClPZWa7k5F7zjo0qTD5i3w8GOqZ+BCDfsObd74UQkRJUSU5nsp0tFQif+/oEZDWIGPPgDi7++qccdwpCWd9kebU4MXxppmhopFeIj84NekjQfu15go127sXeeDarwzhvbK4os2l8iwoz8j8+amuuo8ZavDDpHyXDdr2Dmn792OsVwu1/L2eM6yIKXue2aG/Fv8C85Kq4WpOCP2AD4LBS4SwdKGH5beANlNYVPKbDsPNRbiczIdE9QKd1kzMybNvsnOdtc5jurC8aj0zJqPYn7lKXXlEprEn3BJqAkobqD0L6W/UA4gRWIVkvUhgTfy0RqOf4XxBUJe31baVqhm6qqfQlbWq7CWVQZEd2mkEaIrLYDLmWQniTixNJWrkBp+K+1H6kiayxJUm1/Y29KF9kZfckP4DF+ljyljEE3mxbOrJETU/6x/QT3mrrHpGZjiaN+iY6xNBtQADqiEKoCwvBOlADKoS7zlQhWHA2FzflghQ3kjVoSdiVU9CwV6zAHlA2v05xTjXwvu4UhtQNCHA1bhColT9U6C+Z5cEwgKT3Qzz7+KreYU/xRypPAfjlanr81bPhqypkN/iBPSLayi+2R7n2s5h26GGI2CU29lnX6nS85zoQgbQi5Mj9wJH/hFea8k7H8QTs6ABOsRVxSlRSm9FfZFabwwSu5iqSJy+/JILZMwanSbPJ5dbMQkvuo1qh3fjE8RLuTscaarhcYBDeOzRMo5BaZXFBLX4OvbiW9q1oQhK1UN//LeNjq2wCXmGHeQSMzMnT3YtUExs9tigNzNDQDFXk8YE70pWmNcv/4vHa3Xs/qH3lUHit7AzcvAz1qWA7rj4LFePBtJBcgM6C8EeXYCHKygKnkSkvjeJbXI+6ysq+3vXq54OsIWJnOqexQ8qvqphJcGy+wSmH7zBMzLVyC7UxajuoEXBfi7VlHEnmlGg7KMCYckBqSA2vbBhNic5WR6zhHNqoENhFM2IikDDT9dRY1RxHZqHfDPPc063oYK0Z1A6kbWeXHwpJL0Sa/I6k/Pu7aDS37HULuGSETiZbBPhCW1RLX51PKr5o3hB5ae/sJfmkvURy/QvRLN2uCeIWr0Bo4+Chd0CBDCyUmWaKs1/6Z1mCCcy9AAscH5cPz/wuU7TU1IpwMFqmIyulb7SYOFQz2Nan574qZ3iBtw0lmmd/uN5UXYxZ7G5ZA9idSaBe6wM80+cypEPF35zM7Sk9G4iCDnw3xE4XZ8gMCUWXeJ17HtiB9h7pG/++SF9CEWS/Y0LMXvUHKjy1/bOtd5jgH8Nt815Rx21I0xcCbV1nmkTahA9UMb70pbcH02WR717tjHtjsloDxUyfWYYwdHREFvuOFSSjuO4k4jmLZcp8mpeZ7IMjVj50tGW9oYDDKmJDl/pTUSWIe+oJsR8fbkemT8Ohx7xEzj3I3bfn7eHliGhm7VsO8XZy601u6FMxDVkuwdqdZbFeFhPU3f53BCCONRStz3Vm3Jt60oDrOhwkBrIAU3TRakMqV0thi0BruVN/cqVDp4Ktrma2QZfboaFOMuGT/nTWcKMGsdm72KI8rahIt/+MbIV9/Qipbx1DaXrm4fQWRU9GyiDM4JcvuShRf6HK4jbSiO5qx63Y+OlGkcUApeVRYdVMQZzt/JLZBPNHp0aGrHV3aHSgf4WlHc421Tl4b6qtvKOCyPTYnETCEl+XVB2TTW+0108f/RLIpQDjGvmLtQUSY8KhQlHOXLgfxpfAl6bmIUsFgd9HjbKNR48joBZl/G5lEgPBjo3R2ska5143wpvG8F8WugVWQSTd7njVrdeiKQAreiOA+ypFczZlSMdGJYh+kUDRfUmy3J4Jc8mZZIvR6LfFsQLX1l1uAXg4wdNb8SXKGpWmwIkD/d2kBQbZU1/t775dPMU/sc9+GUYpiRZLwQvne3gAc5Cq77z1GR6DqvRlL4r2tTusQwWFVLZ27G4GLN4BXhRce5+NfS5Wrzsv8imgAcK6wrIAXzvTX1dDIOxXsuduCpg4VTD5ec8ltqI0yGYPrnYrwpX0tCMHN5wRln7l6BXVzA8F8B1JgYBX1jf/ogKKrLaWseclMYRxztcJ8Y619yC+6hXorESYVny8gGvLf8B+oGmSSi1c9KgcajDDjtuMs7bQ5mDskwJlkh3owQsB+hJRetRpZJxpoq7R0IamgGX4hINzfsAh20feHrF6DQsdBSaigkAjQGuDf7N4Spr9IrSnYeT1UHsBOmkuoJ6+Clz1JNAJubfW0X6j61IusiWLJ9ehCLSlwBMmw8iefEtnfFKE/RhhNlRomKLkotMNY+EmpJUtm03ZJ48Ko7cA6NoV2xXBs0d2ftDtouo2KPL6U/BVyOlZC5WAraCzQRKXUmMItWU2QbRHXi/3+Uw56HCoM/in4GIhYr+pLQac9rHzeSQ8D9Lf03GJMI9X56v1imbRQY4wK/cJlBoSDkQQoeAsAMY483W6h5WKoCzsI5I7oKn8EybP4I46ef/jTYg/296MgMSAcePWIW46bqWtQC52b2uAIE9n8V31J5xVfYO2dpTYg0OSH8F1waQaMX0jW8T5tz5fXD+CDbsEHCvXrUxDa9yo1KWj6yDAc4G+1+wAAZ1tamfmnzSm9MvlFrSIGm+g9zWOrBs8mz/X30Af8lL562danoy+31RFMP9ONiizf4d7aluP1KtFU5B07X3o5N5GUK/oOniE/7NERsReVRbsX6gnURi19a8r+/ChsiYq3g7OCsYDcfivimfAOpHRBQ0uya5U4B+9G1i1ihyFIW/mhMdM1QkUmv0R1PVAUBsSev6N3DfmW1ucivXZNDpMzyC+au/dXgF8mjrrJth93q9q9Ccum55i+XAyztrrp463NUhE2JXiv291ma6msIlluIbQCoZHtELUclU58tjJa4lbuqpyARbsOGmBsv+IHHxu7IEmncrhYwXC2VDhM6leFtoBf6TidQfxD6A32+t3OMaBSeCSyQG7nXw2H3ln1fhGIJ/7OmrHXxT8NEcKnrKuoPNSqkQiAQtimEFywsGKH0W45IzEKJYDFkO8vfXeMY9StYxDTtakSAz48qYCN/JWzgsuBR6YXOEg4RpMK5saHJH9Eaj63mN99SJEfEKHEWwiv9eWM5cWOoUdgac0fygkK4/5/mp99DMAh4WJT2N6B81v0lElnQAdrIXT0dGpcjTI4FxGZdzYVGVzKH7wjZl98ZQ9qB2gMWxAvb5bvroary0rN2CJLFMHg/6bn4tcFKBDfSCPVjqFZG8A4mkjEzx6Th5JPYe2yOHAy9f0u2vOdqPZEMp0U87vuOwcTKmGYuhbQgJts5RDTVRK3iSOT+M2eAwqsXMpnJWCpLOOFM6SepussTpMJU1ESka6XnmQALxvCckVzqc8HfjdA36olPCo7+KlbQCkrRyXfN0Nf9NoSTaouN/48EWeh3sDur9ebAjr5B8oB1LZnWf7Ygb57N4AQ2jFcO0xM7gZnUrsMAk7wTnoHL1oHGih4xDUGKvVlmHWrKLIz3QI0i7huoxmQXRWq9TpYv5xVIX+IfIJDLe4lYckDDsOWm0Vn8Ly3yF4YIszO7otJoxA58+DHx5G1cIXeObj4pYUU5PNWt5TJTu/dYc+CaDogKCH4obQbj8u2lWBthhC1RTmig6cPrQcxxad5io/JI92m+1+QHhW+sKa2AaoKALte2IMvL0B72xLiaMdxB0dYA6uartXfrPqW+TpiT1hEJlaZffPt3BSXl4UoR71I1+9gREBCk9R2EP+Kw29nhZuXcGTBEYr8OxR+FuyAPjPcpxb2ApFNHIoHKZBN8sRhQXpjeHIpNLQTG33peh+NPplDzVMhpGwM0/IoABVZw/pLHbATRbBOdoRGAkJY2NKlnNRHLEc0FxJQc02unULdqf6qYq+by0ISmDKDTOAtydQi28A5D8TgSCnBfif5vUSQJqw9hBGx2FwEQ+aAvZHVA/zc9jaJGuGhVLx3B/sCWvtBHaGFfYOAwIAUjvqCXT+m/Rzh+ZLnXqqnzsveg1ZdSWvcjDOwk7V7UbbxmBcMhAORmE3ue0doDwXLO9CsfkripCgc7f21JaE+jnff1s4qIM/GL6l4j5Bs9A793SmeTmPWUqAMBezqLXxc/o3qXz1hgQKknFEYzTD82goiwaMzxYnzrMmWlaO8Bd8VoS5VUEp9a/+38J6AKpQ7QIeV4tdgE8+nGPqr2oU2099PYx+/yfaAWYbnm2SafDZkwRDVhVaEneoIR1KmfjrD9kXkcYuXiADm1ABwbQFcCL/NjVW6wy/pX8AMduVPhqV37JQnxsMoz6tjBPwN87oZfHc9yd+zctLJqDfBeADf4RHJ4ClRgU9g1qpckZLfjpAfK9kijdCjYLwbKLTjljNcVVoVhaX5aijW7iGEtheNi9HmpKC4tytX5TPrst2g+aUK85VvnfrkpbQUtrWACYISmWY0oqXVxp5Oz6LLqGmPleuvUQRf/vVJnH8EuSoePHVA62ugecRkJMaP3GNUGxnWsPcvcNZAwdRr3tZTSsBCEwD4LZcGJ1SOaFLKSUwpmyLYNJs+fO0Rqvrs7Ez9mrkScbkgy3qB0Vc80QmqLSeH5BVqWvYRMLEDqoW0Rpa8QQBw9iRN/iu7ToZ41eRKzT9CEZfhSKeVLHAZRWZgP4RJqmTLo6HJCIBJwlh/DC7uR6n/+aE5ydxJrT0I2PfoT9b9Pn7eF9utwSTr+ZnxZuNP++E3829g3LPOu6PjqZv5fuj2FWoGO2HlLGdmy5mWnGuim1iHCo6HZBpQAxLMJTVRsIwijFComkF1NycrSznIHxjfAzSPPI1z0fhN7aWXrnjFnkQ/tkw9jLyPBVi/eQQRR8qNbRifLxMyciHIYnMXyANqBn5h8Qxrj+ZNQmo7lrJMKL/YUO/VBuZnBEYl5yfII/2+bnhK/QOGca1D2AEXMc9rU5pK5ZFjKqAmJQWYLk5OnH5cQpwDXDLROdB4bIXY1GfeYaRkr2+/jC2DsXPLee27irOZdZpWaq2qMLMj+NXxmP+Tjxo6jHKWWaiCdx+qFJz8+GKo00kr8m5NAYKK1aOaOpDP9z2U6fGTfm5m9/to3Y/b6Z9iO1zUDE55PVKa9o2xXcJjXUBwP8LZV5n9a7cirT6aUubhjzqXZZvux2aY3RY6hCDpsvng8HLWb50Fysob2bAcNKiXa0oZsi6UdFmltob0lDeL+G2Y3wPRYcgQntxqyujCeqMczuiTbTMACfaY+4l6U2NGSm1H+pQ5zKvEvIWxbRkFKLufyeFO2TFxAb6ps6ASUkMZayEcLyB3hlRNl7ggm9TrzssJSK/IvrTT6E3Bj5SlMVtDRVCIkOODInJAZBlWx6zwctDhslF+eNfxoQapOJ4TRjUXsZxyYv35ct8gmc+hLthdnshIwoot8w4RTBuy1r3RgLNinXw0FMZ39Iw2xUtGjMstM+CVPSLAk4aOqbYTGu6VVSpQLMCHkt6F2egO1ma0rBntpt+nkN4IJ23fc/WQ7QgDqWxT5YUSmiHuw3N79xWcsyhyd5ZvXW863eFJRmTb0uBMAHEiaCSI4FHNE2txqldvGBh6Fz6ZULpkyDpmHPi4HznujJeBdhBgI2pgDdQq8bUS6FEJTCdE6R8mlpbnQI4kLHUVXaoaF8x/ddjliBjxCDL7pgjZNs49XlnKo84Uyy75V76QtFbMqWxoOCyLVlXdvYCPe8CUbf+B+NlAzPaAYfz97mCTZjn1MNSntp5/FZAEjQRrNDbVnN+ctkJ8nX2Px7q+JwO7XSIT2qOyHaNUDtI6sFiJOHJSkRBUkrl4acREgZGF4vsEb5g0EU3c+XNi6US6z/IyqjAemZaYEyA7BTZeCH0ccPJgia/1qpUt3Xu7PwPoZwoBVbt8aMyuXfSD0mUP/cSD3jagpkVgs6K3LrXeiNIWV9ZcibPgTTjLcZjEzmjRCgQjmafeWR+rKF3KDuM7dopSxSlnH4ZECJTnz5Nyf/5lQ4Xj5m1JUD/Ocm8a8GxYBBO8m1QuIlE20aMJjX+Mq9rgHg3gTRE/Uh1LezDXQtz62X0Bg24jkvlRJsr40EeWphQitUFddQX5ylBuYPafIhTdLPpmddjazjC21/jto+Z+Sias3ZoNZ/VpBVJ2aYvs3IwyLLvgUwD9VjlxQRck/sEJGpPNo4GTiG5zP6DjSSY73S5cBFJ30cZSz4mluUukMLi0cKU2XTkZ/Y13Ju3Uwo2A5OIkxR5hbymdHOYDUrgxXUtkTCweiM11raELGgFFZ7sGzYbsPLArksnA3W5TJcTjK/o8IqkrZ/7BOaEMOK901IZDeP74CVvfc3w/zmBPHLTAaoFh2B4Peh8Krq35/LN/z/UJSVIGhNFlLFJ/ngOs1MWD5FpW62ZUoVWydWGFAX3ns7ZdXgm8WuKis4m798K/k7SoKjJk1QAb1iklslltMx/flMpQ3LoZrNJnJfg82+kbNNk583QoxH5j2jEYqEcHNAn58rwZTm7z+n7N/tjineA8IFdKQtn6REoorVNzeydaCeo1lzIEHIU/P+HXYYSk5YB1iCrozsPR59WAzQUSxWUf/m1C5ACPPxZQKrJLzlZw6GgftMhO++fzxPInFDgp11lgAhdlnfsg1Hv00fLx1yp4HXF99tB925bwRaaLMoxl1VuPKCyR4ByeROe4XJ2UL7qFelElC7zZyynpU33K5Ot+3a/LaYLkz8UZPUeY2jQzbxf/oI5pHdIpdIbLkbb3XIgCdZEw60e/jAoMC4kO+sCsVgJKtXRaghlxTdAVYHX6RFMA4XbwNY8BqdAg7K5r07mEKb8tY/xzU7CXSVwWbZHTZwFWWSbVMfuL2SsugshrHpmEqMG3xkGiGjXLyeuxks2EHR6dt8VUBI3zk1lUf8FWFqt3Tlf+6clkEbGePnO8uvWU3JhurejMze/H+kmz9sBolVUXx7E4maOq0a9vK2Ke9RkV+bCq5QwhHKye2SgvttgaP9l5YF83D3w9RfEJ5TxbFfeWJa9HDYIPvXmOz6FNqdkNq1z3nPXXfLFztuFQkJsooDNuHEwzVRyS88W0gD+rogYuzwGaXmDN9N8TeZiJZoP4EGoTkjB+IyVPueFt9Uqd695SBVDxkKSD0qrApxqYCmvj2TVWZcHYl313t7ahMrLK5IH1rRn+fwxZudTk8wFPGlBJsiiEQQj8+4ysuY7iGyr9pDNW+c+Cg+t6roCHfyPC6GZH5zw+5d4ZkWJG1Ihrw5VeJhkojoMtDGIz1Hov2x6GdaaOrVyOzXKi+f478ZqIIY3GA/4ViZNXlKjtZ/jEhv14DIVFrPj1B7JHQCpn6BEv8Nkf7v/xqdd3ybkeTrii4WBMy6srdbVdk0W7osIZPPkeoS4aCLp9zogGtqG0V/8LQjVyX7ZK6uOSjJbCvzM8UY2izG8IKdtXPsM522krZqFoXCh66oO+6UNTSez7tSbWx41hScTMFUETwf5SToDDlaT2NZKFDU1nUHNQaYpkQcacjUrl1XqaVVhwdDDFbr+mcfKn0+KiMV7pcsA2dFOe/8mYUmR2yZDimJquP+3D5LZaF/M5Exjgh3RPwNjZeADMPDIy9ZLWxWARFPOSnWUHtQf5NrpoAq/BbuwCfPgliSBSueOQjr1DXl9rIXc5yb03WkJhnwhk1kbw5o3uq2uLaL5Pfbg8qrWav9YJh+Em/LnHP7+UUaSUTGQQ6WNoAmqPDS0nYCadliqAz8Kn7S/V6wALD4PgE5anjpiWckXwuT44/FwUbJA2+sWXyhEuKBg6CZxIZGwQFM30Q+CNvPfewJoU+3jVNsXtzSVkziK19mZqeXtDQp/nTjMIcIWZ8UDYowNoIKezxA4wtncxZHh/9Js17z/Vq17Eew/B4CP23IupT9/WzUu0mrBKhzn6bBBFPyhnMs+0ZYt59VPZD3kqnN5Pp1kJ8hFII6oNglE3RtTrvmrkQSvilZXCRs6rICweTq2lvRuWuWHwpURgQzDcv47Wf373AxikbbJIDiS2iRZifwksppgC0yl+RgUQ/17zwyZF/ulKdDQ5oRG8UgtdJyk9QWT9nm5U9EuM6ZzTydSxKHhIfXH6tqtjqz6IhPrOmGyAWtkqDgjvi6yXGhU3Ih2vv7Py9wxaL5gjaiGXM0agOmvf69gTdYOwpQRk6qAh+iBFsaKVW++qJittSp9UQHmLa/1oaK2YgaHPpgGHaVNbMClVDs5sT6aoBmueIaX/YQ1v8cJy5pZmaiKmoU0nzXg+lCPCXB1QT8gye1GAObc7+7bi5hEkyypmv16TNKTgjfdGEo050fK/ztXVUDCNAyDFnxp7i6J/YRGZBRyWUKLo+fRpDLEZECRnZzW+6K218SyOzFiyh2l37MnzUdl1HKR/gSMjKd07zGeQb1AdquKN36VMYQjHolWYFB69Ss7zYUtiIrTBCQ2RoUrqAcbBbipjKigvGYPTgnXlQ8g7voZlUUfpt0iVrMQQBOM8R4DDTXZOI6zizYYfwW+gDnDXDvOkqa29hU5/JXL4spsigih/TS83w4gqni7BsJ973GCdkUd/2DkcjA0FgX+dNeo2uM15zIrveMNHE1lHmI7xVhDI7lo7e2C61RzQaum/R16RiYFoiP4ypisEnA51OftWV/4WX+cr700HW8+6F8deYE21XNIiWJwb+sAXAQX3X/yoUh3onxKxQzMGmsC4a1t4ksf+0JU0UdA0IK2S8JaPilSS3nWfbjBV+BTOl7TpNwUPkUr9w7qXfdVAMuqF6i3L8J8KUNHQE+jc0B+vh1+QogXLnq7r4xQO3SZfkqKviAjcIfQsENn2ngV6886shErFjCYzYic9TCw+5TC10IzHjJZxanUAZ65jC/hJEI6HGUFxY0npFCjVayzyb1sBJyabIObc4146eW5o5lCCtSmLqTpLrkoXOHQZk0ebO7Qx+B5S7FTJsKtIGm5NfiGUSxxoxneLbIKexYbK4QXSYIBWj5srBaiwQg8SX+5Lvo1af8Wa7bQO2AQaYTTe3EdDSY6izsbaEbGleH/2z89y386pN4kkB8eDM39JhVlZLPMJ/Al0shaWBu9Rrwi4Ez363SoFAsmI55ffawPrwMCFtDbJEViSRo/d+VLNkfGhBV+u8WqjmKU0G13agJb4EiswhoOfBnjhSVHIf4cDLeDBA15xe39LE6qljIa367EbK3+71ArOBPCF36QXXSbsN5uwJxJUHs2TvMb/guf7ZUPaju/QOZlRj4Uoonna2IqhEWcX6sRDNI0ZXI0XHwP9jXX4uBkKS584eOjSOeRohnFZiDxudYxFZFZAeM+NAVWsVyKXBZC8uvKAvRniR0lmVi5PN0iuXoWXhQdZx2/vOQLlFlaPZltEFM6fYERX+DdRkkRmViaM2jLUrdk1u8yNfRuldLaexFtYuO/7QsDh+xwT+/MWKsvH/th1h1Sjf1riLXhPLyS8r/jaK/rb6cKmIEKTXZeiInvwm1oA466eTViOtW1/exYhIDIfA1FU0DS1HaYCMfIk5UsSREdhDJxjHQdP7zvo0TWh7vhYNQTIiLCSnlav4UcHUxKqLGj/AytQDSCN7+ZBVlmdwpY7kiJ6rGKmGjgXFcUE3Dm4prLh3l3+pcLU7iZi6InS4Lz4DONuss3UEfLy2dkUl+ZK62OBIStAmF5dpkFzNLmCB//hpyewdy0Vs1j43L1/SajYf9MHlBBO/KPhhPo+gr4LqoqkqFlPQAuMpECCnfhYCCCWS4/CoCrpc4esaiNcItxXtUuWZnDeWtcIcZ2LniH2ZF+3/pkDIockt7qwEiA2KZpJDurZwqk0BJt4gEWZlDBiZX7wLgMAI6XgXcmtI06Kj+gNpjPkHo+bKEbcFtByKE7gcsSk7LayrsUlqstGN6owEkdsx+BilkMMSv4By9X8atdlMoC9Iw4JAOEiXLfXNdxqrFWxbWtg3CpkRo83iknorKANwAAHLwkEzinNjCg3G/HLGcJWmcoQkJRbGARA6ef4nWJiT/Mkk2PCS/r6GWwxJcTHfMi6gdx7c8VN3FXwiQ4nbqj9YiN/sryeB54ZE07YN5wDXxd/B1KLoE3Vi9ff5iWgu88diXISAEyJxMa2csZT7WPvDph/qDc73Vjlia+6fNRmV8F6Urs9aD3kpEHpXoeI+DmnOq0xLllNbQFrPt+9R7ZhxgHJYpZxY77nap+bD2xygu/bBE4hcLuzlxbGuOkubRqELeiw2gdy2d68sdPDgWzsOTp3ku+4GNEpGhH18bTz/YPMGhU28Gef/Wi6nQlsvENfKnMAYmvaMEAfBx33U/IBzT0G5yrhTajTH2owGet+vhWkJLmKrqgb3yJyVE/LDZ1me0nmLsRq0meENo/J19/bcolE9XHEHoN0uMhRtyt2u/BzbW5K/YgJOxNdPJpv8c3+kg1i+gJ8q+ioHtdPYQJOydO5TwG7P4s29+ENW8wGQj91JPqaaB7hXY+4J4+FQjya6wPQHEn2sWv8f7ezZppoSz4zdit8YvcOaMlx4kkiopWUIMYkzYo8i5YI4oozjF3ZYTXcyEV/BW5ZmUV4dJ/08LHOnl7yuhwCjq7nr2pRxCDE/km6ZBlceyEXmCBxZo+95qyK2E3ljRwd8yosPAVM9rN3M+hbH/DHCeN5eAq6r2ymdEemolDBZ9ASpl6Nev5O0RM2ZGO7h9g8sjfV1EuOaPA6Lnyzl0Wk6vAq3oLGViIoCsuz99c21eQPHR8jL+SK7xDtw+odbs9l8B1hKqkGRQJUHSLCK044MFMIMgTlEtDfsk4Vz9L/VCfXfOKPRrZ23RGDfIJJZKbgWP3tcP4yUnWLQk0SAlqcRW64KraMlRINxVQO1VMhh8PwHK6B4KUnj7Aef+6Bb9q37G1stxipy3+TpXGh6rkBmtjNd1jO8tiFgu/m896eyTFSw8PErK96F1lfAtGOKtsvqBwL04vQaz3XeJWDwgz3GvxmblU9Wq4wVQSYZoSDT3VPvYJgSU1on8nb6pOe9MKNHRlUhUd47kMqY/G5W2R9msD4L/50i/KDxuhlrXK2amq5MAi3fvHheFBLF3BumKUaMT11KENyE73tAjxyJD8CMCpu9Wi1hDB06GesU5I0oyhVLyMwC5b9HuT0b36GXWJTr2J8D7YCQ63gHJ/JCdv1EQUcItmQreyUwOPRNcT0bpOQBG6URNof7QlRqutRO/WhxPr5A6xagEIUDWZxDyWxbQ44+VJcLGLBGMRdhDQIGpufKu18RHqG6iyWuOjpP7Qh+FAK+sJH6FWpqYRrRKb1cQ7cj5/7QlrR4S7EdVG+hHltywdBqjmlXO+ASAQjpPeVbmL6FMrO78heNLAkpPR7lgcOjUstUJG5fYJI/zg8bS5Hc7ElhrAjD29IO9B8hKG+WLuK8sgf6Xi17Sq8fQEZjryhgm98bWcLrQJGrV2GoZ87uSpQ5MF3OemeX9NKdJMGSllindUNQg94zhFrzuvopB9dV6Zpmf+r2sUuGF4alYlB8W+n33WXgjHH1gjWHtsdDIQ46L+duN1vM+rRvqjcAaazDulKH+FI75G25xL95yhSWyiBPmtBXaLTbMMEFO/Z89h6TiWDNXLKqaKJyrqnV5PaaCuWEeRZ7GX2EIZHpiL0njeL7vf36X8ZWM0ek0RBp/tPexH+TdrCDGKK1YOmsMbRhPs+dZRhaZc4IVD8wcVUlVV8eCmb4xXQZV1At4NuyiPCva4aFVzrqL5Mj6fSsEyApZqX4/vXdhHMkVbFZEMJUUSKT9WTn5+eq2+PB9lWcGr4qbGz8alGMRGi+y0kZVJFAlqosTDjoaHdSuX4uUQpCsTU5BGRANlQCu7rVuYW2+XDD4gv34LJ4+t9sYvI7PzJkgKLruIrNMS74aDAYsmgA+k3M/Ox75ka/zPm1jitZaJ/ofmRATDRCrVxV+M37yzdH8u9LWZ7hb9+zG/+2vidYTBRL9OoMBgipho+gWHTazMVhTw3Q6749VCG6Dsbds/Xw0Q+W0QG1/gSa1UBDBWxCJJBj08fbjex1iRLzlaVteb1WiMCoxreid6dwWryG7EKbxJmQYFNQXPmD4QeYRVHfzcwg794aPr+a0mzPnYIqVkURfQxgpAXZ74H3GedbwaIX76y06RjX6+vGiG/8SES93hPudobrH02iNreBv8zcpaIDHxFoo5i2QjPbdqaskLWX+UlQUsz85RS/biOY/CkKE8GMxhxFcdKViUStoLfX341bGLENwFR0sSx6KNSnN+DS9OGYwTyo6xW2fE6UAnWzN9XIYf6XBcy/NICfSjgTKaj8vebK9yYEteFGBE+zZO9xf2REEjLHveVAovkFKiH3ZLKO/qBW9qkNygtbK4ykqhmTZ8G3hiy37kanOxLbOmrc3BDJS9BblnDbrvSzCSvuKpeR/6RlA5QLQGUiAm5SVXQc1CyPFIQz6DA4fZ9V4sz9XWND0yySvcH2xouzz9sJsgLGHUNPQovJvQGkXq0d2ls4gpXNGikl8fw49jB7Qq5Bcf7mfgqVJuk8yhX+yllX1vkLt3xLuEL9a9+4PsFzgRpq5S49+YnWys+sorcWUkeDt9VYP3keflgcV+xYmzZ1gCUCjwO+FPsuwsm5Vfrx3cOYGUaLNhgCZWrQag9MjTndTY3kR+khMCXFfjqa2+0yeXy2TuMuPYAHLX/cDGBqa3g/l1B9e2wHbwGg5YhoGUOL+1+JJ/3THMaPzXbW7JaEAsm9WQEDnnCp6CNjo5X5l0c9ufA/K7vykvgCw4SHnpc0Oh7kk8XtvxdAChz21fNnluwHZQACKIc20nq2Bn5OQmgafrQaFQM+nWkBOyA9UfGmPpsgV4yzXHfsPUJEbLEPa8VNInEm6dSgdcOv6Gul4M52f34AvWMos3tmgYdKb7FU+vwQqOz2gKM65l+rUBx4UwUMwno60aZ157ZN/KuIAZ0MkrKLSZcutOssLR/3EPMpG1HhYQXDP7weBtm3V6QiHmwjSgonT+Ko940H0l1jKyjiqANwoSVNQ8H2tiY3s6pv1/H9qOZZrVZSHOXPuZreD9k9e3uPNji9d9utKFQy9xxWkav3v9KUThnBDdlONpGttN8JGXq+UNVp6qB+d8B5A6JPQNb7CecXGpMaeEuhzZ9fK4/fqdgDjSIng0NLuDfXzQpBBE5jBQZ7grq3HvOZyhMWdDdZQtji47kMdWzpkjSm7kOXrbpIwtgRNsIZDLKeFuP8/aBuiCPfd9/JedoCHucWKsRo/kxdNcwZyjBCZD0tYDkvugqI34Z4gJsyJ9EBsIu13o8hT26KZ78WcKa2cJxUKkilvXlAcf4ak2PI2qDsTyTKf9Ez3UuVRjeFumj4ZVR+Y/Z27oJx3ILIYC04U3F6KYlAPaNukCGNxNT32s5YESeii/NVGFeAQ+L1vsO+8iPbrTIEnA7z89SeAoO3zHvemIyTovbHASyfypUOk4gGYxeDr6U3ZZYWfCoSVXz7y6W6wPeAMz8WJRbDsuq6ijaaiCTW+s1Ppkx2c4jn1j3kOF/JkxcBBQRnzp8Qfeoc6XPAN3O71ixYHUwtV2TqHNsF+whxp0OLlm74ptNf9pv0MLKuo1ePJL8AE8Dy9jM5/i+SxdhtrsJje4u7dLdZywwaFPq0x/foMCfSTJpIswVZj6ZosRfPWl0YTZNU2V1BFuo0qbrG0opjdtAMcVwwyDSA+eeLtrUExUc/Dh28PNTkBXC+XVm3dNi6qJBjDL0jDaNbBADdPI+wtC9GGQSULtkrYsCitCpd1uE5cMEX1MkYmeZTTylz2k2okEZaVbPhbM5qWTMtizmCnG4ugCYxrs72wyHFhE7/pW8qjzzQnv2PQ86/S4zaqt/Zh+HEGifLIgeKWY1TQGrfhV7pI16xq6EgZVd1Dv7A9Wxre/eXYQtFg8x88jR0eQaDs16fF9PKQYpjS4/X1SXanBFPAluU4FXKEEhN9o6JU/u7NiTfTKScgruay1y/u5b/UDszXpsqCL6ysdQkrt1EZ1qy6fZzcsIosukRogQqxeKSfTY7/NPB0/TxQiGiKyoCljeV5BHgKhWRC1qe+E4gtRe8G4Ntp3DU0jyHhiS1QUgc9W9U//HIR+o5xiK61BYBtJsx7srWu2iTPK4HancVgBiLXIAYrkW07HyudikWbRzqPFkBFghCtumOnSX/R6gRRVm1caGf6bZHEO54MYNn9M/Tw2pZ49+i+V0FlFnwYOSMb81oBCrQ9rXuScQR12hxF4T4nTwIt2F4ciyXNHqgaVgrYBbRGxwLGFI8i/UbylkiP7nnrdxj581l2T9QFhjjjbbtDaVUVyyX1LOPZnxHqYtyhFCPK1G9rJif0zmbsgV9Gn6hqhLcR4LfwN8J2B7bSkKiYClBzk0M2mfZQ5su3Es3FcUQzgO9e2Omanr3dgWxh3HHip++n/mRTgiApeSnHoTWTyJxpWj4NvWIFdDdTcl9h4Toe72+bynIQujJZ4TtHsGPURO2STYaNGjna7ahrY2BbN690CPbh1lklGW7h9+Rm4KOFzliKhJ4woaswVt1uML0vGnn4pGWJ8y54xxl2nFWYJIvQB+n7TC/lneHWBtKyKU+p13wd4jS4MLVmh7CnBBAqYNbaIZcLrLhRXMhZwDhCky20OwLEcJk6XtR0jM8IwYzwkOEYNQJi+7YvtzO9Fs+i0DP7WdCKZFwtsPt/WhZYGiE0Zxm/sDa3XMEd0zQNSg2sghPJfo1BRXTntQPs793K2B+yZPTnY7+PM/3BNP9M57l2cQdCLz/Enaf68G4QuBpG01DGrKHqoVjjReaDzfl994+yAktvCLJnJPUswslVcFwqIX1mV/07aYQvWl3bsctu5FwUpAtkTDeh6l3NyeyEdw+zRYjguiG5NuKIDEBCWiW/rkREKM5GdbLnx5jovB6c593Dq5TAxCmnGbSmguoaAlj9LWxMXIb2p6iv5hJTOYh/YL7K8+/HGnIcZuT9QQvi5/QIHpRk7r5rG69R210HPiugzkX9QAmcSspOm8rwBEKx4BO23CdmfjLjoMSizfJIads3u319FrLgpvV2Q6vIWDQ+CE0ue5+4IfE9D4N+qElvdr0PmDeQlio7xNb0ZLV/ZG/TKPgBPxPqozUyZKCZbpiU+o4Gxiq1gVPMkf7lcpLtU5c59y/8L+zL59A0+vjXmQ6L7HW23sezoa1nIdb3waQuPfPQmrKGuRz/O8GZqigKSH5GuUzCmYwz68p+gnCCcqvI/7aJmkaEo2COpF1Z/Mq+8JsnW0tXVdc+0kSo7lt9S3LvVMJp02KpVaCBO6bLYZXVVsQt9lJBwU4Y2A7iqffNGdKl+IwZfuyGWwXnJfW2gW5TIOKhe6DBOZCB7Y4QuG8lsBAbltqedvbCaK9h4eN1lFRdjFHhsOel5k+UODV2WKtxXRa6625crhY50pRSpjSBO/TSrP2J2L8u8vVuzf1PBg9wnpalLF8Lbz5qayD58sVM3J4euGB05XJ1HcKs4iCLsI70D4PkUFSJ+ZHqR9aVFo1aOZW8P+X2nkOhPDwcwj4M/bNkUby64BsJ9yCygy3gRlwSraLVgMymKnmw00r/tz0DUFk6YzgsD/1l3YKazXMtRHDcJcwGh012diqA5Em6A+67H5ODW+bmiq/8oVNCaab8e2MLnEIrfWkBIA/4ysB1wZuCZNgcp1cItM4wmMkZ8zVygCLXmCWsNOQQBJbSSG8C24+rK5/qKR74fXBsnIrwqOqj+SjdNprraOs5PhzwTOAKk366NNMcUg2qfCecV4+V/um3n7rLI96e+t3ZQkpbZb4Fk1AtmvQX+zSPc4yas/a8ytnlm/EwSRRIRULrG6UYReyxWeK17YiWMfsUqY9DNe3Owf75xwWXd1zui+u2t30C6C0CX3iHOS6dxMXsxujo8yjv8e0CBnYZqxZ6cLqQAn9S+wOpsSFE0FQ9qDWJ3Bwiuzpntk+I13zfl5LA1L4hyXoeVHPervnn1hM4xKgAaMufQyLRQP2Lx5qLq+PEX9AZd64Fv0C62yaiFFhYe9Mb3Wvx/yD2DRo7PzUWGJiO3k5/gsMSUY169CRgPuO3YNapE6+hr2OccykCYJxZH1MeLP7gRyIvLnvcOiIPc6+C87wHxxaQ0QlpawBSFusXFX//wXFxO2kI5YYCxb5s/l6mV2TOd1D/Tiw8Clawp1VadAAkHWPLkZ0gUOBkHhkEu7caiA4VqZnaHVYEYd4mMVl/q7FyAwwsrnOAuj91YJjsYFJ78zXvS4bi9ZtcVVJsj2s6B2wLXHiMsaiNhHfVde4Br0LFdjr0wjTArU9DtiX6ot292gEQUaKzy8hyGW4q4z5tceHrqFkcH4gbe/53T39QRi3j5EdrNm63kxIeAhWD10ad7BHADzU9Eoz8trIdWrR1JiwMtT+p0IEnttvirmLpNiNoIBZ1MbngzisD3veOVPtQeCDQMFKkepsBS6knCv8I0T+Twmu63n8zN7B1gTOoAoBGFHGkhf04ZsNM3XJyEnZijkpwzQVn/HfUJPc+Obtt+3NnDKvRJ/uYXCUAilYyuBgKIwJOwKyWmACSFZpMBjnxpGnN9+FXC6BaGqPKeQhy144EFPMrktr1fuzrr+13H3QaC3JufyrdOWhN4XCpmak8IsATyLSVBvOIrgatu38D2/V23maKttxHro9aDJp9AOlJM5RZpkwgwUxUD5sdCQ9cAzSoNF2iyWbbWtYHKpirVAeDStMPcQOmFbxDT19+5GgfzaRsgewwEotZevMro4vs8TPSjwzOSjFg+2IFkeDFVpcJ+xx1KiLl7D4Z4q2Dtb/UD9wptGz8viVwqadIeEX8MBL9uratUtajt4k+AbKURkB6Hj54qtnrIUMI8l2U62KZia26r68iKt+JBmFDu9kf6gX3hCsgdS684sMgYYV96e8QK5TU5KMGrO/MrJeydESXR4ft4JBI5iyM2oh21rO9X/VMDN2mlk3qHkVKl1rAwXM4DsZ/PAcUnmqgvqQ457UYY0tLLWNN0Ksa3jvC5b9pJhth0tYvh2oucrU+JH3TKILpzv2sHU3qRZeJtuGUMjJ4dPewDZQIvTYarlz1dMGwh4rnHs7+zis/DHfuRQMdeojfwKsCnDtyPUVk0Cpsn1MuEjlFH40rbhxIBbO9EMn8R3/c2U5Rnc+YZT5es68CX2z/fHYK4kKfRVUdkgRcEwXeaBcT9crCHqhnhzoH+didxxHsaUmUAjp8RJqV1MAOPkMFDV5h2WmGPs8SitECQQgwcVlMDmd2RoyaXgG2itkjRW+IDSn/SpGY0p2VZx5Zec4BHR9ePkJR1gsd20UwynykE5iV0EuClJomrhrfPYxLaY+t010mMxLHMHaTA/QBkbtW+2RiDgPHQDgAUlufLcAifPIJ9FG/CSOiQa2MI8QjYaWhHMwpw966CUteltHnqp1bTHo4TlycDAbO+8OdE5nsSu6ksF8vi9Cx85li4odMdZOwHYwW1SAMmXsnGOTnibBH6qLsrD/kTvyd+u37jisb9gCzjZT20V756pA36FcQXfIBViPBBOkfuUgDBaWPtQEpln17n9wLHW1zL0FiyDl4vpwJ0qP33J/PNbuk44aHrHr/Kkw+oSFT7J/kwPwlpCeb1zJbuy0YIv+YyWMYn3HGv4jLosntGI5oiAMtMx5XaWC+0llcsyqujzgFtRTsOqp6B4E7ls/DSgBUwGVhjzCJYk1uuZXeNUSRxHkLROp480g4vX/j1TA9b44AyHDAKDVpCHUgt983VFXY9EMUkZ+6KpYdZDoKJl/zbdjLHPqst9ggSoVuCq+z9E+dFNv6VZfjThEllG1tbc9KqVmIzH+BnCuXFedEFhOMXAz6mCB1tIGgv+XcG9L1+pkjqLtz8mSTjBDXnwtaITdTgCzE5RqPQndX8mu9k1DrCVAVWsyiAXy8M6MvFWnUzCofS+Qe6LJq4rkiRVpFQKa21tw8NcQJJiVCWpClJ4RlxVLDIp4RA26h93K/yQujRF5Br7G4hNlmWIofXRQGTxy8A+dqGNQr1DNSYfQrGcoo2zuGHe2p8xVtDPw7ZU91tznG5FdP0pCcBa81KxcAFyw1+K34MV5g/8FKFbXlVGg9q1ZBS4Ov/dKG63Hh3lAUY5wHi+27rCXhmST+fFB6jnQBMUviA57mKAunm/yFU3tn3H8XLrZmnWelxSaMf99nTsQa87x7LZzwp8YjstWSKnX9aTlmjInx5x2iPAy8OZs/MgDmuUJ8ooq0Os6vBk5XGtyOCRuOA5sN0lbot8jKX/WHgzRjR+65/MZSpF1Z5X1EKJv9AZrQHTM6MStPm4vuoUcz8lYdsAA7VtPs/dF3qM9qDj85DAOqnk46J8bQRyXehVK7+EpqDpTbGhnj2uTEFzIJ6+P6OZ5XmyvZLguY9RyEF0Y1yI03h9M007eR1ufrPycyRHKHubd7ULACD7ajCitWi4vRhUY3WMtj4uPtXwuE5Nk7sRGrpoj5CEFcMQgPDkTFSki5LWAqd1SBr63JWIvjmdnI3FsEK+zavCy3ItpGDATT3zl2/yNW4rIeaXwDLPIHf+R6CBOwtluOQBu2H9dEOo4RBH/HaGOupXAENpGQp+nlNXVCqq+8c5PcYavk+huVAZIlxWNNDXh696cZ1ojUD8S6ZR6SmfkPHrM/gzxzEnlLtGQNzxNBPtSK4Ewa19HPdCIJLOqAxosNQGBi1WYJB7sHrL1KYAryy42Ms+B1GWN5aRXpEOoN0JtMZkspJ6I/kyXppQ3f9E4Nlh0/cKceES3IAMB4gyxV7X+YrTz/BTZxLkVZ1Rn3zOn/UZxgWiSMKlRtrySw28785ba5NhuXB3fUrWWgvXdvMYWWiRx3Jq2jYfLNUERzYRLyFrxTyu0fSWNVPffnTC1lz4swT32iaMOOW7xR/9FdXLOQaLVm6BTPOP8OEBvJFies+ETbHlKexy7H6cNgHNoCeeW4P53ljncskpyRWwjwyosuyExmxnX5pFUqWNld9XFtNSZ/8YPPX+JozyoRLzeeodtDDaefp2H24kYyFIVMx/lmfUtpX/m39Bu408bWSKapqRii6Y6S6FHgFcCSs4gBlBqQFGrCjB0dT0BT9FqRCGj4sOu+05C8fumJOWOW8CkBRBt5JrKx9txSNgcfsbFrHvTKdYgUeKLyhzLkmJPGa9E4gXk8LHh9g2pZ1GS5zzJkXhy+nMBPaWVrx+kBmLSU7JBBquBqgiX7MabX4vNs75oTOuQHJoi/NKgEzjEYcJStesJHv7jq8w1b8W1oMG3LZNB/UiRVJQzwOy+HcbK7UJ2+KWmupgjbgtA0E8x4uSLNuw7CUy8sKiX3GAHDNxhPPTB/VW3w+Ne4hMzjpK4Eu9i7DZy/maGopyn3p9+Vkxl+1DZItFERPQ3R7Lf+lrW6JWCcIRYawGde/VdZN5tKxQW8FTcZ50Mtl1yXTFqilazRPAelIX2lf/YDk6kTR6tNLLfZv4cw8ACAqDvRR294UiNtrkrNO1wPJD/ZjYEq18UoIGKN8VThpL58fuLNs9m77hqy5c3AgSOQUYzr78W03XiR+YRmREF5HOaVdJ7diec44kyd0Vd4VPa82Mj9QhRVrnTkKDcEpIwN1zTbnccpMSBCaDTy4nTjKJvM8pt3gsz4SquMMZslxHxVzla0dOOPUHXKIT/C/7AcASwTn2uKk+8HqKIxfIvAQa5DGAUYpBCiJDZ6xBJN1P9MAF18X5NjMfOc6wWFc+o7OY+MMGtLJhJ2Ox7oFOrwVMh5IATH+sz/E4+r8LX8C3T68S2cYTQyqCfkBh6aCkvjWWkpA7wGEE6n+2Y4YVyFqEmZqfe14pQQLEODdJwT0x2WcEmgHmyFNx0ugPQ3foFSZtYaS5xT/bZ5qQlgeg6oTei5u3iTX1pwgf9a3aaM/0ebLfhBgwQz8hTgQf4klOuCArDFdoZUKsuYX9G2cHWvvj7NPfdZxlUChhTb7Txu3B55Ha0xlHSM0DJGLGa4pTVBsXkV1gkDNQkz1lQVodbKdpr0J0spKgb5n6cQzin8Q6mqmFC83StffpRGbuNXhyZOG/3r1sezAK+Abe/PZ+VHGY6tJYxlqSABz8zjnN7qpEb1tym5c10mj5a5SbHRgqMG4Uyb6p1LUZZr9x6SHfwamIpgdfGE/yxb6ZEmzQoChd7J3OXYjvFXVuclPZHGvI2hF0+RRhQ6mYnpMESHoda3G/Biajw3TpYd8HnmQc2xL6+rFBuc+zuVluFocH4d0OpYSgQAvHvl6YkYoTfDT5vN2ZZAPqQZxYNkihHy3rWGaro8f5rJNUtKQ1kct6Xv/vdfKWOUwqzXYxQOniOeutk4qEfCu0qnaIoK3eA054gGwhdm/oxJkvcKKuc6tZIb0xYoMZee+g5mOOXEQa8VG00CNhMhQovEF/nr03+xJv/MKndKTeda7Y/Ba4UQR+1Xo0q9gUjfw+qNvHsGg7QQ+WP848ZhMCvisek/b/oLGv5FUWm56zsBGY7hn1W9qJuR8i2EuQL6gC0g57U55h8mbiJ0sTNrMrv7X+kV3eFs40KyGPOoOKUf31RZvP2t+2MExZVHrJ4TIWDholxnBRH9SzmPnpVez6CqTNqW4wvo+NCNNTMNVmRVupqlGM+k91/8bHvAQQKrV1CnLvQSNhNZwyphPwsbKP5svu6bfNdhmRMo8BO8jmp9nDdzzMIS2vCoqZv0Ow0xmW95/A+izIGW2SNHmdXqUuM+zfuC4TmfGM388p/6TK0FXRiytweFXR4V3N9RXXQZVWjKBG/Q4JAqUggtOQjpWQhAzVdYPSWIecmBoW7uQrD407x/zXZrVSSgeKX0RvVMNI4TIE5rNbOpEx+h6jpwa7kJZlY7vFKSyRGnsxLooey9r1ZmJLsMYQowRWNSu7pCx5HH3PeXZzOfzPo+kL6FoKHnMMo2vDvlgW/ZtJcO2B0SWN3/NyrJV0ZG3KEc0r+q/AYYzLC8n0RGIfGMNdVUDBneoQtxbbIc+Fnw/v/x16MkFicoe4VD4ibziCpSQ+ZvcRSzq26xL27QRjTAzgMZUXIHIxI7CY5LIyhMvGFOtheJ9ZqSAe0MALvOmM3Pttqqz15dnK2ckHUDwQPBew4r2c489y4P64x6sHBJM7KV0g0hI+IGW5tgKS0LyX1NURuihsXBswMougApnrbIhRB8DMshLAywpKj60pU/Y5Gii8BgZcAPBO2DPHsEMwJvYd4+yb03Dq9x9YCbHxPA2PPJdI/BadMCcwgzCwQgUda7iZf3UiFWsHvfuHzOWPsQGsByDjRxBtqtkZYirJBWQJO3pDhFPdouC7k+elnzOYEGWnyW+E+CzBoLFzN0exQdAsTJbSPrBD8foF+ozSrevqA2hAyIGlmE9Y21tDjdbxNpHX8z6uPRLq9AYCMM3c6IH/PV3UcisMdX9ae2GlUG5FodcMB3JoyOBR2iK17mA5kAoqpI5ETSxBMZ4RUmNl5E9v57FhZyF0afgQY/x5TdDs0qwi4j1wjWfNjCEGjXERSNCT9eqBqlfauJGIAsemzohfrvONEzI0PWggwaRKaocQ7f9XmNjMIJlJ0VWoY8/HiTFW+2IFTn0ATVKVhvjUiwy76RNwbwk1mvW1NGtr4eqqKOuZNGAfIEAbW3/TRQ+lT2y6NSZl/jLViYnTRcvAqHzvuYOr5qcXrwuI4BXxK5ZzSDSuD1UeKomSJhMbuVsfm9Sit3fbVueSR3g0WTB4n4IbvsR7RPGSkYryeXt+rMAngBQod8FuhPOZfDMJlLCrpUNmrkJBNXKNByzH9zaNwXFOZsOck91k6hddIgBIkdwRq5lzmc7CeLQodAkiZ0QXzDLeT5XsN2akcIiMMo+JYbLEarTb8cMGnJ1OLL3640trQxW9YG+aTDfih0grticPftO7JUuYPiz1AxZ9COLwOsWFkluRZnEeq6BsPzUMzQDjASeS40IFtX69H5HQ7XTBcjNUOqBr1+JoqGMRTxrsBHcq+dKA6Fo+G1ZaqHRnLe5+iJEUsBZqlrz6DOC8U+wW6BKIbMArKDY/zPor0uDUbbKQqAx+X7WYhfSnOy/tL5/ZEAMbYK7VAYby3+hugaH4NYgaVKH7rozTb3CAr5E1j1Z1+c69I67eRvfEQjU4UBWlplveuZ40O+tmxMQO+UoJIaAqWYZEBrCUxMitxPJ+cJs/UZCQSFBQLSSaOq3yz0z+3ZtvAxWMka2Wj1ySXdwaib2A3ST3382oZq2wFq+lY4EvLm6EHHpTovXo2nVFrgRYDtRaTX5zNAVqD9NftwlcLAAEWT285qzVTOerp7a9dmVaktWDzM041zAhc5rY/gxXwczHwZYZgQRfLxozecE651dsrSTlIE+uPgedTToCVE4X/Y4QyWExhQd4Fe4TnNVftjlqNYbkFfCqHQodtV8Za7OVJQc/Ss5rSEJ20hLZ2OQBLZkpDIbwT5k+e8WLLKD3Oe+8wQX+teSc2ZqR7weznl928aRMss4Z7ok3HXm0tHeSdjypK1MEGgJ2AVR1j1+SzKCKdx0o2qL4DSyJq7dw7cH9KDoa1e9E2lGJQybAUXyu2u505pbwMOqEcvEKAyq/6Djn6NWQ6sKTM6fP0j5mQCZjLYERovPQnKola+ai53RUS1VMBSoLzo4tcO7g+SDUJ73NGxRinDWn8SguHAiqZnpooKVtBotDajmxyw1jWsXD4TPctIk/qg6kXLjhezklaZxRDOucffaCcPOPo/lHGbz8P1C+qen20iZP6E2fniQSuNoYzoPO1y0WKvXqhI1CxzpICGGCOGZGp3x7h0r/oRAJNRCjKUAaGVC52MyB/VoLltz4o5+bUORsyrJ8cc0dhUpB7sF3wltBb+m2FilQ7fsb2/ys0QUgNatKBFq2u30Bo/WPIHcxjUC+JJ9ct2+PFidmY/HAiJrzn4betRWxlLDADxFvffj1q7yncOH6T4aJsXsEeliwDtiH07QjtYuir6XyH+MNrHHbB+Bzon1Itq3h0WOlA9Y81MJtzxWxtlSfdnFGlXz/xxhuwAQH6U5kbzKm/z9pasvVWuCKMgcjI1Vl7cBr6pue6gatUymj00jEob9LfD37zKY6813oNJzzAniE2GmWqz5JoPUFdpGJaXx4PxBah+qAfq1Ylk73LdGA+V0FDsL35gHBilU0qnbdrGTEUcQmZksOkftvrGc+aX03Xy/dLtyTDSx7KbCwwxdo+n2pb8YMpSoW1U6WBYyOnxYwv1Wlv5Xig5CX7b84fxUvOPqDx8Hdadz9TaTA6lx1nJY/Z+Eniwu33WR6t7O83FzuIlBczOoATSmxZATE/sC5/RJU+iQQ/UTuNakCFfRik77shIf2itoGr2HL7rRuEdQ0uUqlnW5UYuo5fFCJcyhBlD9Yna8dysNTPwYEOg3jnuimYMKsMbGcHxZJJKpqrhzs4UlPcx25KK8oxA/9mc6+ugJPvkcbwzKnNMRluj44/s/0Zbfp15IwVEI0vBLZ4A2V87cS2WWGNspIJYB31v9YLdme8+y52v6TEuaEq4ZenTZqNVgeYZv6lEs/7ERQeALGMpQRYhRZqex2FT+IVT/+0peALY7NwIBG+7bbUWk/iRtkHXi0sxwHyrYLCn/ZBu09VgYJQoyGJemye1OCfIYUg2FMhspAZfxK1p5Z4yGazoJUj/d0uU0CXlJQRRTwUSKmrjVjWIxqsAkp34GK9nQBv6JqB2uqz2/1LbLUGpmUfxqYXssPIk0l2gkMBo/brLbuslz1v9wp08NkW5Mr+czhIJ1mF8CoJBWxYL8/crrpu9lW60qILk4QoW+4nM5vfBlWtfQ2UMWBbUytUC9npVTzR3BVdsSdFbtKBYSLN+b2NV6Og8HI78nNcQciIongnRzHWstLBq0yuaEZCCeiUKlG0vC6E13YgFttHUaL4vkdZ80QInab4jrQESdEGxjqqEuy1rZh6+6/Mn0llUDbBVXLDZy6vik7TM1pnx7QbyanLSIIB++SJAud9O9L1j5o9FRizA1SSUe/h5yYHAQ8siFRXoIwNboB0/9QmCF4/PZcVbPKHfhjUTtk3PR0w2TX3wi2D2artmtpI4W+SaqbmfdivkgcV1mn61ZrUNhV9C1zmOKDA1yUZ20p+J5apNLX1lawHOa935sFcHtESlXntTg956sZgAChzl6mgGxtDMf/1foVwAUI50lzALtWnc39lZPiAACA+n9ak9UunRK7dEDmHmM1Sde+OZWJtGXIKbHasmvR+K7KREn30MTIndZ12n2/8zqRwfHJpf2YfqIqcgTMXJxjCVIA6HXwy2nyGY7kQp+nnJRWYv4gwII/4rEHKB8vpwPpCUMU+EmhWb46YdNzL5ie0zzmTg0hgrV4Jxz4INX25s5kLGsHnDeJkBM75z0Go6td0pWkd2MOkrleFOs3Rkq5kWC2LTmCYbpId7ZnU6YnPRyJPpq6zGpg64y3DTggZasvBa3Kfp8WJrsPKXfGVHY5VTN6FlllbbyIbBP0Mwf/ZrAtzO1/qyQhxce2rFV6D6rPWJOgTwPEcHuH33OFJLcutKMnhEUPCMNaNwv1uiygqTrR9RW9+mR/5yUMFggcXj5qjW/5rNIDqP9mHCK0ve4JhPm/qWZ58aEI8YVdVU7sAuzunNQhjMLZnTVOE1naTTgnQr+rp4oq3L2ObcHxaOJCTZZLpQ7nYfvE3j0eOxB9GxCAm5zKi/jF/lw6DvnvdMWZX4sFCPBcR4c9UFgMCB8J56eQ7EnaEebjLAFo8qjvYrGBtO8PfEIkZWRpCkqDMtrvsSqPKzxDq+LhtAZ2NdlPShT0rhyup8pYz0XFFkluDZxTXlLD9ztLUj8Vi/O+0yUxvqmFbdx35biM/kYMGjTiWRUQEr70J9gfE55mjG6sx0Ujx4evf+z4Y34PGL4bzf40w7T2rDH2Trzg4VBlqPmyP/XKJO1mNA43/CfEU3wQ/5JG9HT8IVkXbtKFqXSP3KruyB1WqzeFqZeVwDiTb1l9OSuN4Q8zP1u3TctrfzI7MzqpNcgXRXMT9njuMx0KARDLCj0X2pqAhED8rUvoQC6ajLa2To4pneUSm0Qr5/xnvg17xV25V5wd+4Gt4EH3qKZaHQ7JINXc830gj6bSvXv5/PqoEU8Q+kOU8nIw4jKN3kaai7CqTJiZcZ+NnYxQP3+TCJQ9DzOLxFPalifkOg+CT+z1mn7ZB0p7dmG6yTXia9/SKIxLFtygQebbXEMbjVsfPZJDiY8x9tBRlgaYMfLGF2QVkFFDJbOJIek+aGk6xvMuWTGElRyl+c+Zcy386Oo3zsRceXCGGvtXJaIBD/PTWs5MnTeXxBViIsTlZzuueJIZy1Uz4mmKYGTIxjwUaSsHTWCLryOGXky4UNPF4l0cNLHF/kI+3/xNmRDxnVn4JkvZtGsuNE+Al/p4KxesFgfFVEJK62bXhL19Yvn6i+F4lJgPTB8qCdV4I59IX07JLtmbqfnDSGI+nb+9BG5/kY49RcexnxPlC+n4s6uYWo9NLMoVuowqriBnwWl3Bq1MQixp/E8mpA+1KEkPF8VPPvSpiiEZfmCqxvqxYZ1+e32o0Dvu79Y1sila7nu3mZDUrX/V2irjgcJ085YQXY6psM3uFJx1FVM2BioVHRr0tVw2vLWigHn1MkU8nnlKy00RVYJx0D1NSc+KrZRlUQfycxg81d5soJh0avP6kQW2lWTvPQaTTfiJMDYwYoJhwrW1eEAcYvUAqb1Ile157lZE81zKNrziHCVfTNGaz9MR8ogXrMACK6h82NiOSmuEVUreZmWswyHnb1c2C5OHDXj/UiE7gaYJWAo8hle585R40D9g6qBg+LY7GnTbNOKOVuZHsmgRf0PXfEX6aqulcjXZvyOv8x4fm2tKlKnSWKKw4zmvf+P/xkfTHeh79eT90h0fZp59WDH7RHtd4i869MKJOY9b5N8bPmWC1sySDpj1nSfDs5zZmbeQJix//+wgNAfhTgHEaANX0CE9hTiXkngp0Sb8UdONd8uokSV5PCmfqAWseRhKFv/9OVrcZTZlQEzcb36XFdi2vnLg4Po9TGGLu92/1KTOMLctGNXHB+2UkpjRkHOmaY5qCwZ3+JlabMRxIXPfgG05H2R5btoL4hphXUgW8cVvW5lK8l0Y978mVkXKNPtR+FhKnvsWSEng9wiLQBNnz15cSY9KHco0IdZRsFggarnaj7Lj74PkvMF58A5fUSINXoJA/YZmB1ynjz4ice6HcGko1w/TidhjvM3d41Bu4V6E9QOfs3U2bdoOOjpoBq+a3rxU/VTe2sJLFFNdy72DnmxobC0d0VJI+g9g13/V1Y5HXct/l48pZnTKJPnSzbIY+2fQDDMqQ9wWBEwf2MQaP0YlWFdfllbryRGPfu9tPzth6QJmK8woioKh1tTZ7mSJNXQLckl/3LULYNFMME2GgcC4dGvdePuxh6Tg+8j2hgexAlOnwDEh2k3gbEMxeckLTFg+2IO0ufq+XqiZxX0VeuxoV2iSPO/3lAc4rj9cIufLt/8UZWnpMP9uynbDDVoB3TGVQu51DbLwdBNKbJDZyEoXHv8ohkIdffO5zxcjEYBwu7YLX+HjM3pZJMeBARNMsA/6Ir7Axwtah2Favd6qhBWYAWgE0rgBag33NCJ3odXeQaV1H71imVWFN8jVtMOyR2C8X+X0WDh+cs/9h2EDIZzbY64tIJlvJuZLq/RUOdq7mWC1Zt8E4Oom7KgyEURJ2iRNU7KzV4V88Nf5pbsi3sL7OobWnioUz99c+aAvfgy8gfUN6F0NRoI/IyxH1DoQ2jYS4I30o8SvtEcBpzMWVhhwZ9TyR6ea17K/wH1Wg9FeYEUM48uixa47bsyCX05C8wuiDlXTOI0nf3maUQ5FZ0XDAg10eQTL6b8JArKixAdX4Qi5RhHXogpZowKQcYo0QN+6RrJ/IBwDfhZLp7tBtXtw9RGZA5VaGUzLUGcx5NKd7se0ypd42/+jL+WTQ06aKqUJWGU7RQudhA9c9wUFZIE4K+9mnbfGwtM3rGcfxCNrIMFRcTJ95PgG8z/G8BWHh6RLQpA3/7ErTzFuPhuqOFfXEJGQJut/gV9RQ/5+u3jG+YYKikmz/+85WgCWHe5ipbcLVZNZ2LRWPSoVWNAtQYEuv4JjC09zkF53AE/y7raZrPewLEl9HGmODTW2nYjeHKEPhsLf62Rh3GpivTgsKUzBwYn1jeW/3Yzk2WP5vGUMqhzuGNgbTJDXUfARde6oO/n0Aj4m0nLzq9elj6mrFXmoa2SrsYz7Kv3nWqKEnBGTrKFZBeRQiiN/qe+P4qtCIN7+noz1dEy635AguOrGrpp72h56q/Ua+K1KaBH9Gx/clizoxdQUXjqD3+m4voBhBMUuyBwm8xTAq5gQaX3zIJpkVEqPMOVBWMGiwfo7G9x6INhwKmIHxBnYBqNSQXdTvr6wlVJqZguvBq06ppT9nPET/9nNxEl+MtjU31uEefG7HvMcovZ28tIFJRfdYhstCBkv6mOrxp/Yw1hmWBcE//fS3MBAdin2QbNVGWvhIQES59hEApBm3y7OWwSBKEyEBE5dsyN734RE8OsKNmSmGAQuvuJK+m/RsXPuMZSypI3GfuROsd/mwn4sXqdRL1y4r7dNeK0JYpdbAoMTJfCQPHr4GgalEDSwQ+kXAes2erki5qh0IoEmqGo6pmXP8VE3hV0RmP8Ds298Oxn9OSXlB7HYRs5V8cHvvVYKp0oeOV0dBxNXIvueqkZNgRHu1pSuy9RVwKeB3ESFs3f5DFZPr5r2984o9bjGwXdCqIVhWzHZzvfqSoTsxtpSUijSF8SDu3qPlcN1sSS9pHqjOhp9ZpibngpONitz84ZJkjmb4loQ6I3Zfz8mjOHjzPAZ/VbfkzgYBzvRNpoctUS5ZMQYP5ZZdXtCgo1ZOeY3C8p+n/c2uE18UyShLh0u52Hgjo+O3nhlSz8Dylq5D7us75xM6Fwy4RdBS8BpKiYR2vCr9/IxhkdSCMsQXFdv3xyXJoXAikaQwp+lo2ARGHDIg44AGT28nV1mKAqNBr5It+JzL5EM+mkYu39411PM0l+6oeFqzTrar/sCbwgmp4098EG2a/7DukmcUPlIjXJ4TswrI+OKh1/HwytPB8z0Vku/H57XaNFib9RQjztVrD7Ojg192OyIdqj5CVMhP2EKR378ZVZZaEFqoyp9iMD1Cf9Kusd4RM+hTkHW5ImKkHmQmUbdYmh8Wb0rcU0sXEe2+rn2bAEUb2Q5wo0Z1bZ9Xr0Xdx1Nua1mZQClxl1xxhYRb/otArZcfB1J+8Tupxxf2+ba5AZWhikOHZN5oeXAv9NLs2ETKTgac8iiMgAy8E+GULrvsXSH4pbJm7uOXdSvKpsgrdt3b0PF8MiNOmzUgNkGrOS6ofIQOhAlQW3CLlZfIchShx+bNw2Yo6t4P6Mbpc/kyJCoNz2oTwim2V7PgCaJo8Xzbzar3r6bPZDLRZ85LVh02AMLsP7/BMbu+T5SXgX3uzaBSwtldYJePm0NcUkakoWGPZ8yXmGsjeXS26T21aTev5aMVIGq1soOzpdQrKVFZPMcl1kBouAlPAYi/EARKATpZEt05xWfQzI8irQKW7RpT3ZJctHVwBbFo+IkxIjYws+FlemvjypHHTwERB7cXmw3ghgDYXRiE9mf+Lc/2Jg1ucyaSNxvuI1l+eb1xiUEs+QSvyHB8AT1QboYLwmsahBegLiyrKHvsJN16OBvMunvlkzrZdNTVcq0weDU2QmWwF2yVkBuYn1byDYrSF6fFAnvPSecxSmgLzKpohjgXy7k/5Y0T/F4MPeBdSlgw967Ej8NTMntQOlV2wiaBNqeIVGaNFyW12SEPJijkDH0SbGgbYz/T7nPt1L5y6Kz454W2LuZO6gkTUv/XuvmLT6QvlDIOMEQgRlpsoIptDcn1MfNvXOsGXBlIOdTPWoztH2aqVcN5W/1plwfwIx740zKLOqN3+GoZT++Hd4vBDb4Y0++K9YQj+vNtvFaNLUgsLGH0V8dfLt7hjudvpLEpleeVuGFbrwRj9NN8mr2nwB4P8Vy7RkB5gvPWC+/V607EfhPeqJ56dB5W5HfOI2MtmywzzSm/ZOjr/TXFSPmhKboQCEdFjDoSbi7mo9pUDF39juZm6WdymvFq7RqZ10OOBBr2AsN5cpjQuoD90FnkaTAE8ea9GUSTmeDCR5+OZY6VVDSlhC8LFV9qGuuc9UmyscDGDlsky3N8Ie8ZtBFHXQwYk9Q5YOSJOkFBA5mTJJXFXBVAWHjcsPoCzxWvpgVpCZgWuMycmgxSfIP+vb6Ep+G0rzwVL9nuLpbKDn9/G6shxEWWQLkq+pXrdCzODVY94HMi0FDV/nx8Aeq9KCTgTBg1ISGFgJFjuvVElSwZ9EG35hdeKCIa2O/Bhe45aYGtkqj8Ug7yFk2WRAex1lqrL4M3aNzdeVAEYvKGOj+KX2D6rjmquhZpR6p/t06IcN/ERGQPnDVCojxZJ6P4IRBixk5vbsNqFCcWGFjVbuTgmRb87+c3DCL8lifXfi8uQ5hpO+BM7wVa/2qtMz3w1WVNbKDZuAs/fNkTOiYrQJBn13W6R2uC4S/mrpDzfUz2Hvb67B8614bCq6frsgXv5zWIRtNgAyOIbRBXp7ZPmdai30XZpkqVOd6qRnUp7YTMo/Nd3WAqV4oVuJUp9gOa0rt8rkvvLfXn32/FjjiWgTaClXhgJV1/TJEa3XhBmNMQ7nzMayr9FR0QlZaEa/NYYkgd6Yq/S0C0QRdye25V6unw+z2H8xtT38H8nvgJpKw2ux2pmK7SRM4ClU6tD4z0ufoBz3vUx7xtmaUthMwQD/+SH5GIwfYnbSxGsfS1IrebVPzensU/O0eUKnYZVdz/BGmDhkvKdwoTiqWLSQcQemxBjSobLbz8kHr1nNfM4LUFtAnfzAlZBXVogse1zo2e8gQ5+3K6iZvnQv9rrxyeaXi7vgGUGzuxyfi2WbLxM0+KlVoc7b5BxhVYCcU4j7EQjozxbrgKv9slXY7DSrlTWEHExvHlnpURf4aAMgbTHIhpNxGgudhbO/E7WVU8PiUX/pLo8YNZeMaKE1gpzj91wucmhHXyYBL745qiOs2MEp7gl5F8UKoPGCsbefzDcvnokpXlFMj7SMM52MRsUkHnAxXPuyvx+t+id56gjvIsXuRkrQPbN0UlWGPN3LNgU/zDWzWS4CzzRT+sIatyQhoSaUQYY0WVR6zzkH+fSvLpIs321Q2+MWj1nHa9actXhlil2NhXWnt8c6sRHcxoZyPU/JOkb5HjHyqheSf7R3A5jPVErtHoIJzpG0TdfpgmXZopJVAqN5mAquRWf7EDGA0wGUaeCBH5ZAqjB+/qc0hFf5R6gdaxGYopxYcKdGBJz6eBFm6XaM3DaWlihf+Pme0fTwRKiOms295l/pCptFPVbIQSVGsdm7quBZHMaJrkLaSF5ZOfg98SrRjZ+WsoizVxAjxoO/Hid1gLJ5h1TB9KbvPK2sbks7iLWt9aIuoWNhctxcehwN7mtHvNiWCZXbT9l4LMpZPGlWsVjx4nzuicoXZ6jtW0lwcAg8IPjj9o+HDc4aPw3M47clFifsqNIDK5h8cTol3moh+WtL8s/UCfMcgRqMSYxb1tZQ9LAnwUQ0/k5f1VwhfhrTdI3Hry04uXC3M28fnwkfzYtVT/FXKZV1dCuGWdi4eCe7pJjH1zGgIQ35uj5weuKdgnBpB/6ImAs0KR2BKi9rbJhKFggdHeDDbQdo75P/XWi3TfjmZgFfBS74jT4vPyZDJK/OmtaEj1r9ESSS6JX7CfuDXwm2PZYbMvl2r/4e81ZnCA+WSHfs2AtwTMPp5Y6K4K/N61oGSc01yS/dY5atW+C/LGgybFM1YM61/j+VvJJ/n/z5jDu2M/kDldWxNE3ffJ8L2H+VmBslO8i98nx4bItL5C7ULg9ObR77TzzZk4KzImX6h8MeLN+KU45uzD2u/kVupVkv2RrCbMKUpNSQF7Mdw4Sk1JlfvkU+c/HIrKFCTXIqe1OYATz/yJp9/5N9eCqI9/1mstPI3jUPtGARBNoJAZCiFRhixson0xEFrn+rN8x3QaMSHUSGRM/h3OT9H4j2ThOGaDXHJQpG/YQD/Bne21TK9+svxe5BJrlLCsapiTrLVXbyktDsPXGp5rpEIRYeGzZNydUji3IHxJyh7jeRj7aETKZNJ83LQRxd8uLFZlWx3U3DQk21qubxT1i5PhchFkB7P1uKbY2Tqdw7ZwFWdQrDLNVJ5ztmpYOheXUxbUwsViFORy/TC6LvTtLO46ZqLLm6Ggt0nG3z2y8hIfqcqePJ5fZZXHDbHkU2cPD+pL3VYOwbm4flY3wMgBCsMzFpkj/z1gZTZODAAu2DT8e1x419MDZPg+GKD85QgVut5qDmuA/WGMb/W+4iSZpWbVhJq+kjpeWlDweQrDJB9vNTNqg7umfi2Gjzbj++ZvOF+yOdmbcSfJXWBIkRgsjgWRizwcgZllhAiHOll93BfNddazFC+yvid1lHAObgN09nEn0RCcVNxzX97fiA1PqKgmmpxhOf7AfvPZDb1KdrtWLpJwNH7tnj8i3YfwCM0I1c4df/lljX0aYrX1OZOmFFOkVLXpeFoztI0ktMEh68lgDlad+hEKjYkRXMsdw1VDSJdb+zsKpXCzQBJtmMBajCa4BJR99OpSBHbxxwf9lmIaXOKJoQyPAR4lVq2LGu6eXMjZBHTzRVWeWZAUQkbmdPxuDbJpb0DBV77WXojac5HYtmT+e2XPXL5f1+xm7bAo/QG5Tpd1UNv/7ApZFJ7m8GNO87KjXlDsmSaEklDjKjGc+8xxF0/bqVvnxQYIwRiCFjMoE8LrkYO8l0REjleipU9VZ1/Gr7MDkjrzVfbLium5dBWGXDSA7vZTNqdtuJinmDvVDSZPL9L9s9cOA/XG5PkV9ifTMih4lOLeIbUE1EPCcCBo3TLqXZSmAchO8/4wGIizDcICX6VEEB7pa8Dy3TEqSFLQ9QP0iqnbp3ho/2t0Js/FiEGlH+xoDEDCK9LOfTXBhB5pmPdzdtO8NOD8yn3jP2qs5Yc4WgeEmMgbXi3k3yT+jUCELI0Xpc6W0D257dwKvTrfjmn1q9JDWY2NsLT6lYfVMkIF5BD25dGZYMrMkITkk+TtdfNd7sFq56yvKfvgdtTLfGu38rW4br51L9XQOUDs6iOCLZ7OjjpBsmd9k8dWjTkEP5+C5gGlNco1D66d1Kh/VbrsvXVjio3K2puV7ffLKE1YTGrJgTwWyWPTKIcmSGabs7akCKyasImiZAtAZrKv5Berk5ku9VCniX/H83SS+2/Cmsng1WaQEQx0FwhkMUwkPp0605c69E6rmpErZB0HnRbeZ+B4LH0hiOg2r/ZiXfrZJqQQInG4fOWyFrB9FBqkX1juSGN+kK4edTXOFo2czompHoGu1dfyKlZ3OXmQv+ujFvWmMsYul+RgEBWZnBwfYsMf8d6qPW0MuR9/caVJwk75RFHzDpt8QSeuNjq0kwz73qYZER0W0skvGn/hpqqbR2oyFIC+tdISaI7U5547J0ZMEuMFEgwksaEKnbWug4/7aI9ltnplrWm1FTVMJgtwxkCUYU20mPTH3qnoT4Y6bEEQw9E/6y7eocUFRvnOtOOeyZHtWtTYtVZ+nX4JI4h8TIrMyq2pCh7F8PPI+dMxa/rRsb6VqCIslKJWav/YFTdH/tsQi730q+E0Irjx20/bjIMrycrpd2ZjUs0LWHjSRvJ5A3OPWlJWgsRVOML7yk15gG5BansYdFWSTnhQQjOG8NW+5d5vul8XbtetxrWEXBVyWU9/iwBye9GfxG5YzvtpZc/hxmFO45hPbKVw0R8oPuBhWMAycq5VR+fqJLZ1aEs4A3T7X2kwhGmJ2AvLjhtD7VI4gi/VeTGbAKaCoBpldGkOGI4NahbeRTmzKbpSr+dlPjcwGvsHgxIt3Y03ImInrGLeJ0ZQMjDoRPH2tWpKH4p6iHhK/ft/pnzZtmjTiaa15XUCNYpdSpyWqG4oe7XJZbNbZN381xgQiEuVG8VTnXY1GiF+tS5kqcDLbbvfhEciDcylraj+QDZfO0CxwJ0qAhgj1uu5+trrEjuIGK2vYt1rWq8LFJPM993x2WSqvctPMVAkLBf1rS138ERHjOOanbvmZJ2/OSkLIm8oB6SQUBN3jIvLRbsyVAyV6Nk1AvxJHlucSdmbspA4+cLWR1DUH9o9FuXRqWdXJHFN1STEE7Qugb5NORwOjQ4Oxkq0AUPdE2HqNxBpO64p0/4BfL9MUS8xRMwOnUOG3PmRnFNcyls9nkxHkPyEEIK/rLZtjNg/XCauti3s/+MMabDlMMZMjnGjyw8VKcRlMWAEP+dsthbRglAEhZ1LMpeepY2gICSqYD9HCQ58K50731JNIRh8TaqMAjVZhKeUFGK4YQ5+N7L8Tuq/xvw//SBQ1HdNyODV2ohjxq0t717WH9KjCMLnXH2Exj9vceFvMVjL082hm89h2LVMQTNi51lam8ZnryNIHpsvQEzAJBOQnz8oO2wdPRaXVgy6QA2wS22xtJNn4lqrtVD95c1oSFc/4/oDgh7yqAFFQD676rPurrzJ8k9/SW/ojUy0wo6hpa487z5HQRaWSF3LmuTcZH2fjo1jLi4lSrzhGzerk7osqtuD+4TcSbjLQ8qzuaYc0NWU2jCBaA14NPxpPmDOk70x80F3vCmozZDQARE5JKKykaNoypGNgv7m/sstl57LZpHsEqaFwKNQto/9PZIEltM5G5zLkhMfW2/GaDwtIR/icz5m7kTb9oZuLdP23dWnVTig6IgnqfZQvZ68iQo8sh/LI4BG8sGfS5rkWY99tLRLFnvUjZmNKRoVlYqnPwexNjhxpFH4y+d0TTgu0WWga3sxj91al/9XMiPlPokZMqk/+E3+N5WOTNvOuYUovU7Wpk4/AXdUpY2j0/lFBQRg4dyUO9UfwsG40a2gNYlwK+AoBQVDhZ5IDkc+GiHSr/qLZy/RT2EM+qhdsjjxfzrJew67cXLILDyW71G1+4SC54Knil5DyDUbD7CugR19uzv7SQ/WhBQQWyOUUCEd9y3vhEkeJOuidFC37opvrRQFPm7Tt/KPh/S3iyFvFaTGKcxpeXk20focrYp7ufTwmmjcxIAkxEhJxJV4ZI7OjH68T2mehgm8E3p5fkgeM3mVxGa+1uaG3S4z5sO4DM0ZYbGjhxxI2WN4eg4fWZggwUzW0Jc2zyW8wfBCWSc6AiLQu8ZBVlxPNPrmCZsf9weh9pIxABGpv01KvSLsPx96woprdj++zw+HbuZnkXOHsvx/RHjMDeUKSBxlv2Kvz8iY7RRYDFXzgpGduXQTLDMtpgE0Pxa8Y6AbwYKiyW45ySh+gLBAxy7uNjOs2U8Em2ZJM24lEg25LNBsUW8kch8Yo3N1NEzvLIyp/Ob9oMSm1wfvtiWk803t++kFmACTvwFc7vnWJIRjvu0iB+7lVDguRPIbgWTGdrl7NsNSeQ1SwWQDiU9ayek5W4ydaouzDdSIjGRu3rN9i1m8TcT+EzZWagZ+MU76PGoezDylCRPg65vimun6H9b8zXsOaVqd3UE6YufzzDP4MYRpoE3u9GmEfPDwIG9uGfj7kyZeH6oQSO070TfAKLFWYCphPemqchmDIYWHB2AhVSjteg9HO/3mJn8oEt1hdvhbDchbkFBtQhSkro3xPmMDAjw37ct46uT3jNs4F+jGSImtIdcwk3t4G4WDgvTeh9kOtMREqPTfC2uKg4Ojmd0Wir9dYuwpT7IfNvNf9Eee8Srz3nVwuyl+m3gZXs5q9wAC3QaRatOlK3Lhmw3WdsW7SRB+nWZUAm8yCgpB1iNeNIuWuj+ryk0EGhf70l6j1ZKjJYZrARX6pvMI56dgKxkdOf7Bwcx/Q1y/fATXNHNpQ8KUwZSYo5lUDFcYwXhbMarWOCb4GEBzEccaozwmFSs7jSjN5XTP3f/2LYOEkmFgo7ut3VD0FNu87UK0sD9wWvDvqPhinpzcJCtqhQDkm26tehp5gseQr6Ytt3Lt1LDPG5/yWgTIXnwIhlpbue8QMRpZQ6VNgZ/3b/UTLZq3iQpUs7pnyMZIxe/okc8AQuWVIaUoEAAy1huslavc0zqA2IXwncXzDR6SmRBLP2mArc11VeGMPIiFho414S2Uu9E/HqOn0d90yGzfzQtux5R98y9WyWctQ9OjOWf5vUj1EZoEhijesH3cpiwkB1WCjD+8aEUs+wVJEivRm6TGvovL4RCE8+HI08Qgw6hsyqjmXI6aFSWnSLxHeD7n+UAP/U8i/M1Fz8QjazIol+kW0FR8hYf4378luiVIrHEhr3T8gWvTZvL3Dsu7WgAVcMGPrpfu4Fft+hw8+rM5LW7woM4d5i+tgyt8L98ctVFx/Rci4skk7kLxhCOTueFe7x7+esfNquakWXGkxB2DhcbzfT1UBEcquETIAdqQ6r9evV4BItVSly9Z6vPBAH0Z/+X5N54INym4k3xcSW1A/ErlPihW5yKHBMs5pqKNoOfh1BsRC5FFefVMyhH1qgz+8LF25NvaXKMRhf3rk7s4yl7IG//A9RchhMQPETNHnNC0bWg+WZK2lXxv8rRcnxEiSLiN+E32WjsHE2DyRXcCztm/yDpTsVIiwRRZTOejrxUKnci5KAF0Rvpjqr9Rl8Zz8ZzkSKbwUEwiqVa9P1EHPgOc5QyWc5mdD8+0MT6vEKat6t8vKcnN7yNWyci/aun1MwayunD2cG3U/ytXSc50lyGMi5WLL6KHLrjbNDs+GjH6S8KvyWMKjz/U6kDCqxYJ44LTX2zzj75BRAh76Ks0zhsxAuWxkUG/iYDnWGdgQzrfIQs3/NLbhFE91dFNi+Dw5HyYjuJSF61yeo4qhE0uO2UiLjEzZJ69hYVW9q1POdpztzCcQQeq78cpm6VM8GRm3UdCuemFxnyz7kcP+sqCOySh+nZrfNiDVwrRTOA0h7BwAsrQexGQPSeqo6hJaUtkOO0z4jj832TS5jtK2Ys9+wsf9QN74wGWjV+OTxcSmcKwftgfOBby//1aBPolIcuxoEZ+5CokNSdJbSwxRs0B+cjXpZHVdnLa8zZeqNGB3DgqT3m+WWvbXnaUCHD5cxOBbdVJDkFNMh4odCYfpEMEzAEvlAIpOgPg2i9a7D47q5gKplqb5GmA+xAZ3+kP1kr5fanNzEnT2vys/1h50D0mEoinSgOrONZeT601gWxEHqv2VSFUJFOEE3F3qlpGvpvSxoFIpE3RZJhMpgzKhREsQViFmvQXdtMHv2xajrqBJ3C3Bgub3BBeWrOiYcd3KFwYq+P66ezcNz62SErO3BhokbXtYiDAf2sSbi4zazs/moIoTVSNWrurxBDBKl4/WqX3RB9tywzz3Rj3S9gU51/mXttmTWeQIQC32Wv/6oOyUhmNSOsxngNnnABpOMgcaQw0R44fClHha5kQsRYFXnXJYO6HzQ2fvlCiAZmcPCA7znx5Qit3sQyGSaWyzdZVnF2aGLSKiucEqMjfu8cU0TWNmMjghpGw+vCWhtBpdeY0nxn6c2CK3WL5fOuR/WhkXjQ2zOaQ0qOaTXt1d8YPBtSvhn7aJyOw53hUiuoRbO3OwrUILR+wbwEZP3F7TRDJ9cnzpMG1sV/W68uCmELHcnlVOuQfu7eeaNSqPTPkobrCOdua0LDWGSM1Ufw13eRTiaj7sCW2bh11XIFoSW56UYluON+4eQQj9qOblXhaFyUdz3j7BEcmRj+Ul6x4FF8o618T3uSIalipHik6Zvt5EQ+/3QwxzbPv6pX6ixSoDHLcm/XqmscRcMUa06YuVrWbH682PG75n2luRPfsM0r3dVGYrTtv0d/NeLDIGpcpZOxWbFcd9c2k00VEnxPDkrHuwPC3Rjjani3eUC7locKGNAQiirA4qdmhZZ9L4f+xMag2Ibw3ck8CyqZO9N664AFDV56oknvD5Av1tYqY3/PqzPMDDEAVU6MhxTWRK8EiVfZi/xP+vc827V29+CUxUL89TPfWqvkxxwXuElrcq+p2Ix1EY4pwlhHYomRBhQrjzLM94b/w2dWwwlswDpNyiV3L93QxHeOHAjtESkcQnULC/PAFmkafNwIBN46K5krDv+feiFEKKGa48Aw5DnfVO0R+QMR8SClyidezkbH7qDfH2nu05RwUF+f/yylVrzlwWpKqvPBmsf/J6p8IO/bEnSyHIGf8fvA5cohIXlwo+j0LoB7qGRCpfvrIqBQG6UnGf7GdXnnlAIjBnN+Irxji9Jn3UbKpGUPAQ1+Ev2/W0q0beTqZ4d/hscvu5wMH4P23vJkOA478UFoiMCPxajG0ldktBF6MCwrt+/Dm3rjim4kRcL6aUHAp3OetzL6OrOP2yPQHkmgQGkjbq+S+nEO35zMyWiZOzk8V2JG+rNpWIompFYLpf9EmpaZCLShTXQpEiK+Kg1bLidU3WQjRsHCRK+NO9RvQCthC8unuzXTNjAnBdFjku11oT0wyDHePINBOjuUuqPyKGAvgQ+Bex+gJVS+5JNq7Y7XfI1GW9raR4oumYgJnlz718dlnZp3j2DhyGDJ1WiR2fow6CwaNgX6A5V1FFkAn2KSML+ikTYS8hwHICC+NQu//Dr5pBYnN5qIyfjaxl2fIfTC67ta0Z5SWnPwBG0t/Zbv7xmqETq1HwT5/rbiyRZsCK9ZWde8V1GWyfFZxtfN779f991sj6kS411dXif1ibQ6nIoBU2/FU6gsF8+yEYNKo0lbotMCEGWV14wrjMhHiDn5KIgRIJcjOik2CkXEn/QuFTm0/GvFHXBGdDWNVDyV50EeA2Tg4x8+TxKDNFlqjCNc7Dpjmfz6eray+lV8WGiZuaH5KBUR12m7dUBleyuSecn9/IALohO6GwBTBwRj1K2sdMQkTf7ANVp9vP+4jVo1OZF1XEMpw4RslP0kV5csV9Lns4WtaEX36BF0VPQ/lGXtHWdOTuWJy6lCQrJbMVHSV8YZSQvPS5ligrcevvzKEwjj2oSCSfd9UuqgZ9O81Jm9gUKdEAWv8Dkkcfdqiw3+Kn4LkN6tqgh4/kFw94C9YuUTF77hpHro8VkK2VrEqeXYT9ZDs9HCYoF05x8yQyZccDMfLYM3VhO4RoTCX9ZBajjhiTMf0xrzeTELxLg4Ok8muxTOMjS0upTecAOT1Lk8cVb0YHv1kkzssHYyTRAXxOsSuqMQ4nPaKlsBMINWbDp3PPmo6p8oK5OnPsejFpW5tgHwtgbslbpRQLaMUg8jd7EbSlUIxwSo0z3IWVLTym4uk4is+wzSYv5gLrZh4HHMVV1nUiO9Gw38jakz2a31A03OTtCiyY7IXXs7AzU6NfK1y0bD4PNdbtJ4QdcNWVnRXFuT0KZsstbyv5anLwTvPb1tIj9+Pa6g9ealupzpcDcHyo6WF8Ce3Jg6HDVPXnW3tKTiQT0R4w8MK0pP52FF/ORhSTWtZb376Yg7ojC4nPHkGSoSHpJMIHnbNI7eRBfhH/rjytiFsTDMvwIb5Vu9FFMj/Ypr1rPPC4OEg3n4ctrLxoWu2gfzRf51pU42HNUG4UCcT2risNjHKPlHyccRMzS7Zgz9OBjmRm3mXrX93fat53tsdImGQepkpLVD8PSmxiGORG703NII61pZMEemWDT1ia5wVyBJoPxirMD38ZMp2cSokUFs/yG9Z+toloVwN6Z+UuFKyx2DWEhGmIGC29CRTUMLx6xd8CYOmK5Cna0GaQthbgHnfbHI4xOJC6gQE2KansI2MxfQD8LRsCj4q053ggf8W0sd36SPl1odiCCdLOjUFHpGm+AP+n5+Z1CRP7Oi7oyfSPxZ1qR8RUDSdI7F4CNTtvvTtqNdkOyCKyZVMcQJFBmVUJuFUXGs3q0QK0dUbGxH33xZPXPGdSS0lRVZ+6Xwead+Ss9LFgxqhaqZ5Uw5jAAkrGVKO6A5aSwp/HAlIb12gehT42U66rmqrb4kQgMyPykFrE/YFyBlGe2RBDnyrxihQbjPcVos06UdIXVUuPDUplHl8/Y2zYnfiPJ/yKqwBHoB8D6fQ8ZhqthvQx/+m/+hSEV+2bTTzTY2ZCdNzY6l0Q5RoCYR/N3GWw3g3A4Vrt2oF3KwaPEK5ql+u0RFDgcA1+8OWgdL8d3CXUn7dIQ6n3tOokvUOi+w+NBwejddd2Y7tjxAhhB88WPxqLIHg4Gp/z4mWwKfnaO6flGBxvg/xigV4wZl5Ksm8f63qUrKP1fNcOtwEpDOYTf3HAwM/ZBHh577l+feg/3NXobayE55CHp8FJJC7ce5k0R/Yd+zg6E7g6lb8irVsF0lQ/PHj0+7pj5EOHGgAPEU7rTsM3gb49hwGvYezZomtweEWCkGfrE9QBzBI+awT0oFf5n9kDgjoL6eA/+4gPbczdvpi89ArBWZ+tK+dhrGDwxW40nkfzUc1XV3LuNo/claJsqQ1KILnjY0N1HAaLrwlVio+ItH8+VCKCEeC0JYhiyb+gtB2q/EICuGfPcaJKRBWmqrYD0dyc6kLKPeUgUK62K8HLyhNUW9h6WkQ3pQ4lu9RZlu8rP3PSd4g8tUNPwEK3wK70v5x51VzSiGPsuar2juJjzaKI/5PSIwP8VvPR0SidluPl2s1APUfMagucMDfM2FsWz/XSrGpWjGzfC6mmtC5jDey0+4MQJUCet91h7qdeU79z1r9geGW2hjZiqQzg8z+Hz129kLh1obBM3FO67XEZvvmBzXI5EWglRMmvq/ZndPquOzVlQzSuWJst/jzVyKaPCkCXPQ25FhxspM6c+PjaeKx88wCpQjVL7Jaefncn4O2NP2lOWzSZhQnPUPvGAJBMY5CUkpEMFXs2WtwB5gypSTH6nmC9NKgg+bVEjNtNdeHw1SK2ng2uJNttNIVojxj8KY+jF28qqViXwRBudgYbkm0A/hZZoV9Sopqei8VjpuKo9n44Z+JOyvPz1/AjXfuo7iaNp0LmL+MqPyv9W9H7mq6m/zf4AhgUGKMZKR59bd+xo0wf1MkNG9dWZRUOdOxlR/3JOQaFua9EmwAILmX3erCBeUV040+Pi40gZdQdz0LbZayiDDDEh5Y2oW6uyRtWundl8784kcoff+ee0TkzD5E7uK3NeV2v684AfPrE0Ni5nK9JhQGMwITAlJ/aVvlRFJiXQvbux4YGwWkrMy/nELltCP0jW8TncQqqIqicfBEaEqwuGlXRtMdpXpYQrql7FXnYbN8ckyp629cEy/PNHoAvUFvord9+EhwfN2PyLALBsGVPNTDbe7+2LsLT2YEvsXoGbl9XxegbPn5HbnX5juFKk+P7oBe9IslEiLe7OXgYmo9hrMMKUHjUAEcknuaxl5MYBlffa4ccXVoXe/Sx3ync3aLThKa7se9NJBeR6b8qxj6dvWkGlXKk8dzvzC0LIaXzfUBicD65VKsA2IjnIWh47DWgQiBhNthsbEdS2a+1KMp4/td9CQ/jN7NeO70kFcClZFuMth617SHw8LEzLEkmfMrwKAYL2uut4DFpoEY63fvgqRai5tcQP6W8v0Kzna5+sxKIHz+TIBQODn0AM9k6DHU/wPXmK/cVARgCr5AUg4a96ofvvBWohzFBjrhwU+6gUAUV0RyByQfZEL8BJsfsj4vRNmLRoZ+Y4QlyAGi1SdkDVOrfKLSxjjOGJamdLakMo+hSj6+h/De7JjU83G8Xpr7GmZtenK5JnyF6dfbC2Jhn5KX4jPjADL40CUF+tnyC5pMMmt15UX7LmzG3KUzKt47OPn7I03EUpQL19kW5ECAeUendxZdvxBEaYdjyX3qQsXsXTT7yfi7+qhe75rNev2BNtuzKvUrvObu60SdJ4+vHSr2y+hN5Ku+E+Z1puZeFUaKQ09DY9Sv9/MALoV/lp/UOFdNwkZuPxb6J6ka70I5SIG5UGesjKhOB6fwyesSaisViRZFHc1KYEUSQ4Z0/zRICMGG8kwmWjB0T74qqojrjekA1ahpF5NcGtFkZnWNIUGva78CT0wsAgjbCe4Pawr7wlk2oNiSF4+v8kzvTuvAAtKYpUfQoJaRCkO1cf/nQXEMY3qxJebRm8vkvrgcMvhNnFx+DNCaHPmxKDeWvZ3Bgyq3MhDXAXZpXfPUnxcLlKE0o8KFsoUs81n7vJcpAi0YN9iiteFY+KV7ChvgmNEwLd4t3LI8Ms7TrA5MAKkpUGJYUnaXaF76lrXPVIxPWQOVWkBt/4kUwYizZwf79xwTD0FAtxGN8XB35ArY9yQe2SI6ykK+LTuUdO4KBBay0/K+ItqnF7IDTMOvb6BRn//ev8BMc0Q1EgltuFDJ2R50BJyzUIgDGI4kg18V7aX5SenNNaloCxF8cLZ2Cbd7trBj1xJqtqAD3aprjXIhn9txK7wyYQnUfldqBrHg02nOg7m74pKMDXyw78XOGB9NKlomeckJZ6XlbndT4s7a3yjjGE3AkAZtjZgSWfOCfrxhrCOLzKTmZJwlUR+LGDZzNE24DLFe/PdW4HP0XXY9eRLMm61pjEroMZbP4JqeDjJS7/ukyTc0oNGby1uce5t78sCIvof92p4HZdt6qWnaEirh7DryiijJRheOPJlIi0Ob9eLSIXgprOfkFTEwi5Nu21rdPx6iUu695o5V5jq8+mQiXTFvZcBpn0UuzuXKyDc8o6ZexR2/60h5GE8Nft0r/aNnL+ySJd1VDo2UiD82IKH3vjkDlwQ6SPUVzK7wrPtgDHp9VMAW2kk1lu0xQqtwaPZtFuNWqsam1nNU2+G4zA1kZCjvNSi7Jj+U1+FCjRbeTx071ZUxeaSCUZeuprRZAq6H8py2HIQfivhhDEjHk0UtoH3jMMtkK3w+yd+1twsn5EesG4oWn5XTAK+oH1Fjox3mlYkqZOcrn8kQsKEKksaKzb8FR5y1IQvGWsAqoHT3j85gfLa8c66XmzsAQ8yhAgMLceLxnxgJCTLaBu+2SWkvZv9bKwlx1pR6JcXftrKWk8qIyOcnY7ydSpafykALfQWbLNogZxm44Rt4U/TyhvQSHHnsB0DGdFJJZmIdANNnrtcQCEjmuX1EuVozmOdncAHF72F6a7MwC3I86gyZPt4cXw2C+SSfc7Fn7xVOM6mGymnKEsXChExGFpPZvMu+KAHFKp9WW7qguyVmjR8ts3lDRwamxBObeUqawZfe1k0DO9hkaBDpMcFI5wxwmRhEOH8uJnG7Xj0ADDMvWR1IuMv4SWah128OcQ7K3Q2+e2si5b9KhtsVK4GSArdCGP5lb4P/Nkb61segQGXmABECCJCW7+OHDtNnTzwGmBDiOX0gZ0bhfzxJuC8C4e7ykO0zP2tdoLUEiaWR9Cb9e5xV5Qe4LiiFu/i0tl0uFg6dgxbAJup2JGCaEHy3D2RfkJ3BUUsTp5SlQ8LPQmpEBUQrVIO3pvVZRrUwHSN2VpEiQkUnTkGK80KW95ExGq1ZJ3fOt4F9RO5GDKhl3vyREosiOKdgFJApshAOSlU3n8DW3Gpz0XzFzUrHMPiVioy3J/UERlIuy9PcCmA6CxoOKGyXe1zQKXCbBOefcTvXVpmWuBQHdxdRTpQ7dOZ+CnNBqkWp9/uBVvM8aLMvvmvjC9RY2SrVyXtxxBzQoKKTo+4wjMRBlNDTvPU12tBNQNWH2IHR+ZJZ9nMlQQZuiW5cYLHZGWM07a0qJR6I6J9CqtnMzkGpXsz1HoU/G1zVj7JgV+0dBfDOoLCbE1FUw1MQPRTqjkCai7sHuLt9LXxvQvnCxRFidzvIErTEcP5lPsgJDKuSdKGo0GsJPfjKpnuFSmjPVu4Of4neTmS1HAAt9GQeM3nDU5uGXudKLocBSvT2HWnUcrCGzDyqTx4ukrTyAq3CEOsOQhclbPqsk1fn3elGDLBcxJ86rBOrdOwlKiBYoEoCU7OjEeZVcupr1lMB12+v4kadibrmn3Xl82kBeh+JxEiBNxYcWPujnVhy9iiTh95Ppj+iZOS0HWERJpj5Xz1/BS8C4vezwZSY/7i6GdfkSO0bxtZpyPTZ6b0ROrlpx9I94EqbmSWieu7ksci4SyGflSjf5LW+kTv6bqUenUL5MdjdFbabTyCJxHzc2/Ab0C2fukLgJXOjH1P1SYw4K/nDGTOUV7EKaeO+862lB49ytBiDLd5SAcjFu+IFnSiHdT2qr2WD8jpzKSj9XIGk34eb2CMieAkc2ZrW7M02FBZ/6SyQ4M57aECBL+mgIKFYBdIuCqcHqRR/d4uqww34wDqQjHr+h/QTxrcl9Y5b+RKWSo5bo6ROMe/5+t+0SDc5R0ZY/SrthSBuiX8knkLkUjk4AdQlLfDMTz+GlbEzUAQzoESBWkURTfytoAR5uD+Kj5Hg8gkjfp3g/sD3qGeQKPPuyxOrfl53UhNzTy8V1RRvPE8zpTZqooILhIdU4yBfGTOP+pOqIbT96ghGGlPCoOmrlO0AqNv2E5rYd7KGYardFRb77o0JP2A/ly/C1Y2IbMZNglzCKDmCGkdn5LpSEUtAVqxiPX8Lpz8qG8aKjOVgwjxHcsDpXpY1/YkDCGgHOhIjpdXNdC5o0Rl8KkgA8PT4OWMDclJ3VSARnjAy3LDja7BF5ITLBMwIMrQU+N33EXeI23s/XUqoExrsoxQabI7SRt/14vQsYGe4uchWlVaq5Ccw4CrNzlrKsGUSeqV7Ky+O3BSNnTr2mKlF3R8WY4CPDzvNGDOGduSGWuwISQrUGNIbe1GNdcfPPSAF+ZZAVdYTmwa7Tg+9h5LY1DSuz7YiSinQndSB6zOVEb+M0wribRewjCEjpcoK5u0uIhNQgBYg8qsIEkMrVTwuGrN3+LT5s7CWy9G9VbX1F/dXGL979WcINu7Cu+OdnW2+5ijqIGDTb6q2O/7MfHXg2IAs9xspPqE44GkmVAZ1ViM4rIJwRWCrs5E6CVwkhwDI2rQF7Fv2mqGcBoB5t1jvzLdozlwjHhbHHb5WeCrqj2hs304yYH5EPBCzp4bzfiaG7MCCxz1mdwJD1e5ZJlPyrFdfM9KUZ7GhoDJbHZ6MUaXFwBJrS+Ssfci0XqfSHHGZLMStWXry927l1zriwekq+W1CtYxDCpLlFeE6XyShAdTdhrQEES01P8vcMG88gshNt0XzjJd26kfvOKz3pKPmAdTlBW6AgdkLgKIcVy+eKNC8/2s3f3MvFjfwtvYBzy5xYvXR6LKevfnjVB3clqNTHBg26MT4hGi/6GZXlYSV6jDvVP9gvR71hqH0//lrhWk/qGTozRSgzJDDJKxsBB0BasLGLWPyV27MGMxs7lHD7IRDVY/KjlrPxVIswgpNaVHiTNtyjlkEanoYewvXNmnc7PJbqcr0h0VgO5Kr9v7qWUxwpj40CByuQR7JXWtzS1kQyixDnegHhBmD+Lxqn6TpJH2OBQ5COnTUMDYiDPMEfD+KBztdUy0P3SEcp75KPMGDklkwsLgyTNODGs6LRP786X64WoLWJYzi9ehS4PChv+mMUEb88hmS/x/yYpduLxmj3Qippm2nHF8koIhUOkzICEAPVsf+K76UhnAESLQQDWDdWAu0fAD4G4vl8y/ZV+atd495O8kPiZ9ROO6Fkd+swec8osko51Co9bdZYdL6tkXT0kSXmErI1/N92H0W9OlfphBUKO3X9Z1ORzQSHKLVE0vdPct6sGlXhkw3LJAq5QKR3u4QW9aIUijMSFgEbKfEPJB5RE/wyI7jqd6F9dZyhb6I0bpSL5I2yGbBtyk/YGQ3ll6847KxAyMU9ywoYQDYYoEQagETFPznrQePuXDGCAq2K8A40Ici/iD3MjhrBzfDG5QudSqXwsuQW6KQiWVFXbP7ejrHJ7PjIkfgKU5uwpWg11s83mAyL1T6ZuqIwwqrDeUYqJwAhQaREt3kMQfyUwF51BvVj2IBQIGMIq8UbsNjfn/9epieu0ssY5MCLcsCrDmZuNSqE5HBVc7PmWQB/8i+T6ciBEYKUQOfi4QdOpJ06vOxD+rfIFqj9Y62G0KqnWYN78JozDQn9LQL7KLo2j27HxcroG6CwCq5ipPU2SglPP58Z70OoyFqE5UDJ5rVoMavUFI5honEm0kBuWvh6ZwWQ7MXQtCwvRAOOEho0Tt5HTGMN19nhjUx78kw/1fwXhke3vNleByHPVwEbuALTALwXFbV40YPEyXMXvEQ972S/+kK5GSOxYtpjZU7QDytYA7FnIH+Njz7BcJO95vPhBoBMb+83PVRtqYJzrUiU23iKfrd5rxtsDI6VImE55r3rDICxe1zw+nJ49sXyux1EPCD2n6VtQJxg1KROxw4jnyIjM7L45Ar+mbM5HSmYA2r6W9rro9JjS6w/WbQt2ptdKgMHz6a50+yWm71kqqJ+IqGqM7OvaZpDdikNFqDCq1qSYTIcXr3Gp3Xeo7SMIMdVrJEZP2i/VUiLFa5U/uHqMxb9Z60koEjTBnP8KmWuCiWKgwyeD711UR6EZ+qovI5GRu4/A2peNRJetCIV2ekaPqQA/3hXvFlpHytFuUlBnB+ReG2GDzMbRZQ/ILF3ErYDFeiCoQCMTVsv/FjsH3D7HeMUTDhzn0D9op6CdB2s0ziukMfY9akeIEqqA6ze1G0zLOb0rdjkkXV7hNJCYMqzzd4p/+fpFlBjleq2Z9I+auLD+wb5xftPRSy2ofjlz6GC9nKBAvcfl2Zcy1JkBJcakvxoGAmd0vGOIBSgCOhsacFm5bR6tH5DgM5KTuQttS6WW5ZcZmZkq+vFfotA5x6WuExIZ0twhfDZxnEyy58/S8SD3NB7VAjm4Corf1Im8R8fUXXloWYSa8LOoN11JSOVPNo6hfDVqIbYtLaZU6LZeC3cMMO0yEQcRsEbZPUhF2dUNwqEE22ZpDqLGamtnDlVW70Dk/FWF6L0pfoDLJqh4jjKv3y+PaasypRr64nvzV2EFJ4ZVTRs323uvoS1H1aaG6La4iHJNa075Q8/eayR+WPJIWEW7r0vTlcpL+tZzhnHYvJyfmb+thJP/RC58KawAK9SsCdOd9Vut5Kt9tLhzjcP8qVul7WT2NxeswiOSPRBG6cOiZF5Ch9y65dpZnVaN2wf0+5MdngxwDAO/rL+9YX9k2iwLfqCvtxWVbctlVxtRBLApcefajt9+lGQlOtdayhYrrMTbyCgXEQmsWa+pztQiTmZgWpkXpbiDV3J/0oNGfYWymHC+cP0QGOW0yDlmfLKiib7Y6Y7BISx2em0C+/Rpjg4Nx+0jX8pyujOE+Exa0d0vyMLjZZok6VmmpNHYZuvHBo9kiXs8tTZLCYlkFyerhBDqbF0Q0DKEvuD/aUusGAY/43nhzrCskkdQNhmE2WSLMlfBt4QO1/3YutfvOWUviMNQa0clCuBYwqhVlhIUg8A2Ftwrgv3oKigMkN+LVtEOwOMIFusgDVr2+HedyBtrMb5kJDJzdxD1ARtGU4bjePHFo3a7FGftOn/wFYyIy7zAqBfZ+rACxBWqvd3EjEyEB8J7zQ5ub7WwUTP/BBQdZpnX9n9l6DBOelZchaC05XIIKBJR2Ef2LptMX19Q/HtgduWFz3wOMOjk7/itQug/obzRWWl47G5MxTKrJUggzVNAZGxSVFKO1267HJU1JT63i2Noi/DUFfaNfMxACIGIIuvuC7Glwt6ARedrWUz1T8uzElqncd/4h/PC8pd6Wp/Zp6UOlMw7aGTvYPeT0T1fIVdixSKBTEeYrFr44VlouyBKfHKgziMv3mX/r2tmUSRPJz7BYTliEPBoZEs7Yv34MTPdycxGbK6Y51/CpmAwEJOZwvtXx0AdRAoi33EJiNE9V6OuF2ipSv4l3hGMlqSlCQwOuzrtN1XTzg6z7lHkP+5fFkbJGxtXqHRtwXjg+j1+Kb/WwSb1jJbAR/Z3ObGoE0LbIGeX16X379S4no1Ys0dhrqT+3v8NTzbKgXPCFaCRWVQPpcUeBsm8VHEMu2IrL6U7yVS+EHY8rq3Le5fTqRmVDlOGEz0gtTUnx1EkgzTqbhMUWF2LXk8+JNp55piOiSXahVmY8QIsuWikteKOCynUe2YOn6mH2f77xhiajbx0vU1P36xaamyCG87whpFyRqXKEkn0ZBXUycbflx0mCaxHUEGEj9OENjFgX5TiCdzQTSRTHEUeGQ5QZ/FgNF0zEco4LJGqEmsUXRJTrRgmlhksyqcrfoRNLhvbGZeJWZaSAdbhsUs/rwtkelweuKhJzd2RCG6R+5nBcxGXSHiXJ3pPwEpFzIKreS416R5wmCA0PeQHfSOrUZHXc2BH6uNQaQSP2iGxeHjvyztJ1nXXC6ZK4KaSSygdUqE3xjs7F6rAO+E0C91StVuVh4hVtCQJ8EEcD7507PeB3C5kqUJDAHBdZtzCpvwKX40Jcpa9eZ5xA+ne7ZF5cHShsR1lqvF2d7J7woA1UDhwaewUql9FSVrsm32vqFNLCInXua3WjH4MYRXYEUb+LY/VYfYu4hYqv06HFkWPtbyDInTZi5NLO44TogjjN8tcbvrMyltoa5V+mwN3cGi4F7NC8pYOrwuQST3adwqUf5daEM0IW8EVAz0qXsAmYzF6WO+htj/fDL7MnvzNod/NyNwN/L2FY8pO0DKSr5k8QDs2rKjbP5dJCLKNYHHQwiSN+d+QDFreh0k0qL9KrHEm7qhVmLjr80n5lTsjJeyPItg0U7/rYhfR41NLycTmcT2RQMWRBshFVy7rdyRLyHb5HHIwzsEIARdxPeoWb8OItdUzkUZ2cTGs5Vyz/xwo/nx0hBRM5X27sxObkr2zchDfEt1W0TB8VlrnsbUvX4Y0/OZqCNYH5+sGS0BAHEOE62XHwo/AQpY2PBeSBhavn9IfDPnaPjVt7UEPYHA1v/F6dw8jXKb+NcbtaSqRMmlcKyGo83A7YlySRnoXrdqKMr3PukXJ5N5+vHShE4YKWRAPvKFA1OVC/NHmOvxmKfsRVXgJe+mpBPXLt93vIz/7RPh5Ql94Brgi3fgl2CqVXyjcMmX/SKXQvK8F5JQ5NPwVPMfZWrEG89YYcidkrT25ElfLT2b4cIlf6Wsmi7iF6Fw2IBsSNGZZWib/v0rQiJQAxu59oNqeu1iTXQfxj0khXP7UYhSVTC6B8S48Rclvntb9WrzIo1RKy8wnbNbchW8n+ofTmXBVy3iAhJzllviIZXncyEBG3cy5eTJYx5Fe06USvTax4h70PdqiIjsrGlkwIiMGpZa2D1lxM7CJImREoRk8uz96Vdk9Zh/toFVwDMm4fqIyu7I3SS6IdsbHmddThLRqmk+wLYJxaUQuAkTPvbzjuARoqNQK4jq/hwLrz7EoSq8UYp5IprvgFUPqgJeey5A303nz2hYyrncBfx2mNxKTtSdbUjSrpqP4n3ayQttnA++lRpofnnRhEV8hwV0Xrtd+2TDojBJcEsvHge8Y2Gfwsr8ozULhRDLY2Tt+UmjjqXBh0rDb5DDXDeJR2qAg1sgkQXhj+PSL4QM6yDACFk4lneMpaTft5pBih49tZmVeJCrbuaciBsKk/+aIe/RK41W+g4mb6nR8Q5ThKNhsPnwC1RjfxvkdgzC9WXfCNBgguSOqG/+xAJpZu7M6d9KIQo7zNosuvBx3yhZY2parIj5ySz8ulYoUbKSOZ/PQw9M+ahHjHV5QMTwBUdfxh0Wwf//3IU3nyxu7BWKtPpzI+1geygaU1bL3HHW2h70Q7dy9PAQNQF+DKbAf97O9Fs9US5QkoWVFiIJ3q4huGMIlLP432DU4OuxBFsia7HI1ctucnorfN9IUu4EuZJFvhuClCID+Nb8r+pWdqC3SN37fnczDxwmlWl5ggzVupaWeriYXXcaiqkRCKrU77lT2vJWmDCiQN0kH0L/xuKpy4ByM+tyeKVajqI5vQHNnZaZoJdsZWelIrPXLpH5kjpfAGX8Tiy7KLIB6wM5vPySkdrQ3CeiS7wKKV744BrkpMZX1ehgOR6UDPmVQVFREiSQD5zTxaLodJ0E4d1jZzr8kzZDNK8g1FywFguifGXOrTuFi4vrM/t/g8WBy0yI9NfnHLOuBLBsrpZpLqBGbMAXWyRoF/VAjvtXPdsvplKkihZFQ2i5UvroFDsmSUriZYSaN2FW5PvvxaJ2kJ+7xHPYNA2VyDxBUffRwfUWEEs7Y00E/UNJ7L2IeC7SwhML1bxv/1jnxuWgDQuevQPqyJKzgniwi9nglNt48ayFkhP2s9YJ4GEc2f67yL6OKten1f0TmeT0f8zJ4Gd5gwH8+oeSWJZL6pcmizB7EYopALHCycZcafSr8DeZ/McYBmU5JpNJbt8RbMqPQNvFCwvuO9jePemHGrmudp832K1utrpfmnuipb5heS3MIlHeyOqPL98x/kYq+RfWLg3KeXzPxQaqW22yaW6IZXfSaPCX0kH3xAMlol+ss055nXrX/lknS4u1nmUb/DWtQ3FrCQgUUw0e6yo0LLNTKz3LoX8S/KjHHNN+vTJQGcsvnoJYRrFh9/1oQNmdnUKOfPC/LOG+F1SzRcm83wvbWPsSjfb/BV0dugpd3QbtTLuMLQq1rLcg7sw3vhqT5FmkXO1W57efEqbOkX0HBvD4Syb5Ms0wm/1pUUwMwd1VFXzcNpcL+jk6OW+LE67MyxYKrE" title="Mekko Graphics Chart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334962" y="1268414"/>
            <a:ext cx="11522649" cy="5087462"/>
          </a:xfrm>
          <a:prstGeom prst="rect">
            <a:avLst/>
          </a:prstGeom>
          <a:blipFill>
            <a:blip r:embed="rId9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101" tIns="32101" rIns="32101" bIns="32101" rtlCol="0" anchor="ctr"/>
          <a:lstStyle/>
          <a:p>
            <a:pPr algn="ctr"/>
            <a:endParaRPr lang="en-US" sz="1606">
              <a:solidFill>
                <a:schemeClr val="tx1"/>
              </a:solidFill>
            </a:endParaRPr>
          </a:p>
        </p:txBody>
      </p:sp>
      <p:sp>
        <p:nvSpPr>
          <p:cNvPr id="10" name="btfpNotesBox386846"/>
          <p:cNvSpPr txBox="1"/>
          <p:nvPr>
            <p:custDataLst>
              <p:tags r:id="rId3"/>
            </p:custDataLst>
          </p:nvPr>
        </p:nvSpPr>
        <p:spPr bwMode="gray">
          <a:xfrm>
            <a:off x="330199" y="6196568"/>
            <a:ext cx="115316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One review might be allocated to several clusters; *% of reviews including positive or negative mention of specific theme; ^% positives in all reviews mentioning given theme for player e.g. ~60% for feature1, means that 6 out of 10 reviews mentioning theme of feature 1 were identified as positive; analysis based on representative sample of </a:t>
            </a:r>
            <a:r>
              <a:rPr lang="en-US" sz="800" err="1">
                <a:solidFill>
                  <a:srgbClr val="000000"/>
                </a:solidFill>
              </a:rPr>
              <a:t>upto</a:t>
            </a:r>
            <a:r>
              <a:rPr lang="en-US" sz="800">
                <a:solidFill>
                  <a:srgbClr val="000000"/>
                </a:solidFill>
              </a:rPr>
              <a:t> 5K reviews each for competitors across 2019-2021YTD; YTD data till …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Google reviews; Caplena</a:t>
            </a:r>
          </a:p>
        </p:txBody>
      </p:sp>
      <p:sp>
        <p:nvSpPr>
          <p:cNvPr id="4" name="BainBulletsConfiguration" hidden="1"/>
          <p:cNvSpPr txBox="1"/>
          <p:nvPr>
            <p:custDataLst>
              <p:tags r:id="rId4"/>
            </p:custDataLst>
          </p:nvPr>
        </p:nvSpPr>
        <p:spPr bwMode="gray">
          <a:xfrm>
            <a:off x="12700" y="12700"/>
            <a:ext cx="168883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/>
                </a:solidFill>
              </a:rPr>
              <a:t>6_84 14_84 17_84</a:t>
            </a:r>
          </a:p>
        </p:txBody>
      </p:sp>
      <p:grpSp>
        <p:nvGrpSpPr>
          <p:cNvPr id="17" name="btfpStatusSticker493588">
            <a:extLst>
              <a:ext uri="{FF2B5EF4-FFF2-40B4-BE49-F238E27FC236}">
                <a16:creationId xmlns:a16="http://schemas.microsoft.com/office/drawing/2014/main" id="{63EA260A-5903-449D-8CB0-1026CC6BE50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947956" y="955344"/>
            <a:ext cx="1761444" cy="235611"/>
            <a:chOff x="-1630959" y="876300"/>
            <a:chExt cx="1761444" cy="235611"/>
          </a:xfrm>
        </p:grpSpPr>
        <p:sp>
          <p:nvSpPr>
            <p:cNvPr id="18" name="btfpStatusStickerText493588">
              <a:extLst>
                <a:ext uri="{FF2B5EF4-FFF2-40B4-BE49-F238E27FC236}">
                  <a16:creationId xmlns:a16="http://schemas.microsoft.com/office/drawing/2014/main" id="{8A927D44-74A1-4A3E-9059-12168337A9D8}"/>
                </a:ext>
              </a:extLst>
            </p:cNvPr>
            <p:cNvSpPr txBox="1"/>
            <p:nvPr/>
          </p:nvSpPr>
          <p:spPr bwMode="gray">
            <a:xfrm>
              <a:off x="-1630959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Preliminary</a:t>
              </a:r>
            </a:p>
          </p:txBody>
        </p:sp>
        <p:cxnSp>
          <p:nvCxnSpPr>
            <p:cNvPr id="21" name="btfpStatusStickerLine493588">
              <a:extLst>
                <a:ext uri="{FF2B5EF4-FFF2-40B4-BE49-F238E27FC236}">
                  <a16:creationId xmlns:a16="http://schemas.microsoft.com/office/drawing/2014/main" id="{F9BA4DDC-F0C6-4FD4-B3F4-0CFD2FC330F0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630959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Oval 5">
            <a:extLst>
              <a:ext uri="{FF2B5EF4-FFF2-40B4-BE49-F238E27FC236}">
                <a16:creationId xmlns:a16="http://schemas.microsoft.com/office/drawing/2014/main" id="{6417C725-B30D-42B6-BBA2-61A036693D55}"/>
              </a:ext>
            </a:extLst>
          </p:cNvPr>
          <p:cNvSpPr/>
          <p:nvPr/>
        </p:nvSpPr>
        <p:spPr bwMode="gray">
          <a:xfrm>
            <a:off x="1316736" y="3199774"/>
            <a:ext cx="539496" cy="539496"/>
          </a:xfrm>
          <a:prstGeom prst="ellipse">
            <a:avLst/>
          </a:prstGeom>
          <a:solidFill>
            <a:srgbClr val="CC0000">
              <a:alpha val="50000"/>
            </a:srgbClr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rgbClr val="FFFFFF"/>
              </a:solidFill>
            </a:endParaRPr>
          </a:p>
        </p:txBody>
      </p:sp>
      <p:sp>
        <p:nvSpPr>
          <p:cNvPr id="16" name="CommentBox">
            <a:extLst>
              <a:ext uri="{FF2B5EF4-FFF2-40B4-BE49-F238E27FC236}">
                <a16:creationId xmlns:a16="http://schemas.microsoft.com/office/drawing/2014/main" id="{CDBEC3F1-4A0F-4DAD-982A-4E4F9551B9F1}"/>
              </a:ext>
            </a:extLst>
          </p:cNvPr>
          <p:cNvSpPr/>
          <p:nvPr/>
        </p:nvSpPr>
        <p:spPr bwMode="gray">
          <a:xfrm>
            <a:off x="9118161" y="893031"/>
            <a:ext cx="2771886" cy="308840"/>
          </a:xfrm>
          <a:prstGeom prst="wedgeRoundRectCallout">
            <a:avLst>
              <a:gd name="adj1" fmla="val -40000"/>
              <a:gd name="adj2" fmla="val 40000"/>
              <a:gd name="adj3" fmla="val 16667"/>
            </a:avLst>
          </a:prstGeom>
          <a:solidFill>
            <a:srgbClr val="640A40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>
                <a:solidFill>
                  <a:srgbClr val="FFFFFF"/>
                </a:solidFill>
                <a:latin typeface="Verdana" panose="020B0604030504040204" pitchFamily="34" charset="0"/>
              </a:rPr>
              <a:t>BCN: Requires Ratings scrape</a:t>
            </a:r>
          </a:p>
        </p:txBody>
      </p:sp>
      <p:grpSp>
        <p:nvGrpSpPr>
          <p:cNvPr id="27" name="btfpRunningAgenda2Level937352">
            <a:extLst>
              <a:ext uri="{FF2B5EF4-FFF2-40B4-BE49-F238E27FC236}">
                <a16:creationId xmlns:a16="http://schemas.microsoft.com/office/drawing/2014/main" id="{972420DB-1BB1-48EB-8214-5565135498A9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0" y="944429"/>
            <a:ext cx="3631469" cy="257442"/>
            <a:chOff x="0" y="876300"/>
            <a:chExt cx="3631469" cy="257442"/>
          </a:xfrm>
        </p:grpSpPr>
        <p:sp>
          <p:nvSpPr>
            <p:cNvPr id="28" name="btfpRunningAgenda2LevelBarLeft937352">
              <a:extLst>
                <a:ext uri="{FF2B5EF4-FFF2-40B4-BE49-F238E27FC236}">
                  <a16:creationId xmlns:a16="http://schemas.microsoft.com/office/drawing/2014/main" id="{92FC5811-27D8-4702-8BC0-E8947A8260A4}"/>
                </a:ext>
              </a:extLst>
            </p:cNvPr>
            <p:cNvSpPr/>
            <p:nvPr/>
          </p:nvSpPr>
          <p:spPr bwMode="gray">
            <a:xfrm>
              <a:off x="0" y="876300"/>
              <a:ext cx="3631469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20719 w 1120719"/>
                <a:gd name="connsiteY0" fmla="*/ 0 h 257442"/>
                <a:gd name="connsiteX1" fmla="*/ 888065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289034 w 1289034"/>
                <a:gd name="connsiteY0" fmla="*/ 0 h 257442"/>
                <a:gd name="connsiteX1" fmla="*/ 1065998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390025 w 1390025"/>
                <a:gd name="connsiteY0" fmla="*/ 0 h 257442"/>
                <a:gd name="connsiteX1" fmla="*/ 1234313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4 w 1390024"/>
                <a:gd name="connsiteY0" fmla="*/ 0 h 257442"/>
                <a:gd name="connsiteX1" fmla="*/ 1335303 w 1390024"/>
                <a:gd name="connsiteY1" fmla="*/ 257442 h 257442"/>
                <a:gd name="connsiteX2" fmla="*/ 0 w 1390024"/>
                <a:gd name="connsiteY2" fmla="*/ 257442 h 257442"/>
                <a:gd name="connsiteX3" fmla="*/ 0 w 1390024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1 w 1390025"/>
                <a:gd name="connsiteY2" fmla="*/ 257442 h 257442"/>
                <a:gd name="connsiteX3" fmla="*/ 0 w 1390025"/>
                <a:gd name="connsiteY3" fmla="*/ 0 h 257442"/>
                <a:gd name="connsiteX0" fmla="*/ 1558340 w 1558340"/>
                <a:gd name="connsiteY0" fmla="*/ 0 h 257442"/>
                <a:gd name="connsiteX1" fmla="*/ 1335304 w 1558340"/>
                <a:gd name="connsiteY1" fmla="*/ 257442 h 257442"/>
                <a:gd name="connsiteX2" fmla="*/ 1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1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0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0 w 1558340"/>
                <a:gd name="connsiteY2" fmla="*/ 257442 h 257442"/>
                <a:gd name="connsiteX3" fmla="*/ 0 w 1558340"/>
                <a:gd name="connsiteY3" fmla="*/ 0 h 257442"/>
                <a:gd name="connsiteX0" fmla="*/ 1710625 w 1710625"/>
                <a:gd name="connsiteY0" fmla="*/ 0 h 257442"/>
                <a:gd name="connsiteX1" fmla="*/ 1503618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808857 w 1808857"/>
                <a:gd name="connsiteY0" fmla="*/ 0 h 257442"/>
                <a:gd name="connsiteX1" fmla="*/ 1655904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994805 w 1994805"/>
                <a:gd name="connsiteY0" fmla="*/ 0 h 257442"/>
                <a:gd name="connsiteX1" fmla="*/ 1754136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2155105 w 2155105"/>
                <a:gd name="connsiteY0" fmla="*/ 0 h 257442"/>
                <a:gd name="connsiteX1" fmla="*/ 19400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323420 w 2323420"/>
                <a:gd name="connsiteY0" fmla="*/ 0 h 257442"/>
                <a:gd name="connsiteX1" fmla="*/ 2100384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0 w 2323420"/>
                <a:gd name="connsiteY0" fmla="*/ 0 h 257442"/>
                <a:gd name="connsiteX1" fmla="*/ 2268698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424411 w 2424411"/>
                <a:gd name="connsiteY0" fmla="*/ 0 h 257442"/>
                <a:gd name="connsiteX1" fmla="*/ 2268699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0 w 2424410"/>
                <a:gd name="connsiteY0" fmla="*/ 0 h 257442"/>
                <a:gd name="connsiteX1" fmla="*/ 2369689 w 2424410"/>
                <a:gd name="connsiteY1" fmla="*/ 257442 h 257442"/>
                <a:gd name="connsiteX2" fmla="*/ 0 w 2424410"/>
                <a:gd name="connsiteY2" fmla="*/ 257442 h 257442"/>
                <a:gd name="connsiteX3" fmla="*/ 0 w 2424410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1 w 2424411"/>
                <a:gd name="connsiteY2" fmla="*/ 257442 h 257442"/>
                <a:gd name="connsiteX3" fmla="*/ 0 w 2424411"/>
                <a:gd name="connsiteY3" fmla="*/ 0 h 257442"/>
                <a:gd name="connsiteX0" fmla="*/ 2592725 w 2592725"/>
                <a:gd name="connsiteY0" fmla="*/ 0 h 257442"/>
                <a:gd name="connsiteX1" fmla="*/ 2369690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4 w 2592724"/>
                <a:gd name="connsiteY0" fmla="*/ 0 h 257442"/>
                <a:gd name="connsiteX1" fmla="*/ 2538003 w 2592724"/>
                <a:gd name="connsiteY1" fmla="*/ 257442 h 257442"/>
                <a:gd name="connsiteX2" fmla="*/ 0 w 2592724"/>
                <a:gd name="connsiteY2" fmla="*/ 257442 h 257442"/>
                <a:gd name="connsiteX3" fmla="*/ 0 w 2592724"/>
                <a:gd name="connsiteY3" fmla="*/ 0 h 257442"/>
                <a:gd name="connsiteX0" fmla="*/ 950800 w 2538003"/>
                <a:gd name="connsiteY0" fmla="*/ 0 h 257442"/>
                <a:gd name="connsiteX1" fmla="*/ 2538003 w 2538003"/>
                <a:gd name="connsiteY1" fmla="*/ 257442 h 257442"/>
                <a:gd name="connsiteX2" fmla="*/ 0 w 2538003"/>
                <a:gd name="connsiteY2" fmla="*/ 257442 h 257442"/>
                <a:gd name="connsiteX3" fmla="*/ 0 w 2538003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36749 w 1136749"/>
                <a:gd name="connsiteY0" fmla="*/ 0 h 257442"/>
                <a:gd name="connsiteX1" fmla="*/ 896080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2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457351 w 1457351"/>
                <a:gd name="connsiteY0" fmla="*/ 0 h 257442"/>
                <a:gd name="connsiteX1" fmla="*/ 1250343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635284 w 1635284"/>
                <a:gd name="connsiteY0" fmla="*/ 0 h 257442"/>
                <a:gd name="connsiteX1" fmla="*/ 1402630 w 1635284"/>
                <a:gd name="connsiteY1" fmla="*/ 257442 h 257442"/>
                <a:gd name="connsiteX2" fmla="*/ 1 w 1635284"/>
                <a:gd name="connsiteY2" fmla="*/ 257442 h 257442"/>
                <a:gd name="connsiteX3" fmla="*/ 0 w 1635284"/>
                <a:gd name="connsiteY3" fmla="*/ 0 h 257442"/>
                <a:gd name="connsiteX0" fmla="*/ 1635284 w 1635284"/>
                <a:gd name="connsiteY0" fmla="*/ 0 h 257442"/>
                <a:gd name="connsiteX1" fmla="*/ 1580562 w 1635284"/>
                <a:gd name="connsiteY1" fmla="*/ 257442 h 257442"/>
                <a:gd name="connsiteX2" fmla="*/ 1 w 1635284"/>
                <a:gd name="connsiteY2" fmla="*/ 257442 h 257442"/>
                <a:gd name="connsiteX3" fmla="*/ 0 w 1635284"/>
                <a:gd name="connsiteY3" fmla="*/ 0 h 257442"/>
                <a:gd name="connsiteX0" fmla="*/ 1635284 w 1635284"/>
                <a:gd name="connsiteY0" fmla="*/ 0 h 257442"/>
                <a:gd name="connsiteX1" fmla="*/ 1580562 w 1635284"/>
                <a:gd name="connsiteY1" fmla="*/ 257442 h 257442"/>
                <a:gd name="connsiteX2" fmla="*/ 0 w 1635284"/>
                <a:gd name="connsiteY2" fmla="*/ 257442 h 257442"/>
                <a:gd name="connsiteX3" fmla="*/ 0 w 1635284"/>
                <a:gd name="connsiteY3" fmla="*/ 0 h 257442"/>
                <a:gd name="connsiteX0" fmla="*/ 1635284 w 1635284"/>
                <a:gd name="connsiteY0" fmla="*/ 0 h 257442"/>
                <a:gd name="connsiteX1" fmla="*/ 1580562 w 1635284"/>
                <a:gd name="connsiteY1" fmla="*/ 257442 h 257442"/>
                <a:gd name="connsiteX2" fmla="*/ 0 w 1635284"/>
                <a:gd name="connsiteY2" fmla="*/ 257442 h 257442"/>
                <a:gd name="connsiteX3" fmla="*/ 0 w 1635284"/>
                <a:gd name="connsiteY3" fmla="*/ 0 h 257442"/>
                <a:gd name="connsiteX0" fmla="*/ 1803599 w 1803599"/>
                <a:gd name="connsiteY0" fmla="*/ 0 h 257442"/>
                <a:gd name="connsiteX1" fmla="*/ 1580562 w 1803599"/>
                <a:gd name="connsiteY1" fmla="*/ 257442 h 257442"/>
                <a:gd name="connsiteX2" fmla="*/ 0 w 1803599"/>
                <a:gd name="connsiteY2" fmla="*/ 257442 h 257442"/>
                <a:gd name="connsiteX3" fmla="*/ 0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0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0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0 w 1803599"/>
                <a:gd name="connsiteY3" fmla="*/ 0 h 257442"/>
                <a:gd name="connsiteX0" fmla="*/ 1971914 w 1971914"/>
                <a:gd name="connsiteY0" fmla="*/ 0 h 257442"/>
                <a:gd name="connsiteX1" fmla="*/ 1748878 w 1971914"/>
                <a:gd name="connsiteY1" fmla="*/ 257442 h 257442"/>
                <a:gd name="connsiteX2" fmla="*/ 0 w 1971914"/>
                <a:gd name="connsiteY2" fmla="*/ 257442 h 257442"/>
                <a:gd name="connsiteX3" fmla="*/ 0 w 1971914"/>
                <a:gd name="connsiteY3" fmla="*/ 0 h 257442"/>
                <a:gd name="connsiteX0" fmla="*/ 1971914 w 1971914"/>
                <a:gd name="connsiteY0" fmla="*/ 0 h 257442"/>
                <a:gd name="connsiteX1" fmla="*/ 1917192 w 1971914"/>
                <a:gd name="connsiteY1" fmla="*/ 257442 h 257442"/>
                <a:gd name="connsiteX2" fmla="*/ 0 w 1971914"/>
                <a:gd name="connsiteY2" fmla="*/ 257442 h 257442"/>
                <a:gd name="connsiteX3" fmla="*/ 0 w 1971914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1 w 1971915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1 w 1971915"/>
                <a:gd name="connsiteY3" fmla="*/ 0 h 257442"/>
                <a:gd name="connsiteX0" fmla="*/ 2140230 w 2140230"/>
                <a:gd name="connsiteY0" fmla="*/ 0 h 257442"/>
                <a:gd name="connsiteX1" fmla="*/ 1917193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0 w 2140230"/>
                <a:gd name="connsiteY3" fmla="*/ 0 h 257442"/>
                <a:gd name="connsiteX0" fmla="*/ 2300530 w 2300530"/>
                <a:gd name="connsiteY0" fmla="*/ 0 h 257442"/>
                <a:gd name="connsiteX1" fmla="*/ 2085508 w 2300530"/>
                <a:gd name="connsiteY1" fmla="*/ 257442 h 257442"/>
                <a:gd name="connsiteX2" fmla="*/ 0 w 2300530"/>
                <a:gd name="connsiteY2" fmla="*/ 257442 h 257442"/>
                <a:gd name="connsiteX3" fmla="*/ 0 w 2300530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0 w 2300530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0 w 2300530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0 w 2300530"/>
                <a:gd name="connsiteY3" fmla="*/ 0 h 257442"/>
                <a:gd name="connsiteX0" fmla="*/ 2441401 w 2441401"/>
                <a:gd name="connsiteY0" fmla="*/ 0 h 257442"/>
                <a:gd name="connsiteX1" fmla="*/ 2245809 w 2441401"/>
                <a:gd name="connsiteY1" fmla="*/ 257442 h 257442"/>
                <a:gd name="connsiteX2" fmla="*/ 0 w 2441401"/>
                <a:gd name="connsiteY2" fmla="*/ 257442 h 257442"/>
                <a:gd name="connsiteX3" fmla="*/ 0 w 2441401"/>
                <a:gd name="connsiteY3" fmla="*/ 0 h 257442"/>
                <a:gd name="connsiteX0" fmla="*/ 2441401 w 2441401"/>
                <a:gd name="connsiteY0" fmla="*/ 0 h 257442"/>
                <a:gd name="connsiteX1" fmla="*/ 2386680 w 2441401"/>
                <a:gd name="connsiteY1" fmla="*/ 257442 h 257442"/>
                <a:gd name="connsiteX2" fmla="*/ 0 w 2441401"/>
                <a:gd name="connsiteY2" fmla="*/ 257442 h 257442"/>
                <a:gd name="connsiteX3" fmla="*/ 0 w 2441401"/>
                <a:gd name="connsiteY3" fmla="*/ 0 h 257442"/>
                <a:gd name="connsiteX0" fmla="*/ 2441401 w 2441401"/>
                <a:gd name="connsiteY0" fmla="*/ 0 h 257442"/>
                <a:gd name="connsiteX1" fmla="*/ 2386680 w 2441401"/>
                <a:gd name="connsiteY1" fmla="*/ 257442 h 257442"/>
                <a:gd name="connsiteX2" fmla="*/ 0 w 2441401"/>
                <a:gd name="connsiteY2" fmla="*/ 257442 h 257442"/>
                <a:gd name="connsiteX3" fmla="*/ 0 w 2441401"/>
                <a:gd name="connsiteY3" fmla="*/ 0 h 257442"/>
                <a:gd name="connsiteX0" fmla="*/ 2441401 w 2441401"/>
                <a:gd name="connsiteY0" fmla="*/ 0 h 257442"/>
                <a:gd name="connsiteX1" fmla="*/ 2386680 w 2441401"/>
                <a:gd name="connsiteY1" fmla="*/ 257442 h 257442"/>
                <a:gd name="connsiteX2" fmla="*/ 0 w 2441401"/>
                <a:gd name="connsiteY2" fmla="*/ 257442 h 257442"/>
                <a:gd name="connsiteX3" fmla="*/ 0 w 2441401"/>
                <a:gd name="connsiteY3" fmla="*/ 0 h 257442"/>
                <a:gd name="connsiteX0" fmla="*/ 2627991 w 2627991"/>
                <a:gd name="connsiteY0" fmla="*/ 0 h 257442"/>
                <a:gd name="connsiteX1" fmla="*/ 2386680 w 2627991"/>
                <a:gd name="connsiteY1" fmla="*/ 257442 h 257442"/>
                <a:gd name="connsiteX2" fmla="*/ 0 w 2627991"/>
                <a:gd name="connsiteY2" fmla="*/ 257442 h 257442"/>
                <a:gd name="connsiteX3" fmla="*/ 0 w 2627991"/>
                <a:gd name="connsiteY3" fmla="*/ 0 h 257442"/>
                <a:gd name="connsiteX0" fmla="*/ 2627991 w 2627991"/>
                <a:gd name="connsiteY0" fmla="*/ 0 h 257442"/>
                <a:gd name="connsiteX1" fmla="*/ 2573270 w 2627991"/>
                <a:gd name="connsiteY1" fmla="*/ 257442 h 257442"/>
                <a:gd name="connsiteX2" fmla="*/ 0 w 2627991"/>
                <a:gd name="connsiteY2" fmla="*/ 257442 h 257442"/>
                <a:gd name="connsiteX3" fmla="*/ 0 w 2627991"/>
                <a:gd name="connsiteY3" fmla="*/ 0 h 257442"/>
                <a:gd name="connsiteX0" fmla="*/ 2627991 w 2627991"/>
                <a:gd name="connsiteY0" fmla="*/ 0 h 257442"/>
                <a:gd name="connsiteX1" fmla="*/ 2573270 w 2627991"/>
                <a:gd name="connsiteY1" fmla="*/ 257442 h 257442"/>
                <a:gd name="connsiteX2" fmla="*/ 0 w 2627991"/>
                <a:gd name="connsiteY2" fmla="*/ 257442 h 257442"/>
                <a:gd name="connsiteX3" fmla="*/ 0 w 2627991"/>
                <a:gd name="connsiteY3" fmla="*/ 0 h 257442"/>
                <a:gd name="connsiteX0" fmla="*/ 2627991 w 2627991"/>
                <a:gd name="connsiteY0" fmla="*/ 0 h 257442"/>
                <a:gd name="connsiteX1" fmla="*/ 2573270 w 2627991"/>
                <a:gd name="connsiteY1" fmla="*/ 257442 h 257442"/>
                <a:gd name="connsiteX2" fmla="*/ 0 w 2627991"/>
                <a:gd name="connsiteY2" fmla="*/ 257442 h 257442"/>
                <a:gd name="connsiteX3" fmla="*/ 0 w 2627991"/>
                <a:gd name="connsiteY3" fmla="*/ 0 h 257442"/>
                <a:gd name="connsiteX0" fmla="*/ 2813939 w 2813939"/>
                <a:gd name="connsiteY0" fmla="*/ 0 h 257442"/>
                <a:gd name="connsiteX1" fmla="*/ 2573270 w 2813939"/>
                <a:gd name="connsiteY1" fmla="*/ 257442 h 257442"/>
                <a:gd name="connsiteX2" fmla="*/ 0 w 2813939"/>
                <a:gd name="connsiteY2" fmla="*/ 257442 h 257442"/>
                <a:gd name="connsiteX3" fmla="*/ 0 w 2813939"/>
                <a:gd name="connsiteY3" fmla="*/ 0 h 257442"/>
                <a:gd name="connsiteX0" fmla="*/ 2813939 w 2813939"/>
                <a:gd name="connsiteY0" fmla="*/ 0 h 257442"/>
                <a:gd name="connsiteX1" fmla="*/ 2759218 w 2813939"/>
                <a:gd name="connsiteY1" fmla="*/ 257442 h 257442"/>
                <a:gd name="connsiteX2" fmla="*/ 0 w 2813939"/>
                <a:gd name="connsiteY2" fmla="*/ 257442 h 257442"/>
                <a:gd name="connsiteX3" fmla="*/ 0 w 2813939"/>
                <a:gd name="connsiteY3" fmla="*/ 0 h 257442"/>
                <a:gd name="connsiteX0" fmla="*/ 2813939 w 2813939"/>
                <a:gd name="connsiteY0" fmla="*/ 0 h 257442"/>
                <a:gd name="connsiteX1" fmla="*/ 2759218 w 2813939"/>
                <a:gd name="connsiteY1" fmla="*/ 257442 h 257442"/>
                <a:gd name="connsiteX2" fmla="*/ 0 w 2813939"/>
                <a:gd name="connsiteY2" fmla="*/ 257442 h 257442"/>
                <a:gd name="connsiteX3" fmla="*/ 0 w 2813939"/>
                <a:gd name="connsiteY3" fmla="*/ 0 h 257442"/>
                <a:gd name="connsiteX0" fmla="*/ 2813939 w 2813939"/>
                <a:gd name="connsiteY0" fmla="*/ 0 h 257442"/>
                <a:gd name="connsiteX1" fmla="*/ 2759218 w 2813939"/>
                <a:gd name="connsiteY1" fmla="*/ 257442 h 257442"/>
                <a:gd name="connsiteX2" fmla="*/ 0 w 2813939"/>
                <a:gd name="connsiteY2" fmla="*/ 257442 h 257442"/>
                <a:gd name="connsiteX3" fmla="*/ 0 w 2813939"/>
                <a:gd name="connsiteY3" fmla="*/ 0 h 257442"/>
                <a:gd name="connsiteX0" fmla="*/ 2974239 w 2974239"/>
                <a:gd name="connsiteY0" fmla="*/ 0 h 257442"/>
                <a:gd name="connsiteX1" fmla="*/ 2759218 w 2974239"/>
                <a:gd name="connsiteY1" fmla="*/ 257442 h 257442"/>
                <a:gd name="connsiteX2" fmla="*/ 0 w 2974239"/>
                <a:gd name="connsiteY2" fmla="*/ 257442 h 257442"/>
                <a:gd name="connsiteX3" fmla="*/ 0 w 2974239"/>
                <a:gd name="connsiteY3" fmla="*/ 0 h 257442"/>
                <a:gd name="connsiteX0" fmla="*/ 2974239 w 2974239"/>
                <a:gd name="connsiteY0" fmla="*/ 0 h 257442"/>
                <a:gd name="connsiteX1" fmla="*/ 2919518 w 2974239"/>
                <a:gd name="connsiteY1" fmla="*/ 257442 h 257442"/>
                <a:gd name="connsiteX2" fmla="*/ 0 w 2974239"/>
                <a:gd name="connsiteY2" fmla="*/ 257442 h 257442"/>
                <a:gd name="connsiteX3" fmla="*/ 0 w 2974239"/>
                <a:gd name="connsiteY3" fmla="*/ 0 h 257442"/>
                <a:gd name="connsiteX0" fmla="*/ 2974239 w 2974239"/>
                <a:gd name="connsiteY0" fmla="*/ 0 h 257442"/>
                <a:gd name="connsiteX1" fmla="*/ 2919518 w 2974239"/>
                <a:gd name="connsiteY1" fmla="*/ 257442 h 257442"/>
                <a:gd name="connsiteX2" fmla="*/ 0 w 2974239"/>
                <a:gd name="connsiteY2" fmla="*/ 257442 h 257442"/>
                <a:gd name="connsiteX3" fmla="*/ 0 w 2974239"/>
                <a:gd name="connsiteY3" fmla="*/ 0 h 257442"/>
                <a:gd name="connsiteX0" fmla="*/ 2974239 w 2974239"/>
                <a:gd name="connsiteY0" fmla="*/ 0 h 257442"/>
                <a:gd name="connsiteX1" fmla="*/ 2919518 w 2974239"/>
                <a:gd name="connsiteY1" fmla="*/ 257442 h 257442"/>
                <a:gd name="connsiteX2" fmla="*/ 0 w 2974239"/>
                <a:gd name="connsiteY2" fmla="*/ 257442 h 257442"/>
                <a:gd name="connsiteX3" fmla="*/ 0 w 2974239"/>
                <a:gd name="connsiteY3" fmla="*/ 0 h 257442"/>
                <a:gd name="connsiteX0" fmla="*/ 3142555 w 3142555"/>
                <a:gd name="connsiteY0" fmla="*/ 0 h 257442"/>
                <a:gd name="connsiteX1" fmla="*/ 2919518 w 3142555"/>
                <a:gd name="connsiteY1" fmla="*/ 257442 h 257442"/>
                <a:gd name="connsiteX2" fmla="*/ 0 w 3142555"/>
                <a:gd name="connsiteY2" fmla="*/ 257442 h 257442"/>
                <a:gd name="connsiteX3" fmla="*/ 0 w 3142555"/>
                <a:gd name="connsiteY3" fmla="*/ 0 h 257442"/>
                <a:gd name="connsiteX0" fmla="*/ 3142555 w 3142555"/>
                <a:gd name="connsiteY0" fmla="*/ 0 h 257442"/>
                <a:gd name="connsiteX1" fmla="*/ 3087834 w 3142555"/>
                <a:gd name="connsiteY1" fmla="*/ 257442 h 257442"/>
                <a:gd name="connsiteX2" fmla="*/ 0 w 3142555"/>
                <a:gd name="connsiteY2" fmla="*/ 257442 h 257442"/>
                <a:gd name="connsiteX3" fmla="*/ 0 w 3142555"/>
                <a:gd name="connsiteY3" fmla="*/ 0 h 257442"/>
                <a:gd name="connsiteX0" fmla="*/ 3142555 w 3142555"/>
                <a:gd name="connsiteY0" fmla="*/ 0 h 257442"/>
                <a:gd name="connsiteX1" fmla="*/ 3087834 w 3142555"/>
                <a:gd name="connsiteY1" fmla="*/ 257442 h 257442"/>
                <a:gd name="connsiteX2" fmla="*/ 0 w 3142555"/>
                <a:gd name="connsiteY2" fmla="*/ 257442 h 257442"/>
                <a:gd name="connsiteX3" fmla="*/ 0 w 3142555"/>
                <a:gd name="connsiteY3" fmla="*/ 0 h 257442"/>
                <a:gd name="connsiteX0" fmla="*/ 3142555 w 3142555"/>
                <a:gd name="connsiteY0" fmla="*/ 0 h 257442"/>
                <a:gd name="connsiteX1" fmla="*/ 3087834 w 3142555"/>
                <a:gd name="connsiteY1" fmla="*/ 257442 h 257442"/>
                <a:gd name="connsiteX2" fmla="*/ 0 w 3142555"/>
                <a:gd name="connsiteY2" fmla="*/ 257442 h 257442"/>
                <a:gd name="connsiteX3" fmla="*/ 0 w 3142555"/>
                <a:gd name="connsiteY3" fmla="*/ 0 h 257442"/>
                <a:gd name="connsiteX0" fmla="*/ 3237837 w 3237837"/>
                <a:gd name="connsiteY0" fmla="*/ 0 h 257442"/>
                <a:gd name="connsiteX1" fmla="*/ 3087834 w 3237837"/>
                <a:gd name="connsiteY1" fmla="*/ 257442 h 257442"/>
                <a:gd name="connsiteX2" fmla="*/ 0 w 3237837"/>
                <a:gd name="connsiteY2" fmla="*/ 257442 h 257442"/>
                <a:gd name="connsiteX3" fmla="*/ 0 w 3237837"/>
                <a:gd name="connsiteY3" fmla="*/ 0 h 257442"/>
                <a:gd name="connsiteX0" fmla="*/ 3237837 w 3237837"/>
                <a:gd name="connsiteY0" fmla="*/ 0 h 257442"/>
                <a:gd name="connsiteX1" fmla="*/ 3183116 w 3237837"/>
                <a:gd name="connsiteY1" fmla="*/ 257442 h 257442"/>
                <a:gd name="connsiteX2" fmla="*/ 0 w 3237837"/>
                <a:gd name="connsiteY2" fmla="*/ 257442 h 257442"/>
                <a:gd name="connsiteX3" fmla="*/ 0 w 3237837"/>
                <a:gd name="connsiteY3" fmla="*/ 0 h 257442"/>
                <a:gd name="connsiteX0" fmla="*/ 3237837 w 3237837"/>
                <a:gd name="connsiteY0" fmla="*/ 0 h 257442"/>
                <a:gd name="connsiteX1" fmla="*/ 3183116 w 3237837"/>
                <a:gd name="connsiteY1" fmla="*/ 257442 h 257442"/>
                <a:gd name="connsiteX2" fmla="*/ 0 w 3237837"/>
                <a:gd name="connsiteY2" fmla="*/ 257442 h 257442"/>
                <a:gd name="connsiteX3" fmla="*/ 0 w 3237837"/>
                <a:gd name="connsiteY3" fmla="*/ 0 h 257442"/>
                <a:gd name="connsiteX0" fmla="*/ 3237837 w 3237837"/>
                <a:gd name="connsiteY0" fmla="*/ 0 h 257442"/>
                <a:gd name="connsiteX1" fmla="*/ 3183116 w 3237837"/>
                <a:gd name="connsiteY1" fmla="*/ 257442 h 257442"/>
                <a:gd name="connsiteX2" fmla="*/ 0 w 3237837"/>
                <a:gd name="connsiteY2" fmla="*/ 257442 h 257442"/>
                <a:gd name="connsiteX3" fmla="*/ 0 w 3237837"/>
                <a:gd name="connsiteY3" fmla="*/ 0 h 257442"/>
                <a:gd name="connsiteX0" fmla="*/ 3403844 w 3403844"/>
                <a:gd name="connsiteY0" fmla="*/ 0 h 257442"/>
                <a:gd name="connsiteX1" fmla="*/ 3183116 w 3403844"/>
                <a:gd name="connsiteY1" fmla="*/ 257442 h 257442"/>
                <a:gd name="connsiteX2" fmla="*/ 0 w 3403844"/>
                <a:gd name="connsiteY2" fmla="*/ 257442 h 257442"/>
                <a:gd name="connsiteX3" fmla="*/ 0 w 3403844"/>
                <a:gd name="connsiteY3" fmla="*/ 0 h 257442"/>
                <a:gd name="connsiteX0" fmla="*/ 3403844 w 3403844"/>
                <a:gd name="connsiteY0" fmla="*/ 0 h 257442"/>
                <a:gd name="connsiteX1" fmla="*/ 3349122 w 3403844"/>
                <a:gd name="connsiteY1" fmla="*/ 257442 h 257442"/>
                <a:gd name="connsiteX2" fmla="*/ 0 w 3403844"/>
                <a:gd name="connsiteY2" fmla="*/ 257442 h 257442"/>
                <a:gd name="connsiteX3" fmla="*/ 0 w 3403844"/>
                <a:gd name="connsiteY3" fmla="*/ 0 h 257442"/>
                <a:gd name="connsiteX0" fmla="*/ 3403845 w 3403845"/>
                <a:gd name="connsiteY0" fmla="*/ 0 h 257442"/>
                <a:gd name="connsiteX1" fmla="*/ 3349123 w 3403845"/>
                <a:gd name="connsiteY1" fmla="*/ 257442 h 257442"/>
                <a:gd name="connsiteX2" fmla="*/ 0 w 3403845"/>
                <a:gd name="connsiteY2" fmla="*/ 257442 h 257442"/>
                <a:gd name="connsiteX3" fmla="*/ 1 w 3403845"/>
                <a:gd name="connsiteY3" fmla="*/ 0 h 257442"/>
                <a:gd name="connsiteX0" fmla="*/ 3403845 w 3403845"/>
                <a:gd name="connsiteY0" fmla="*/ 0 h 257442"/>
                <a:gd name="connsiteX1" fmla="*/ 3349123 w 3403845"/>
                <a:gd name="connsiteY1" fmla="*/ 257442 h 257442"/>
                <a:gd name="connsiteX2" fmla="*/ 0 w 3403845"/>
                <a:gd name="connsiteY2" fmla="*/ 257442 h 257442"/>
                <a:gd name="connsiteX3" fmla="*/ 1 w 3403845"/>
                <a:gd name="connsiteY3" fmla="*/ 0 h 257442"/>
                <a:gd name="connsiteX0" fmla="*/ 3564145 w 3564145"/>
                <a:gd name="connsiteY0" fmla="*/ 0 h 257442"/>
                <a:gd name="connsiteX1" fmla="*/ 3349123 w 3564145"/>
                <a:gd name="connsiteY1" fmla="*/ 257442 h 257442"/>
                <a:gd name="connsiteX2" fmla="*/ 0 w 3564145"/>
                <a:gd name="connsiteY2" fmla="*/ 257442 h 257442"/>
                <a:gd name="connsiteX3" fmla="*/ 1 w 3564145"/>
                <a:gd name="connsiteY3" fmla="*/ 0 h 257442"/>
                <a:gd name="connsiteX0" fmla="*/ 3564145 w 3564145"/>
                <a:gd name="connsiteY0" fmla="*/ 0 h 257442"/>
                <a:gd name="connsiteX1" fmla="*/ 3509424 w 3564145"/>
                <a:gd name="connsiteY1" fmla="*/ 257442 h 257442"/>
                <a:gd name="connsiteX2" fmla="*/ 0 w 3564145"/>
                <a:gd name="connsiteY2" fmla="*/ 257442 h 257442"/>
                <a:gd name="connsiteX3" fmla="*/ 1 w 3564145"/>
                <a:gd name="connsiteY3" fmla="*/ 0 h 257442"/>
                <a:gd name="connsiteX0" fmla="*/ 3564144 w 3564144"/>
                <a:gd name="connsiteY0" fmla="*/ 0 h 257442"/>
                <a:gd name="connsiteX1" fmla="*/ 3509423 w 3564144"/>
                <a:gd name="connsiteY1" fmla="*/ 257442 h 257442"/>
                <a:gd name="connsiteX2" fmla="*/ 0 w 3564144"/>
                <a:gd name="connsiteY2" fmla="*/ 257442 h 257442"/>
                <a:gd name="connsiteX3" fmla="*/ 0 w 3564144"/>
                <a:gd name="connsiteY3" fmla="*/ 0 h 257442"/>
                <a:gd name="connsiteX0" fmla="*/ 3564145 w 3564145"/>
                <a:gd name="connsiteY0" fmla="*/ 0 h 257442"/>
                <a:gd name="connsiteX1" fmla="*/ 3509424 w 3564145"/>
                <a:gd name="connsiteY1" fmla="*/ 257442 h 257442"/>
                <a:gd name="connsiteX2" fmla="*/ 1 w 3564145"/>
                <a:gd name="connsiteY2" fmla="*/ 257442 h 257442"/>
                <a:gd name="connsiteX3" fmla="*/ 0 w 3564145"/>
                <a:gd name="connsiteY3" fmla="*/ 0 h 257442"/>
                <a:gd name="connsiteX0" fmla="*/ 3732461 w 3732461"/>
                <a:gd name="connsiteY0" fmla="*/ 0 h 257442"/>
                <a:gd name="connsiteX1" fmla="*/ 3509424 w 3732461"/>
                <a:gd name="connsiteY1" fmla="*/ 257442 h 257442"/>
                <a:gd name="connsiteX2" fmla="*/ 1 w 3732461"/>
                <a:gd name="connsiteY2" fmla="*/ 257442 h 257442"/>
                <a:gd name="connsiteX3" fmla="*/ 0 w 3732461"/>
                <a:gd name="connsiteY3" fmla="*/ 0 h 257442"/>
                <a:gd name="connsiteX0" fmla="*/ 3732461 w 3732461"/>
                <a:gd name="connsiteY0" fmla="*/ 0 h 257442"/>
                <a:gd name="connsiteX1" fmla="*/ 3677740 w 3732461"/>
                <a:gd name="connsiteY1" fmla="*/ 257442 h 257442"/>
                <a:gd name="connsiteX2" fmla="*/ 1 w 3732461"/>
                <a:gd name="connsiteY2" fmla="*/ 257442 h 257442"/>
                <a:gd name="connsiteX3" fmla="*/ 0 w 3732461"/>
                <a:gd name="connsiteY3" fmla="*/ 0 h 257442"/>
                <a:gd name="connsiteX0" fmla="*/ 3732461 w 3732461"/>
                <a:gd name="connsiteY0" fmla="*/ 0 h 257442"/>
                <a:gd name="connsiteX1" fmla="*/ 3677740 w 3732461"/>
                <a:gd name="connsiteY1" fmla="*/ 257442 h 257442"/>
                <a:gd name="connsiteX2" fmla="*/ 1 w 3732461"/>
                <a:gd name="connsiteY2" fmla="*/ 257442 h 257442"/>
                <a:gd name="connsiteX3" fmla="*/ 0 w 3732461"/>
                <a:gd name="connsiteY3" fmla="*/ 0 h 257442"/>
                <a:gd name="connsiteX0" fmla="*/ 3732460 w 3732460"/>
                <a:gd name="connsiteY0" fmla="*/ 0 h 257442"/>
                <a:gd name="connsiteX1" fmla="*/ 3677739 w 3732460"/>
                <a:gd name="connsiteY1" fmla="*/ 257442 h 257442"/>
                <a:gd name="connsiteX2" fmla="*/ 0 w 3732460"/>
                <a:gd name="connsiteY2" fmla="*/ 257442 h 257442"/>
                <a:gd name="connsiteX3" fmla="*/ 0 w 3732460"/>
                <a:gd name="connsiteY3" fmla="*/ 0 h 257442"/>
                <a:gd name="connsiteX0" fmla="*/ 3564143 w 3677739"/>
                <a:gd name="connsiteY0" fmla="*/ 0 h 257442"/>
                <a:gd name="connsiteX1" fmla="*/ 3677739 w 3677739"/>
                <a:gd name="connsiteY1" fmla="*/ 257442 h 257442"/>
                <a:gd name="connsiteX2" fmla="*/ 0 w 3677739"/>
                <a:gd name="connsiteY2" fmla="*/ 257442 h 257442"/>
                <a:gd name="connsiteX3" fmla="*/ 0 w 3677739"/>
                <a:gd name="connsiteY3" fmla="*/ 0 h 257442"/>
                <a:gd name="connsiteX0" fmla="*/ 3564143 w 3564143"/>
                <a:gd name="connsiteY0" fmla="*/ 0 h 257442"/>
                <a:gd name="connsiteX1" fmla="*/ 3509423 w 3564143"/>
                <a:gd name="connsiteY1" fmla="*/ 257442 h 257442"/>
                <a:gd name="connsiteX2" fmla="*/ 0 w 3564143"/>
                <a:gd name="connsiteY2" fmla="*/ 257442 h 257442"/>
                <a:gd name="connsiteX3" fmla="*/ 0 w 3564143"/>
                <a:gd name="connsiteY3" fmla="*/ 0 h 257442"/>
                <a:gd name="connsiteX0" fmla="*/ 3564143 w 3564143"/>
                <a:gd name="connsiteY0" fmla="*/ 0 h 257442"/>
                <a:gd name="connsiteX1" fmla="*/ 3509423 w 3564143"/>
                <a:gd name="connsiteY1" fmla="*/ 257442 h 257442"/>
                <a:gd name="connsiteX2" fmla="*/ 0 w 3564143"/>
                <a:gd name="connsiteY2" fmla="*/ 257442 h 257442"/>
                <a:gd name="connsiteX3" fmla="*/ 0 w 3564143"/>
                <a:gd name="connsiteY3" fmla="*/ 0 h 257442"/>
                <a:gd name="connsiteX0" fmla="*/ 3564143 w 3564143"/>
                <a:gd name="connsiteY0" fmla="*/ 0 h 257442"/>
                <a:gd name="connsiteX1" fmla="*/ 3509423 w 3564143"/>
                <a:gd name="connsiteY1" fmla="*/ 257442 h 257442"/>
                <a:gd name="connsiteX2" fmla="*/ 0 w 3564143"/>
                <a:gd name="connsiteY2" fmla="*/ 257442 h 257442"/>
                <a:gd name="connsiteX3" fmla="*/ 0 w 3564143"/>
                <a:gd name="connsiteY3" fmla="*/ 0 h 257442"/>
                <a:gd name="connsiteX0" fmla="*/ 3732460 w 3732460"/>
                <a:gd name="connsiteY0" fmla="*/ 0 h 257442"/>
                <a:gd name="connsiteX1" fmla="*/ 3509423 w 3732460"/>
                <a:gd name="connsiteY1" fmla="*/ 257442 h 257442"/>
                <a:gd name="connsiteX2" fmla="*/ 0 w 3732460"/>
                <a:gd name="connsiteY2" fmla="*/ 257442 h 257442"/>
                <a:gd name="connsiteX3" fmla="*/ 0 w 3732460"/>
                <a:gd name="connsiteY3" fmla="*/ 0 h 257442"/>
                <a:gd name="connsiteX0" fmla="*/ 3732460 w 3732460"/>
                <a:gd name="connsiteY0" fmla="*/ 0 h 257442"/>
                <a:gd name="connsiteX1" fmla="*/ 3677738 w 3732460"/>
                <a:gd name="connsiteY1" fmla="*/ 257442 h 257442"/>
                <a:gd name="connsiteX2" fmla="*/ 0 w 3732460"/>
                <a:gd name="connsiteY2" fmla="*/ 257442 h 257442"/>
                <a:gd name="connsiteX3" fmla="*/ 0 w 3732460"/>
                <a:gd name="connsiteY3" fmla="*/ 0 h 257442"/>
                <a:gd name="connsiteX0" fmla="*/ 3732461 w 3732461"/>
                <a:gd name="connsiteY0" fmla="*/ 0 h 257442"/>
                <a:gd name="connsiteX1" fmla="*/ 3677739 w 3732461"/>
                <a:gd name="connsiteY1" fmla="*/ 257442 h 257442"/>
                <a:gd name="connsiteX2" fmla="*/ 0 w 3732461"/>
                <a:gd name="connsiteY2" fmla="*/ 257442 h 257442"/>
                <a:gd name="connsiteX3" fmla="*/ 1 w 3732461"/>
                <a:gd name="connsiteY3" fmla="*/ 0 h 257442"/>
                <a:gd name="connsiteX0" fmla="*/ 3732461 w 3732461"/>
                <a:gd name="connsiteY0" fmla="*/ 0 h 257442"/>
                <a:gd name="connsiteX1" fmla="*/ 3677739 w 3732461"/>
                <a:gd name="connsiteY1" fmla="*/ 257442 h 257442"/>
                <a:gd name="connsiteX2" fmla="*/ 0 w 3732461"/>
                <a:gd name="connsiteY2" fmla="*/ 257442 h 257442"/>
                <a:gd name="connsiteX3" fmla="*/ 1 w 3732461"/>
                <a:gd name="connsiteY3" fmla="*/ 0 h 257442"/>
                <a:gd name="connsiteX0" fmla="*/ 3873332 w 3873332"/>
                <a:gd name="connsiteY0" fmla="*/ 0 h 257442"/>
                <a:gd name="connsiteX1" fmla="*/ 3677739 w 3873332"/>
                <a:gd name="connsiteY1" fmla="*/ 257442 h 257442"/>
                <a:gd name="connsiteX2" fmla="*/ 0 w 3873332"/>
                <a:gd name="connsiteY2" fmla="*/ 257442 h 257442"/>
                <a:gd name="connsiteX3" fmla="*/ 1 w 3873332"/>
                <a:gd name="connsiteY3" fmla="*/ 0 h 257442"/>
                <a:gd name="connsiteX0" fmla="*/ 3873332 w 3873332"/>
                <a:gd name="connsiteY0" fmla="*/ 0 h 257442"/>
                <a:gd name="connsiteX1" fmla="*/ 3818610 w 3873332"/>
                <a:gd name="connsiteY1" fmla="*/ 257442 h 257442"/>
                <a:gd name="connsiteX2" fmla="*/ 0 w 3873332"/>
                <a:gd name="connsiteY2" fmla="*/ 257442 h 257442"/>
                <a:gd name="connsiteX3" fmla="*/ 1 w 3873332"/>
                <a:gd name="connsiteY3" fmla="*/ 0 h 257442"/>
                <a:gd name="connsiteX0" fmla="*/ 3873332 w 3873332"/>
                <a:gd name="connsiteY0" fmla="*/ 0 h 257442"/>
                <a:gd name="connsiteX1" fmla="*/ 3818610 w 3873332"/>
                <a:gd name="connsiteY1" fmla="*/ 257442 h 257442"/>
                <a:gd name="connsiteX2" fmla="*/ 0 w 3873332"/>
                <a:gd name="connsiteY2" fmla="*/ 257442 h 257442"/>
                <a:gd name="connsiteX3" fmla="*/ 1 w 3873332"/>
                <a:gd name="connsiteY3" fmla="*/ 0 h 257442"/>
                <a:gd name="connsiteX0" fmla="*/ 3873332 w 3873332"/>
                <a:gd name="connsiteY0" fmla="*/ 0 h 257442"/>
                <a:gd name="connsiteX1" fmla="*/ 3818610 w 3873332"/>
                <a:gd name="connsiteY1" fmla="*/ 257442 h 257442"/>
                <a:gd name="connsiteX2" fmla="*/ 0 w 3873332"/>
                <a:gd name="connsiteY2" fmla="*/ 257442 h 257442"/>
                <a:gd name="connsiteX3" fmla="*/ 0 w 3873332"/>
                <a:gd name="connsiteY3" fmla="*/ 0 h 257442"/>
                <a:gd name="connsiteX0" fmla="*/ 3985735 w 3985735"/>
                <a:gd name="connsiteY0" fmla="*/ 0 h 257442"/>
                <a:gd name="connsiteX1" fmla="*/ 3818610 w 3985735"/>
                <a:gd name="connsiteY1" fmla="*/ 257442 h 257442"/>
                <a:gd name="connsiteX2" fmla="*/ 0 w 3985735"/>
                <a:gd name="connsiteY2" fmla="*/ 257442 h 257442"/>
                <a:gd name="connsiteX3" fmla="*/ 0 w 3985735"/>
                <a:gd name="connsiteY3" fmla="*/ 0 h 257442"/>
                <a:gd name="connsiteX0" fmla="*/ 3985735 w 3985735"/>
                <a:gd name="connsiteY0" fmla="*/ 0 h 257442"/>
                <a:gd name="connsiteX1" fmla="*/ 3931014 w 3985735"/>
                <a:gd name="connsiteY1" fmla="*/ 257442 h 257442"/>
                <a:gd name="connsiteX2" fmla="*/ 0 w 3985735"/>
                <a:gd name="connsiteY2" fmla="*/ 257442 h 257442"/>
                <a:gd name="connsiteX3" fmla="*/ 0 w 3985735"/>
                <a:gd name="connsiteY3" fmla="*/ 0 h 257442"/>
                <a:gd name="connsiteX0" fmla="*/ 3985735 w 3985735"/>
                <a:gd name="connsiteY0" fmla="*/ 0 h 257442"/>
                <a:gd name="connsiteX1" fmla="*/ 3931014 w 3985735"/>
                <a:gd name="connsiteY1" fmla="*/ 257442 h 257442"/>
                <a:gd name="connsiteX2" fmla="*/ 0 w 3985735"/>
                <a:gd name="connsiteY2" fmla="*/ 257442 h 257442"/>
                <a:gd name="connsiteX3" fmla="*/ 0 w 3985735"/>
                <a:gd name="connsiteY3" fmla="*/ 0 h 257442"/>
                <a:gd name="connsiteX0" fmla="*/ 3985735 w 3985735"/>
                <a:gd name="connsiteY0" fmla="*/ 0 h 257442"/>
                <a:gd name="connsiteX1" fmla="*/ 3931014 w 3985735"/>
                <a:gd name="connsiteY1" fmla="*/ 257442 h 257442"/>
                <a:gd name="connsiteX2" fmla="*/ 0 w 3985735"/>
                <a:gd name="connsiteY2" fmla="*/ 257442 h 257442"/>
                <a:gd name="connsiteX3" fmla="*/ 0 w 3985735"/>
                <a:gd name="connsiteY3" fmla="*/ 0 h 257442"/>
                <a:gd name="connsiteX0" fmla="*/ 4171683 w 4171683"/>
                <a:gd name="connsiteY0" fmla="*/ 0 h 257442"/>
                <a:gd name="connsiteX1" fmla="*/ 3931014 w 4171683"/>
                <a:gd name="connsiteY1" fmla="*/ 257442 h 257442"/>
                <a:gd name="connsiteX2" fmla="*/ 0 w 4171683"/>
                <a:gd name="connsiteY2" fmla="*/ 257442 h 257442"/>
                <a:gd name="connsiteX3" fmla="*/ 0 w 4171683"/>
                <a:gd name="connsiteY3" fmla="*/ 0 h 257442"/>
                <a:gd name="connsiteX0" fmla="*/ 4171683 w 4171683"/>
                <a:gd name="connsiteY0" fmla="*/ 0 h 257442"/>
                <a:gd name="connsiteX1" fmla="*/ 4116962 w 4171683"/>
                <a:gd name="connsiteY1" fmla="*/ 257442 h 257442"/>
                <a:gd name="connsiteX2" fmla="*/ 0 w 4171683"/>
                <a:gd name="connsiteY2" fmla="*/ 257442 h 257442"/>
                <a:gd name="connsiteX3" fmla="*/ 0 w 4171683"/>
                <a:gd name="connsiteY3" fmla="*/ 0 h 257442"/>
                <a:gd name="connsiteX0" fmla="*/ 4171683 w 4171683"/>
                <a:gd name="connsiteY0" fmla="*/ 0 h 257442"/>
                <a:gd name="connsiteX1" fmla="*/ 4116962 w 4171683"/>
                <a:gd name="connsiteY1" fmla="*/ 257442 h 257442"/>
                <a:gd name="connsiteX2" fmla="*/ 0 w 4171683"/>
                <a:gd name="connsiteY2" fmla="*/ 257442 h 257442"/>
                <a:gd name="connsiteX3" fmla="*/ 0 w 4171683"/>
                <a:gd name="connsiteY3" fmla="*/ 0 h 257442"/>
                <a:gd name="connsiteX0" fmla="*/ 4171683 w 4171683"/>
                <a:gd name="connsiteY0" fmla="*/ 0 h 257442"/>
                <a:gd name="connsiteX1" fmla="*/ 4116962 w 4171683"/>
                <a:gd name="connsiteY1" fmla="*/ 257442 h 257442"/>
                <a:gd name="connsiteX2" fmla="*/ 0 w 4171683"/>
                <a:gd name="connsiteY2" fmla="*/ 257442 h 257442"/>
                <a:gd name="connsiteX3" fmla="*/ 0 w 4171683"/>
                <a:gd name="connsiteY3" fmla="*/ 0 h 257442"/>
                <a:gd name="connsiteX0" fmla="*/ 4331983 w 4331983"/>
                <a:gd name="connsiteY0" fmla="*/ 0 h 257442"/>
                <a:gd name="connsiteX1" fmla="*/ 4116962 w 4331983"/>
                <a:gd name="connsiteY1" fmla="*/ 257442 h 257442"/>
                <a:gd name="connsiteX2" fmla="*/ 0 w 4331983"/>
                <a:gd name="connsiteY2" fmla="*/ 257442 h 257442"/>
                <a:gd name="connsiteX3" fmla="*/ 0 w 4331983"/>
                <a:gd name="connsiteY3" fmla="*/ 0 h 257442"/>
                <a:gd name="connsiteX0" fmla="*/ 4331983 w 4331983"/>
                <a:gd name="connsiteY0" fmla="*/ 0 h 257442"/>
                <a:gd name="connsiteX1" fmla="*/ 4277262 w 4331983"/>
                <a:gd name="connsiteY1" fmla="*/ 257442 h 257442"/>
                <a:gd name="connsiteX2" fmla="*/ 0 w 4331983"/>
                <a:gd name="connsiteY2" fmla="*/ 257442 h 257442"/>
                <a:gd name="connsiteX3" fmla="*/ 0 w 4331983"/>
                <a:gd name="connsiteY3" fmla="*/ 0 h 257442"/>
                <a:gd name="connsiteX0" fmla="*/ 4331983 w 4331983"/>
                <a:gd name="connsiteY0" fmla="*/ 0 h 257442"/>
                <a:gd name="connsiteX1" fmla="*/ 4277262 w 4331983"/>
                <a:gd name="connsiteY1" fmla="*/ 257442 h 257442"/>
                <a:gd name="connsiteX2" fmla="*/ 0 w 4331983"/>
                <a:gd name="connsiteY2" fmla="*/ 257442 h 257442"/>
                <a:gd name="connsiteX3" fmla="*/ 0 w 4331983"/>
                <a:gd name="connsiteY3" fmla="*/ 0 h 257442"/>
                <a:gd name="connsiteX0" fmla="*/ 4331983 w 4331983"/>
                <a:gd name="connsiteY0" fmla="*/ 0 h 257442"/>
                <a:gd name="connsiteX1" fmla="*/ 4277262 w 4331983"/>
                <a:gd name="connsiteY1" fmla="*/ 257442 h 257442"/>
                <a:gd name="connsiteX2" fmla="*/ 0 w 4331983"/>
                <a:gd name="connsiteY2" fmla="*/ 257442 h 257442"/>
                <a:gd name="connsiteX3" fmla="*/ 0 w 4331983"/>
                <a:gd name="connsiteY3" fmla="*/ 0 h 257442"/>
                <a:gd name="connsiteX0" fmla="*/ 4500298 w 4500298"/>
                <a:gd name="connsiteY0" fmla="*/ 0 h 257442"/>
                <a:gd name="connsiteX1" fmla="*/ 4277262 w 4500298"/>
                <a:gd name="connsiteY1" fmla="*/ 257442 h 257442"/>
                <a:gd name="connsiteX2" fmla="*/ 0 w 4500298"/>
                <a:gd name="connsiteY2" fmla="*/ 257442 h 257442"/>
                <a:gd name="connsiteX3" fmla="*/ 0 w 4500298"/>
                <a:gd name="connsiteY3" fmla="*/ 0 h 257442"/>
                <a:gd name="connsiteX0" fmla="*/ 4500298 w 4500298"/>
                <a:gd name="connsiteY0" fmla="*/ 0 h 257442"/>
                <a:gd name="connsiteX1" fmla="*/ 4445576 w 4500298"/>
                <a:gd name="connsiteY1" fmla="*/ 257442 h 257442"/>
                <a:gd name="connsiteX2" fmla="*/ 0 w 4500298"/>
                <a:gd name="connsiteY2" fmla="*/ 257442 h 257442"/>
                <a:gd name="connsiteX3" fmla="*/ 0 w 4500298"/>
                <a:gd name="connsiteY3" fmla="*/ 0 h 257442"/>
                <a:gd name="connsiteX0" fmla="*/ 4500299 w 4500299"/>
                <a:gd name="connsiteY0" fmla="*/ 0 h 257442"/>
                <a:gd name="connsiteX1" fmla="*/ 4445577 w 4500299"/>
                <a:gd name="connsiteY1" fmla="*/ 257442 h 257442"/>
                <a:gd name="connsiteX2" fmla="*/ 0 w 4500299"/>
                <a:gd name="connsiteY2" fmla="*/ 257442 h 257442"/>
                <a:gd name="connsiteX3" fmla="*/ 1 w 4500299"/>
                <a:gd name="connsiteY3" fmla="*/ 0 h 257442"/>
                <a:gd name="connsiteX0" fmla="*/ 4500299 w 4500299"/>
                <a:gd name="connsiteY0" fmla="*/ 0 h 257442"/>
                <a:gd name="connsiteX1" fmla="*/ 4445577 w 4500299"/>
                <a:gd name="connsiteY1" fmla="*/ 257442 h 257442"/>
                <a:gd name="connsiteX2" fmla="*/ 0 w 4500299"/>
                <a:gd name="connsiteY2" fmla="*/ 257442 h 257442"/>
                <a:gd name="connsiteX3" fmla="*/ 1 w 4500299"/>
                <a:gd name="connsiteY3" fmla="*/ 0 h 257442"/>
                <a:gd name="connsiteX0" fmla="*/ 4641171 w 4641171"/>
                <a:gd name="connsiteY0" fmla="*/ 0 h 257442"/>
                <a:gd name="connsiteX1" fmla="*/ 4445577 w 4641171"/>
                <a:gd name="connsiteY1" fmla="*/ 257442 h 257442"/>
                <a:gd name="connsiteX2" fmla="*/ 0 w 4641171"/>
                <a:gd name="connsiteY2" fmla="*/ 257442 h 257442"/>
                <a:gd name="connsiteX3" fmla="*/ 1 w 4641171"/>
                <a:gd name="connsiteY3" fmla="*/ 0 h 257442"/>
                <a:gd name="connsiteX0" fmla="*/ 4641171 w 4641171"/>
                <a:gd name="connsiteY0" fmla="*/ 0 h 257442"/>
                <a:gd name="connsiteX1" fmla="*/ 4586450 w 4641171"/>
                <a:gd name="connsiteY1" fmla="*/ 257442 h 257442"/>
                <a:gd name="connsiteX2" fmla="*/ 0 w 4641171"/>
                <a:gd name="connsiteY2" fmla="*/ 257442 h 257442"/>
                <a:gd name="connsiteX3" fmla="*/ 1 w 4641171"/>
                <a:gd name="connsiteY3" fmla="*/ 0 h 257442"/>
                <a:gd name="connsiteX0" fmla="*/ 4641170 w 4641170"/>
                <a:gd name="connsiteY0" fmla="*/ 0 h 257442"/>
                <a:gd name="connsiteX1" fmla="*/ 4586449 w 4641170"/>
                <a:gd name="connsiteY1" fmla="*/ 257442 h 257442"/>
                <a:gd name="connsiteX2" fmla="*/ 0 w 4641170"/>
                <a:gd name="connsiteY2" fmla="*/ 257442 h 257442"/>
                <a:gd name="connsiteX3" fmla="*/ 0 w 4641170"/>
                <a:gd name="connsiteY3" fmla="*/ 0 h 257442"/>
                <a:gd name="connsiteX0" fmla="*/ 4641171 w 4641171"/>
                <a:gd name="connsiteY0" fmla="*/ 0 h 257442"/>
                <a:gd name="connsiteX1" fmla="*/ 4586450 w 4641171"/>
                <a:gd name="connsiteY1" fmla="*/ 257442 h 257442"/>
                <a:gd name="connsiteX2" fmla="*/ 1 w 4641171"/>
                <a:gd name="connsiteY2" fmla="*/ 257442 h 257442"/>
                <a:gd name="connsiteX3" fmla="*/ 0 w 4641171"/>
                <a:gd name="connsiteY3" fmla="*/ 0 h 257442"/>
                <a:gd name="connsiteX0" fmla="*/ 3631471 w 4586450"/>
                <a:gd name="connsiteY0" fmla="*/ 0 h 257442"/>
                <a:gd name="connsiteX1" fmla="*/ 4586450 w 4586450"/>
                <a:gd name="connsiteY1" fmla="*/ 257442 h 257442"/>
                <a:gd name="connsiteX2" fmla="*/ 1 w 4586450"/>
                <a:gd name="connsiteY2" fmla="*/ 257442 h 257442"/>
                <a:gd name="connsiteX3" fmla="*/ 0 w 4586450"/>
                <a:gd name="connsiteY3" fmla="*/ 0 h 257442"/>
                <a:gd name="connsiteX0" fmla="*/ 3631471 w 3631471"/>
                <a:gd name="connsiteY0" fmla="*/ 0 h 257442"/>
                <a:gd name="connsiteX1" fmla="*/ 3576750 w 3631471"/>
                <a:gd name="connsiteY1" fmla="*/ 257442 h 257442"/>
                <a:gd name="connsiteX2" fmla="*/ 1 w 3631471"/>
                <a:gd name="connsiteY2" fmla="*/ 257442 h 257442"/>
                <a:gd name="connsiteX3" fmla="*/ 0 w 3631471"/>
                <a:gd name="connsiteY3" fmla="*/ 0 h 257442"/>
                <a:gd name="connsiteX0" fmla="*/ 3631471 w 3631471"/>
                <a:gd name="connsiteY0" fmla="*/ 0 h 257442"/>
                <a:gd name="connsiteX1" fmla="*/ 3576750 w 3631471"/>
                <a:gd name="connsiteY1" fmla="*/ 257442 h 257442"/>
                <a:gd name="connsiteX2" fmla="*/ 2 w 3631471"/>
                <a:gd name="connsiteY2" fmla="*/ 257442 h 257442"/>
                <a:gd name="connsiteX3" fmla="*/ 0 w 3631471"/>
                <a:gd name="connsiteY3" fmla="*/ 0 h 257442"/>
                <a:gd name="connsiteX0" fmla="*/ 3631469 w 3631469"/>
                <a:gd name="connsiteY0" fmla="*/ 0 h 257442"/>
                <a:gd name="connsiteX1" fmla="*/ 3576748 w 3631469"/>
                <a:gd name="connsiteY1" fmla="*/ 257442 h 257442"/>
                <a:gd name="connsiteX2" fmla="*/ 0 w 3631469"/>
                <a:gd name="connsiteY2" fmla="*/ 257442 h 257442"/>
                <a:gd name="connsiteX3" fmla="*/ 0 w 363146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1469" h="257442">
                  <a:moveTo>
                    <a:pt x="3631469" y="0"/>
                  </a:moveTo>
                  <a:lnTo>
                    <a:pt x="3576748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29" name="btfpRunningAgenda2LevelTextLeft937352">
              <a:extLst>
                <a:ext uri="{FF2B5EF4-FFF2-40B4-BE49-F238E27FC236}">
                  <a16:creationId xmlns:a16="http://schemas.microsoft.com/office/drawing/2014/main" id="{C47789E1-8603-4BBC-BC1E-2F834F42121D}"/>
                </a:ext>
              </a:extLst>
            </p:cNvPr>
            <p:cNvSpPr txBox="1"/>
            <p:nvPr/>
          </p:nvSpPr>
          <p:spPr bwMode="gray">
            <a:xfrm>
              <a:off x="0" y="876300"/>
              <a:ext cx="357674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ustomer Sentiment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8592077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think-cell data - do not delete" hidden="1">
            <a:extLst>
              <a:ext uri="{FF2B5EF4-FFF2-40B4-BE49-F238E27FC236}">
                <a16:creationId xmlns:a16="http://schemas.microsoft.com/office/drawing/2014/main" id="{9049BEDC-A861-8A3E-7FE4-F478864B46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84" imgH="486" progId="TCLayout.ActiveDocument.1">
                  <p:embed/>
                </p:oleObj>
              </mc:Choice>
              <mc:Fallback>
                <p:oleObj name="think-cell Slide" r:id="rId9" imgW="484" imgH="486" progId="TCLayout.ActiveDocument.1">
                  <p:embed/>
                  <p:pic>
                    <p:nvPicPr>
                      <p:cNvPr id="6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49BEDC-A861-8A3E-7FE4-F478864B46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5" name="btfpColumnIndicatorGroup2">
            <a:extLst>
              <a:ext uri="{FF2B5EF4-FFF2-40B4-BE49-F238E27FC236}">
                <a16:creationId xmlns:a16="http://schemas.microsoft.com/office/drawing/2014/main" id="{DCB66761-93DD-45D7-A2E7-C2BB3ABB4E6C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3" name="btfpColumnGapBlocker341052">
              <a:extLst>
                <a:ext uri="{FF2B5EF4-FFF2-40B4-BE49-F238E27FC236}">
                  <a16:creationId xmlns:a16="http://schemas.microsoft.com/office/drawing/2014/main" id="{26C7EEA0-AFF0-485F-AC2E-BEFC9CF52EBA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1" name="btfpColumnGapBlocker455632">
              <a:extLst>
                <a:ext uri="{FF2B5EF4-FFF2-40B4-BE49-F238E27FC236}">
                  <a16:creationId xmlns:a16="http://schemas.microsoft.com/office/drawing/2014/main" id="{37535526-8460-4FA8-BE35-AAF1AD373595}"/>
                </a:ext>
              </a:extLst>
            </p:cNvPr>
            <p:cNvSpPr/>
            <p:nvPr/>
          </p:nvSpPr>
          <p:spPr bwMode="gray">
            <a:xfrm>
              <a:off x="9447371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9" name="btfpColumnIndicator874814">
              <a:extLst>
                <a:ext uri="{FF2B5EF4-FFF2-40B4-BE49-F238E27FC236}">
                  <a16:creationId xmlns:a16="http://schemas.microsoft.com/office/drawing/2014/main" id="{429D061E-20C7-4749-BFE8-AF4BF6D5772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btfpColumnIndicator185973">
              <a:extLst>
                <a:ext uri="{FF2B5EF4-FFF2-40B4-BE49-F238E27FC236}">
                  <a16:creationId xmlns:a16="http://schemas.microsoft.com/office/drawing/2014/main" id="{1FD9BB2B-72A0-4732-BC4E-EB4F7CBA4E96}"/>
                </a:ext>
              </a:extLst>
            </p:cNvPr>
            <p:cNvCxnSpPr/>
            <p:nvPr/>
          </p:nvCxnSpPr>
          <p:spPr bwMode="gray">
            <a:xfrm flipV="1">
              <a:off x="9987915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btfpColumnGapBlocker925882">
              <a:extLst>
                <a:ext uri="{FF2B5EF4-FFF2-40B4-BE49-F238E27FC236}">
                  <a16:creationId xmlns:a16="http://schemas.microsoft.com/office/drawing/2014/main" id="{DCBDC292-EF79-4118-B2AC-1C354AE73F5A}"/>
                </a:ext>
              </a:extLst>
            </p:cNvPr>
            <p:cNvSpPr/>
            <p:nvPr/>
          </p:nvSpPr>
          <p:spPr bwMode="gray">
            <a:xfrm>
              <a:off x="7032943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3" name="btfpColumnIndicator105309">
              <a:extLst>
                <a:ext uri="{FF2B5EF4-FFF2-40B4-BE49-F238E27FC236}">
                  <a16:creationId xmlns:a16="http://schemas.microsoft.com/office/drawing/2014/main" id="{8E977BF5-0F27-4317-AFCA-292960654E86}"/>
                </a:ext>
              </a:extLst>
            </p:cNvPr>
            <p:cNvCxnSpPr/>
            <p:nvPr/>
          </p:nvCxnSpPr>
          <p:spPr bwMode="gray">
            <a:xfrm flipV="1">
              <a:off x="9447371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btfpColumnIndicator464462">
              <a:extLst>
                <a:ext uri="{FF2B5EF4-FFF2-40B4-BE49-F238E27FC236}">
                  <a16:creationId xmlns:a16="http://schemas.microsoft.com/office/drawing/2014/main" id="{4C9DBF98-5A50-4B25-A70A-B4B4279F00F4}"/>
                </a:ext>
              </a:extLst>
            </p:cNvPr>
            <p:cNvCxnSpPr/>
            <p:nvPr/>
          </p:nvCxnSpPr>
          <p:spPr bwMode="gray">
            <a:xfrm flipV="1">
              <a:off x="7573487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btfpColumnGapBlocker968221">
              <a:extLst>
                <a:ext uri="{FF2B5EF4-FFF2-40B4-BE49-F238E27FC236}">
                  <a16:creationId xmlns:a16="http://schemas.microsoft.com/office/drawing/2014/main" id="{3C118EBE-5BDB-405A-AD18-E9173E0A8AE4}"/>
                </a:ext>
              </a:extLst>
            </p:cNvPr>
            <p:cNvSpPr/>
            <p:nvPr/>
          </p:nvSpPr>
          <p:spPr bwMode="gray">
            <a:xfrm>
              <a:off x="461851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btfpColumnIndicator367862">
              <a:extLst>
                <a:ext uri="{FF2B5EF4-FFF2-40B4-BE49-F238E27FC236}">
                  <a16:creationId xmlns:a16="http://schemas.microsoft.com/office/drawing/2014/main" id="{64506264-672C-4F8B-BD9D-FA3C9EAEA440}"/>
                </a:ext>
              </a:extLst>
            </p:cNvPr>
            <p:cNvCxnSpPr/>
            <p:nvPr/>
          </p:nvCxnSpPr>
          <p:spPr bwMode="gray">
            <a:xfrm flipV="1">
              <a:off x="7032943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btfpColumnIndicator275853">
              <a:extLst>
                <a:ext uri="{FF2B5EF4-FFF2-40B4-BE49-F238E27FC236}">
                  <a16:creationId xmlns:a16="http://schemas.microsoft.com/office/drawing/2014/main" id="{77C7BB0A-EAD8-4A7B-81B1-9147EFA3A91F}"/>
                </a:ext>
              </a:extLst>
            </p:cNvPr>
            <p:cNvCxnSpPr/>
            <p:nvPr/>
          </p:nvCxnSpPr>
          <p:spPr bwMode="gray">
            <a:xfrm flipV="1">
              <a:off x="515905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btfpColumnGapBlocker437020">
              <a:extLst>
                <a:ext uri="{FF2B5EF4-FFF2-40B4-BE49-F238E27FC236}">
                  <a16:creationId xmlns:a16="http://schemas.microsoft.com/office/drawing/2014/main" id="{E6E1E526-2FCE-412F-8E3F-E4FC950628E1}"/>
                </a:ext>
              </a:extLst>
            </p:cNvPr>
            <p:cNvSpPr/>
            <p:nvPr/>
          </p:nvSpPr>
          <p:spPr bwMode="gray">
            <a:xfrm>
              <a:off x="2204085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816167">
              <a:extLst>
                <a:ext uri="{FF2B5EF4-FFF2-40B4-BE49-F238E27FC236}">
                  <a16:creationId xmlns:a16="http://schemas.microsoft.com/office/drawing/2014/main" id="{AC3AD622-81C2-4DAB-AFE5-02AB9D2D8A11}"/>
                </a:ext>
              </a:extLst>
            </p:cNvPr>
            <p:cNvCxnSpPr/>
            <p:nvPr/>
          </p:nvCxnSpPr>
          <p:spPr bwMode="gray">
            <a:xfrm flipV="1">
              <a:off x="461851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btfpColumnIndicator371160">
              <a:extLst>
                <a:ext uri="{FF2B5EF4-FFF2-40B4-BE49-F238E27FC236}">
                  <a16:creationId xmlns:a16="http://schemas.microsoft.com/office/drawing/2014/main" id="{E04CBF5D-0B5B-48B5-9B3C-71C42820FB76}"/>
                </a:ext>
              </a:extLst>
            </p:cNvPr>
            <p:cNvCxnSpPr/>
            <p:nvPr/>
          </p:nvCxnSpPr>
          <p:spPr bwMode="gray">
            <a:xfrm flipV="1">
              <a:off x="2744629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btfpColumnGapBlocker329300">
              <a:extLst>
                <a:ext uri="{FF2B5EF4-FFF2-40B4-BE49-F238E27FC236}">
                  <a16:creationId xmlns:a16="http://schemas.microsoft.com/office/drawing/2014/main" id="{184F91CA-2E46-4AA5-9E4E-0B47B6D32747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735430">
              <a:extLst>
                <a:ext uri="{FF2B5EF4-FFF2-40B4-BE49-F238E27FC236}">
                  <a16:creationId xmlns:a16="http://schemas.microsoft.com/office/drawing/2014/main" id="{2C8AE9FD-F5B5-4A19-B6C3-B1D0DBFC90AE}"/>
                </a:ext>
              </a:extLst>
            </p:cNvPr>
            <p:cNvCxnSpPr/>
            <p:nvPr/>
          </p:nvCxnSpPr>
          <p:spPr bwMode="gray">
            <a:xfrm flipV="1">
              <a:off x="2204085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417978">
              <a:extLst>
                <a:ext uri="{FF2B5EF4-FFF2-40B4-BE49-F238E27FC236}">
                  <a16:creationId xmlns:a16="http://schemas.microsoft.com/office/drawing/2014/main" id="{16C67F05-874A-4AFD-B43B-E13EA8495BBB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btfpColumnIndicatorGroup1">
            <a:extLst>
              <a:ext uri="{FF2B5EF4-FFF2-40B4-BE49-F238E27FC236}">
                <a16:creationId xmlns:a16="http://schemas.microsoft.com/office/drawing/2014/main" id="{49080DBE-78FB-40BC-A2A4-B041AFFE390B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2" name="btfpColumnGapBlocker226431">
              <a:extLst>
                <a:ext uri="{FF2B5EF4-FFF2-40B4-BE49-F238E27FC236}">
                  <a16:creationId xmlns:a16="http://schemas.microsoft.com/office/drawing/2014/main" id="{9A34CE90-237F-4C3F-96DE-0245E1C2FCB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0" name="btfpColumnGapBlocker314714">
              <a:extLst>
                <a:ext uri="{FF2B5EF4-FFF2-40B4-BE49-F238E27FC236}">
                  <a16:creationId xmlns:a16="http://schemas.microsoft.com/office/drawing/2014/main" id="{938A242D-D7B0-4DBB-9B29-E4D9C2672E45}"/>
                </a:ext>
              </a:extLst>
            </p:cNvPr>
            <p:cNvSpPr/>
            <p:nvPr/>
          </p:nvSpPr>
          <p:spPr bwMode="gray">
            <a:xfrm>
              <a:off x="9447371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8" name="btfpColumnIndicator561217">
              <a:extLst>
                <a:ext uri="{FF2B5EF4-FFF2-40B4-BE49-F238E27FC236}">
                  <a16:creationId xmlns:a16="http://schemas.microsoft.com/office/drawing/2014/main" id="{9D1E7CDE-2C0A-452F-BCBB-7BCCD35C5A08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btfpColumnIndicator331949">
              <a:extLst>
                <a:ext uri="{FF2B5EF4-FFF2-40B4-BE49-F238E27FC236}">
                  <a16:creationId xmlns:a16="http://schemas.microsoft.com/office/drawing/2014/main" id="{9AA0FD9E-4400-4CE4-A246-D16DCCEF1D85}"/>
                </a:ext>
              </a:extLst>
            </p:cNvPr>
            <p:cNvCxnSpPr/>
            <p:nvPr/>
          </p:nvCxnSpPr>
          <p:spPr bwMode="gray">
            <a:xfrm flipV="1">
              <a:off x="9987915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btfpColumnGapBlocker477914">
              <a:extLst>
                <a:ext uri="{FF2B5EF4-FFF2-40B4-BE49-F238E27FC236}">
                  <a16:creationId xmlns:a16="http://schemas.microsoft.com/office/drawing/2014/main" id="{C5E79117-3EEF-4E88-ADD5-322814CBF9C4}"/>
                </a:ext>
              </a:extLst>
            </p:cNvPr>
            <p:cNvSpPr/>
            <p:nvPr/>
          </p:nvSpPr>
          <p:spPr bwMode="gray">
            <a:xfrm>
              <a:off x="7032943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2" name="btfpColumnIndicator105658">
              <a:extLst>
                <a:ext uri="{FF2B5EF4-FFF2-40B4-BE49-F238E27FC236}">
                  <a16:creationId xmlns:a16="http://schemas.microsoft.com/office/drawing/2014/main" id="{938593BB-EF34-41B9-9D57-A9FE543ADA17}"/>
                </a:ext>
              </a:extLst>
            </p:cNvPr>
            <p:cNvCxnSpPr/>
            <p:nvPr/>
          </p:nvCxnSpPr>
          <p:spPr bwMode="gray">
            <a:xfrm flipV="1">
              <a:off x="9447371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btfpColumnIndicator817748">
              <a:extLst>
                <a:ext uri="{FF2B5EF4-FFF2-40B4-BE49-F238E27FC236}">
                  <a16:creationId xmlns:a16="http://schemas.microsoft.com/office/drawing/2014/main" id="{FF4C4B0B-0B76-489D-B480-330183F0A7CA}"/>
                </a:ext>
              </a:extLst>
            </p:cNvPr>
            <p:cNvCxnSpPr/>
            <p:nvPr/>
          </p:nvCxnSpPr>
          <p:spPr bwMode="gray">
            <a:xfrm flipV="1">
              <a:off x="7573487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btfpColumnGapBlocker985725">
              <a:extLst>
                <a:ext uri="{FF2B5EF4-FFF2-40B4-BE49-F238E27FC236}">
                  <a16:creationId xmlns:a16="http://schemas.microsoft.com/office/drawing/2014/main" id="{972454CE-CA58-45DF-B9AC-3268DEF79C5A}"/>
                </a:ext>
              </a:extLst>
            </p:cNvPr>
            <p:cNvSpPr/>
            <p:nvPr/>
          </p:nvSpPr>
          <p:spPr bwMode="gray">
            <a:xfrm>
              <a:off x="461851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6" name="btfpColumnIndicator999248">
              <a:extLst>
                <a:ext uri="{FF2B5EF4-FFF2-40B4-BE49-F238E27FC236}">
                  <a16:creationId xmlns:a16="http://schemas.microsoft.com/office/drawing/2014/main" id="{70387740-5E46-432E-A9BD-5E2FCB9B5A73}"/>
                </a:ext>
              </a:extLst>
            </p:cNvPr>
            <p:cNvCxnSpPr/>
            <p:nvPr/>
          </p:nvCxnSpPr>
          <p:spPr bwMode="gray">
            <a:xfrm flipV="1">
              <a:off x="7032943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btfpColumnIndicator872609">
              <a:extLst>
                <a:ext uri="{FF2B5EF4-FFF2-40B4-BE49-F238E27FC236}">
                  <a16:creationId xmlns:a16="http://schemas.microsoft.com/office/drawing/2014/main" id="{949A2894-58D0-4173-A431-F2F0CF25787A}"/>
                </a:ext>
              </a:extLst>
            </p:cNvPr>
            <p:cNvCxnSpPr/>
            <p:nvPr/>
          </p:nvCxnSpPr>
          <p:spPr bwMode="gray">
            <a:xfrm flipV="1">
              <a:off x="515905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btfpColumnGapBlocker211917">
              <a:extLst>
                <a:ext uri="{FF2B5EF4-FFF2-40B4-BE49-F238E27FC236}">
                  <a16:creationId xmlns:a16="http://schemas.microsoft.com/office/drawing/2014/main" id="{3511039D-8DEA-4479-83B6-1BF788E79521}"/>
                </a:ext>
              </a:extLst>
            </p:cNvPr>
            <p:cNvSpPr/>
            <p:nvPr/>
          </p:nvSpPr>
          <p:spPr bwMode="gray">
            <a:xfrm>
              <a:off x="2204085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662909">
              <a:extLst>
                <a:ext uri="{FF2B5EF4-FFF2-40B4-BE49-F238E27FC236}">
                  <a16:creationId xmlns:a16="http://schemas.microsoft.com/office/drawing/2014/main" id="{4DD31A21-A38B-45F6-BD40-30103F029FE8}"/>
                </a:ext>
              </a:extLst>
            </p:cNvPr>
            <p:cNvCxnSpPr/>
            <p:nvPr/>
          </p:nvCxnSpPr>
          <p:spPr bwMode="gray">
            <a:xfrm flipV="1">
              <a:off x="461851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490117">
              <a:extLst>
                <a:ext uri="{FF2B5EF4-FFF2-40B4-BE49-F238E27FC236}">
                  <a16:creationId xmlns:a16="http://schemas.microsoft.com/office/drawing/2014/main" id="{A5C52CAB-364E-4D61-8310-7E347E0E7181}"/>
                </a:ext>
              </a:extLst>
            </p:cNvPr>
            <p:cNvCxnSpPr/>
            <p:nvPr/>
          </p:nvCxnSpPr>
          <p:spPr bwMode="gray">
            <a:xfrm flipV="1">
              <a:off x="2744629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btfpColumnGapBlocker365897">
              <a:extLst>
                <a:ext uri="{FF2B5EF4-FFF2-40B4-BE49-F238E27FC236}">
                  <a16:creationId xmlns:a16="http://schemas.microsoft.com/office/drawing/2014/main" id="{8BC1084D-FD94-4FDA-9148-18504A5BC5B9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416883">
              <a:extLst>
                <a:ext uri="{FF2B5EF4-FFF2-40B4-BE49-F238E27FC236}">
                  <a16:creationId xmlns:a16="http://schemas.microsoft.com/office/drawing/2014/main" id="{EDB52220-5532-4A89-B9EA-E72351B161CA}"/>
                </a:ext>
              </a:extLst>
            </p:cNvPr>
            <p:cNvCxnSpPr/>
            <p:nvPr/>
          </p:nvCxnSpPr>
          <p:spPr bwMode="gray">
            <a:xfrm flipV="1">
              <a:off x="2204085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162778">
              <a:extLst>
                <a:ext uri="{FF2B5EF4-FFF2-40B4-BE49-F238E27FC236}">
                  <a16:creationId xmlns:a16="http://schemas.microsoft.com/office/drawing/2014/main" id="{7B7F83F6-8856-4FA7-988A-5A6AA293BBB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D1F7DE0-E94A-C4F7-59F4-1F33CA1E4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b="1" dirty="0"/>
              <a:t>Customer sentiment/ Performance on KPCs: </a:t>
            </a:r>
            <a:r>
              <a:rPr lang="en-GB" dirty="0"/>
              <a:t>Target performs well on health benefits and taste/smell; efficacy and price feedback is mixed</a:t>
            </a:r>
          </a:p>
        </p:txBody>
      </p:sp>
      <p:graphicFrame>
        <p:nvGraphicFramePr>
          <p:cNvPr id="108" name="btfpTable890077">
            <a:extLst>
              <a:ext uri="{FF2B5EF4-FFF2-40B4-BE49-F238E27FC236}">
                <a16:creationId xmlns:a16="http://schemas.microsoft.com/office/drawing/2014/main" id="{AE5B3AB5-AA38-47FC-8C4E-3A8EF5283AAA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7" y="1422555"/>
          <a:ext cx="11531602" cy="4495591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21312">
                  <a:extLst>
                    <a:ext uri="{9D8B030D-6E8A-4147-A177-3AD203B41FA5}">
                      <a16:colId xmlns:a16="http://schemas.microsoft.com/office/drawing/2014/main" val="1203163832"/>
                    </a:ext>
                  </a:extLst>
                </a:gridCol>
                <a:gridCol w="2226654">
                  <a:extLst>
                    <a:ext uri="{9D8B030D-6E8A-4147-A177-3AD203B41FA5}">
                      <a16:colId xmlns:a16="http://schemas.microsoft.com/office/drawing/2014/main" val="4194006241"/>
                    </a:ext>
                  </a:extLst>
                </a:gridCol>
                <a:gridCol w="1695909">
                  <a:extLst>
                    <a:ext uri="{9D8B030D-6E8A-4147-A177-3AD203B41FA5}">
                      <a16:colId xmlns:a16="http://schemas.microsoft.com/office/drawing/2014/main" val="1273255771"/>
                    </a:ext>
                  </a:extLst>
                </a:gridCol>
                <a:gridCol w="1695909">
                  <a:extLst>
                    <a:ext uri="{9D8B030D-6E8A-4147-A177-3AD203B41FA5}">
                      <a16:colId xmlns:a16="http://schemas.microsoft.com/office/drawing/2014/main" val="1289995570"/>
                    </a:ext>
                  </a:extLst>
                </a:gridCol>
                <a:gridCol w="1695909">
                  <a:extLst>
                    <a:ext uri="{9D8B030D-6E8A-4147-A177-3AD203B41FA5}">
                      <a16:colId xmlns:a16="http://schemas.microsoft.com/office/drawing/2014/main" val="1830000838"/>
                    </a:ext>
                  </a:extLst>
                </a:gridCol>
                <a:gridCol w="1695909">
                  <a:extLst>
                    <a:ext uri="{9D8B030D-6E8A-4147-A177-3AD203B41FA5}">
                      <a16:colId xmlns:a16="http://schemas.microsoft.com/office/drawing/2014/main" val="1276143698"/>
                    </a:ext>
                  </a:extLst>
                </a:gridCol>
              </a:tblGrid>
              <a:tr h="576297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noProof="0" dirty="0">
                          <a:solidFill>
                            <a:schemeClr val="tx1"/>
                          </a:solidFill>
                        </a:rPr>
                        <a:t>KPC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100" b="1" noProof="0" dirty="0">
                          <a:solidFill>
                            <a:schemeClr val="tx1"/>
                          </a:solidFill>
                        </a:rPr>
                        <a:t>KPC </a:t>
                      </a:r>
                      <a:br>
                        <a:rPr lang="en-US" sz="1100" b="1" noProof="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100" b="1" noProof="0" dirty="0">
                          <a:solidFill>
                            <a:schemeClr val="tx1"/>
                          </a:solidFill>
                        </a:rPr>
                        <a:t>Importance </a:t>
                      </a:r>
                      <a:br>
                        <a:rPr lang="en-US" sz="1100" b="1" noProof="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100" b="1" noProof="0" dirty="0">
                          <a:solidFill>
                            <a:schemeClr val="tx1"/>
                          </a:solidFill>
                        </a:rPr>
                        <a:t>(% of respondents)</a:t>
                      </a:r>
                      <a:endParaRPr lang="en-US" sz="1100" b="1" i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arge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100" b="1" noProof="0" dirty="0">
                          <a:solidFill>
                            <a:schemeClr val="tx1"/>
                          </a:solidFill>
                          <a:latin typeface="+mn-lt"/>
                        </a:rPr>
                        <a:t>Comp 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100" b="1" noProof="0" dirty="0">
                          <a:solidFill>
                            <a:schemeClr val="tx1"/>
                          </a:solidFill>
                          <a:latin typeface="+mn-lt"/>
                        </a:rPr>
                        <a:t>Comp 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100" b="1" noProof="0" dirty="0">
                          <a:solidFill>
                            <a:schemeClr val="tx1"/>
                          </a:solidFill>
                          <a:latin typeface="+mn-lt"/>
                        </a:rPr>
                        <a:t>Comp 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7657855"/>
                  </a:ext>
                </a:extLst>
              </a:tr>
              <a:tr h="301223">
                <a:tc>
                  <a:txBody>
                    <a:bodyPr/>
                    <a:lstStyle/>
                    <a:p>
                      <a:pPr marL="0" indent="0" algn="l" defTabSz="711200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1000" b="1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aste &amp; Quality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10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>
                          <a:solidFill>
                            <a:schemeClr val="tx1"/>
                          </a:solidFill>
                        </a:rPr>
                        <a:t>92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>
                          <a:solidFill>
                            <a:schemeClr val="tx1"/>
                          </a:solidFill>
                        </a:rPr>
                        <a:t>8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8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>
                          <a:solidFill>
                            <a:schemeClr val="tx1"/>
                          </a:solidFill>
                        </a:rPr>
                        <a:t>86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9850179"/>
                  </a:ext>
                </a:extLst>
              </a:tr>
              <a:tr h="301223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000" b="1" noProof="0"/>
                        <a:t>Customer Service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b="0" noProof="0">
                          <a:solidFill>
                            <a:schemeClr val="tx1"/>
                          </a:solidFill>
                        </a:rPr>
                        <a:t>3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>
                          <a:solidFill>
                            <a:schemeClr val="tx1"/>
                          </a:solidFill>
                        </a:rPr>
                        <a:t>8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>
                          <a:solidFill>
                            <a:schemeClr val="tx1"/>
                          </a:solidFill>
                        </a:rPr>
                        <a:t>81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67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>
                          <a:solidFill>
                            <a:schemeClr val="tx1"/>
                          </a:solidFill>
                        </a:rPr>
                        <a:t>62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0062588"/>
                  </a:ext>
                </a:extLst>
              </a:tr>
              <a:tr h="301223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/>
                        <a:t>Value for Money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b="0" noProof="0">
                          <a:solidFill>
                            <a:schemeClr val="tx1"/>
                          </a:solidFill>
                        </a:rPr>
                        <a:t>2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>
                          <a:solidFill>
                            <a:schemeClr val="tx1"/>
                          </a:solidFill>
                        </a:rPr>
                        <a:t>62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>
                          <a:solidFill>
                            <a:schemeClr val="tx1"/>
                          </a:solidFill>
                        </a:rPr>
                        <a:t>61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6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>
                          <a:solidFill>
                            <a:schemeClr val="tx1"/>
                          </a:solidFill>
                        </a:rPr>
                        <a:t>56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8570025"/>
                  </a:ext>
                </a:extLst>
              </a:tr>
              <a:tr h="301223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000" b="1" noProof="0"/>
                        <a:t>Variety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b="0" noProof="0">
                          <a:solidFill>
                            <a:schemeClr val="tx1"/>
                          </a:solidFill>
                        </a:rPr>
                        <a:t>19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>
                          <a:solidFill>
                            <a:schemeClr val="tx1"/>
                          </a:solidFill>
                        </a:rPr>
                        <a:t>89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>
                          <a:solidFill>
                            <a:schemeClr val="tx1"/>
                          </a:solidFill>
                        </a:rPr>
                        <a:t>66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78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8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3165923"/>
                  </a:ext>
                </a:extLst>
              </a:tr>
              <a:tr h="301223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000" b="1" noProof="0"/>
                        <a:t>Atmosphere and Ambience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b="0" noProof="0">
                          <a:solidFill>
                            <a:schemeClr val="tx1"/>
                          </a:solidFill>
                        </a:rPr>
                        <a:t>17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>
                          <a:solidFill>
                            <a:schemeClr val="tx1"/>
                          </a:solidFill>
                        </a:rPr>
                        <a:t>8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84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7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78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465171"/>
                  </a:ext>
                </a:extLst>
              </a:tr>
              <a:tr h="301223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000" b="1" noProof="0" dirty="0"/>
                        <a:t>Location Accessibility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b="0" noProof="0">
                          <a:solidFill>
                            <a:schemeClr val="tx1"/>
                          </a:solidFill>
                        </a:rPr>
                        <a:t>8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>
                          <a:solidFill>
                            <a:schemeClr val="tx1"/>
                          </a:solidFill>
                        </a:rPr>
                        <a:t>79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8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7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78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9946978"/>
                  </a:ext>
                </a:extLst>
              </a:tr>
              <a:tr h="301223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000" b="1" noProof="0" dirty="0"/>
                        <a:t>Preparation/Delivery Speed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b="0" noProof="0">
                          <a:solidFill>
                            <a:schemeClr val="tx1"/>
                          </a:solidFill>
                        </a:rPr>
                        <a:t>7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>
                          <a:solidFill>
                            <a:schemeClr val="tx1"/>
                          </a:solidFill>
                        </a:rPr>
                        <a:t>94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9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9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81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6913793"/>
                  </a:ext>
                </a:extLst>
              </a:tr>
              <a:tr h="301223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000" b="1" noProof="0"/>
                        <a:t>Dietary Preferences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b="0" noProof="0">
                          <a:solidFill>
                            <a:schemeClr val="tx1"/>
                          </a:solidFill>
                        </a:rPr>
                        <a:t>6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>
                          <a:solidFill>
                            <a:schemeClr val="tx1"/>
                          </a:solidFill>
                        </a:rPr>
                        <a:t>8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78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6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8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980692"/>
                  </a:ext>
                </a:extLst>
              </a:tr>
              <a:tr h="301223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000" b="1" noProof="0"/>
                        <a:t>Cleanliness and Hygiene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b="0" noProof="0">
                          <a:solidFill>
                            <a:schemeClr val="tx1"/>
                          </a:solidFill>
                        </a:rPr>
                        <a:t>6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>
                          <a:solidFill>
                            <a:schemeClr val="tx1"/>
                          </a:solidFill>
                        </a:rPr>
                        <a:t>49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4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34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26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6585128"/>
                  </a:ext>
                </a:extLst>
              </a:tr>
              <a:tr h="301223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000" b="1" noProof="0"/>
                        <a:t>Ingredients Quality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b="0" noProof="0">
                          <a:solidFill>
                            <a:schemeClr val="tx1"/>
                          </a:solidFill>
                        </a:rPr>
                        <a:t>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>
                          <a:solidFill>
                            <a:schemeClr val="tx1"/>
                          </a:solidFill>
                        </a:rPr>
                        <a:t>84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58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32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68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6048837"/>
                  </a:ext>
                </a:extLst>
              </a:tr>
              <a:tr h="301223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000" b="1" noProof="0"/>
                        <a:t>Delivery Options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b="0" noProof="0">
                          <a:solidFill>
                            <a:schemeClr val="tx1"/>
                          </a:solidFill>
                        </a:rPr>
                        <a:t>1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>
                          <a:solidFill>
                            <a:schemeClr val="tx1"/>
                          </a:solidFill>
                        </a:rPr>
                        <a:t>51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8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7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36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141830"/>
                  </a:ext>
                </a:extLst>
              </a:tr>
              <a:tr h="301223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000" b="1" noProof="0"/>
                        <a:t>Promotional Offers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b="0" noProof="0">
                          <a:solidFill>
                            <a:schemeClr val="tx1"/>
                          </a:solidFill>
                        </a:rPr>
                        <a:t>0.1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>
                          <a:solidFill>
                            <a:schemeClr val="tx1"/>
                          </a:solidFill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>
                          <a:solidFill>
                            <a:schemeClr val="tx1"/>
                          </a:solidFill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>
                          <a:solidFill>
                            <a:schemeClr val="tx1"/>
                          </a:solidFill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i="0" noProof="0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6120677"/>
                  </a:ext>
                </a:extLst>
              </a:tr>
              <a:tr h="286555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000" b="0" i="1" noProof="0"/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000" b="0" i="1" noProof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b="0" i="1" noProof="0">
                          <a:solidFill>
                            <a:schemeClr val="tx1"/>
                          </a:solidFill>
                        </a:rPr>
                        <a:t>N=4,86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b="0" i="1" noProof="0">
                          <a:solidFill>
                            <a:schemeClr val="tx1"/>
                          </a:solidFill>
                        </a:rPr>
                        <a:t>N=68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b="0" i="1" noProof="0">
                          <a:solidFill>
                            <a:schemeClr val="tx1"/>
                          </a:solidFill>
                        </a:rPr>
                        <a:t>N=3,29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b="0" i="1" noProof="0" dirty="0">
                          <a:solidFill>
                            <a:schemeClr val="tx1"/>
                          </a:solidFill>
                        </a:rPr>
                        <a:t>N=1,77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0654433"/>
                  </a:ext>
                </a:extLst>
              </a:tr>
            </a:tbl>
          </a:graphicData>
        </a:graphic>
      </p:graphicFrame>
      <p:grpSp>
        <p:nvGrpSpPr>
          <p:cNvPr id="52" name="btfpStatusSticker318065">
            <a:extLst>
              <a:ext uri="{FF2B5EF4-FFF2-40B4-BE49-F238E27FC236}">
                <a16:creationId xmlns:a16="http://schemas.microsoft.com/office/drawing/2014/main" id="{C611CD96-9F5E-FEC8-FF24-C991DFD9505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53" name="btfpStatusStickerText318065">
              <a:extLst>
                <a:ext uri="{FF2B5EF4-FFF2-40B4-BE49-F238E27FC236}">
                  <a16:creationId xmlns:a16="http://schemas.microsoft.com/office/drawing/2014/main" id="{1598811F-1E44-6157-8666-B052B1F2E3D2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54" name="btfpStatusStickerLine318065">
              <a:extLst>
                <a:ext uri="{FF2B5EF4-FFF2-40B4-BE49-F238E27FC236}">
                  <a16:creationId xmlns:a16="http://schemas.microsoft.com/office/drawing/2014/main" id="{5C540B41-F646-67FB-30CA-A88C276FF147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RunningAgenda2Level511585">
            <a:extLst>
              <a:ext uri="{FF2B5EF4-FFF2-40B4-BE49-F238E27FC236}">
                <a16:creationId xmlns:a16="http://schemas.microsoft.com/office/drawing/2014/main" id="{3C18353E-C4EC-E2F2-C5EA-87CD71546C7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-1" y="944429"/>
            <a:ext cx="6827888" cy="257442"/>
            <a:chOff x="-1" y="876300"/>
            <a:chExt cx="6827888" cy="257442"/>
          </a:xfrm>
        </p:grpSpPr>
        <p:sp>
          <p:nvSpPr>
            <p:cNvPr id="14" name="btfpRunningAgenda2LevelBarLeft511585">
              <a:extLst>
                <a:ext uri="{FF2B5EF4-FFF2-40B4-BE49-F238E27FC236}">
                  <a16:creationId xmlns:a16="http://schemas.microsoft.com/office/drawing/2014/main" id="{734FEBD8-6CB7-C800-59B3-CC327450F1F3}"/>
                </a:ext>
              </a:extLst>
            </p:cNvPr>
            <p:cNvSpPr/>
            <p:nvPr/>
          </p:nvSpPr>
          <p:spPr bwMode="gray">
            <a:xfrm>
              <a:off x="-1" y="876300"/>
              <a:ext cx="3631471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811613 w 1811613"/>
                <a:gd name="connsiteY0" fmla="*/ 0 h 257442"/>
                <a:gd name="connsiteX1" fmla="*/ 1570944 w 1811613"/>
                <a:gd name="connsiteY1" fmla="*/ 257442 h 257442"/>
                <a:gd name="connsiteX2" fmla="*/ 0 w 1811613"/>
                <a:gd name="connsiteY2" fmla="*/ 257442 h 257442"/>
                <a:gd name="connsiteX3" fmla="*/ 0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0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0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0 w 1811613"/>
                <a:gd name="connsiteY3" fmla="*/ 0 h 257442"/>
                <a:gd name="connsiteX0" fmla="*/ 1971914 w 1971914"/>
                <a:gd name="connsiteY0" fmla="*/ 0 h 257442"/>
                <a:gd name="connsiteX1" fmla="*/ 1756892 w 1971914"/>
                <a:gd name="connsiteY1" fmla="*/ 257442 h 257442"/>
                <a:gd name="connsiteX2" fmla="*/ 0 w 1971914"/>
                <a:gd name="connsiteY2" fmla="*/ 257442 h 257442"/>
                <a:gd name="connsiteX3" fmla="*/ 0 w 1971914"/>
                <a:gd name="connsiteY3" fmla="*/ 0 h 257442"/>
                <a:gd name="connsiteX0" fmla="*/ 1971914 w 1971914"/>
                <a:gd name="connsiteY0" fmla="*/ 0 h 257442"/>
                <a:gd name="connsiteX1" fmla="*/ 1917192 w 1971914"/>
                <a:gd name="connsiteY1" fmla="*/ 257442 h 257442"/>
                <a:gd name="connsiteX2" fmla="*/ 0 w 1971914"/>
                <a:gd name="connsiteY2" fmla="*/ 257442 h 257442"/>
                <a:gd name="connsiteX3" fmla="*/ 0 w 1971914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1 w 1971915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1 w 1971915"/>
                <a:gd name="connsiteY3" fmla="*/ 0 h 257442"/>
                <a:gd name="connsiteX0" fmla="*/ 2140230 w 2140230"/>
                <a:gd name="connsiteY0" fmla="*/ 0 h 257442"/>
                <a:gd name="connsiteX1" fmla="*/ 1917193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0 w 2140230"/>
                <a:gd name="connsiteY3" fmla="*/ 0 h 257442"/>
                <a:gd name="connsiteX0" fmla="*/ 2241218 w 2241218"/>
                <a:gd name="connsiteY0" fmla="*/ 0 h 257442"/>
                <a:gd name="connsiteX1" fmla="*/ 2085508 w 2241218"/>
                <a:gd name="connsiteY1" fmla="*/ 257442 h 257442"/>
                <a:gd name="connsiteX2" fmla="*/ 0 w 2241218"/>
                <a:gd name="connsiteY2" fmla="*/ 257442 h 257442"/>
                <a:gd name="connsiteX3" fmla="*/ 0 w 2241218"/>
                <a:gd name="connsiteY3" fmla="*/ 0 h 257442"/>
                <a:gd name="connsiteX0" fmla="*/ 2241218 w 2241218"/>
                <a:gd name="connsiteY0" fmla="*/ 0 h 257442"/>
                <a:gd name="connsiteX1" fmla="*/ 2186497 w 2241218"/>
                <a:gd name="connsiteY1" fmla="*/ 257442 h 257442"/>
                <a:gd name="connsiteX2" fmla="*/ 0 w 2241218"/>
                <a:gd name="connsiteY2" fmla="*/ 257442 h 257442"/>
                <a:gd name="connsiteX3" fmla="*/ 0 w 2241218"/>
                <a:gd name="connsiteY3" fmla="*/ 0 h 257442"/>
                <a:gd name="connsiteX0" fmla="*/ 2241218 w 2241218"/>
                <a:gd name="connsiteY0" fmla="*/ 0 h 257442"/>
                <a:gd name="connsiteX1" fmla="*/ 2186497 w 2241218"/>
                <a:gd name="connsiteY1" fmla="*/ 257442 h 257442"/>
                <a:gd name="connsiteX2" fmla="*/ 0 w 2241218"/>
                <a:gd name="connsiteY2" fmla="*/ 257442 h 257442"/>
                <a:gd name="connsiteX3" fmla="*/ 0 w 2241218"/>
                <a:gd name="connsiteY3" fmla="*/ 0 h 257442"/>
                <a:gd name="connsiteX0" fmla="*/ 2241218 w 2241218"/>
                <a:gd name="connsiteY0" fmla="*/ 0 h 257442"/>
                <a:gd name="connsiteX1" fmla="*/ 2186497 w 2241218"/>
                <a:gd name="connsiteY1" fmla="*/ 257442 h 257442"/>
                <a:gd name="connsiteX2" fmla="*/ 0 w 2241218"/>
                <a:gd name="connsiteY2" fmla="*/ 257442 h 257442"/>
                <a:gd name="connsiteX3" fmla="*/ 0 w 2241218"/>
                <a:gd name="connsiteY3" fmla="*/ 0 h 257442"/>
                <a:gd name="connsiteX0" fmla="*/ 2401518 w 2401518"/>
                <a:gd name="connsiteY0" fmla="*/ 0 h 257442"/>
                <a:gd name="connsiteX1" fmla="*/ 2186497 w 2401518"/>
                <a:gd name="connsiteY1" fmla="*/ 257442 h 257442"/>
                <a:gd name="connsiteX2" fmla="*/ 0 w 2401518"/>
                <a:gd name="connsiteY2" fmla="*/ 257442 h 257442"/>
                <a:gd name="connsiteX3" fmla="*/ 0 w 2401518"/>
                <a:gd name="connsiteY3" fmla="*/ 0 h 257442"/>
                <a:gd name="connsiteX0" fmla="*/ 2401518 w 2401518"/>
                <a:gd name="connsiteY0" fmla="*/ 0 h 257442"/>
                <a:gd name="connsiteX1" fmla="*/ 2346797 w 2401518"/>
                <a:gd name="connsiteY1" fmla="*/ 257442 h 257442"/>
                <a:gd name="connsiteX2" fmla="*/ 0 w 2401518"/>
                <a:gd name="connsiteY2" fmla="*/ 257442 h 257442"/>
                <a:gd name="connsiteX3" fmla="*/ 0 w 2401518"/>
                <a:gd name="connsiteY3" fmla="*/ 0 h 257442"/>
                <a:gd name="connsiteX0" fmla="*/ 2401518 w 2401518"/>
                <a:gd name="connsiteY0" fmla="*/ 0 h 257442"/>
                <a:gd name="connsiteX1" fmla="*/ 2346797 w 2401518"/>
                <a:gd name="connsiteY1" fmla="*/ 257442 h 257442"/>
                <a:gd name="connsiteX2" fmla="*/ 0 w 2401518"/>
                <a:gd name="connsiteY2" fmla="*/ 257442 h 257442"/>
                <a:gd name="connsiteX3" fmla="*/ 0 w 2401518"/>
                <a:gd name="connsiteY3" fmla="*/ 0 h 257442"/>
                <a:gd name="connsiteX0" fmla="*/ 2401518 w 2401518"/>
                <a:gd name="connsiteY0" fmla="*/ 0 h 257442"/>
                <a:gd name="connsiteX1" fmla="*/ 2346797 w 2401518"/>
                <a:gd name="connsiteY1" fmla="*/ 257442 h 257442"/>
                <a:gd name="connsiteX2" fmla="*/ 0 w 2401518"/>
                <a:gd name="connsiteY2" fmla="*/ 257442 h 257442"/>
                <a:gd name="connsiteX3" fmla="*/ 0 w 2401518"/>
                <a:gd name="connsiteY3" fmla="*/ 0 h 257442"/>
                <a:gd name="connsiteX0" fmla="*/ 2561819 w 2561819"/>
                <a:gd name="connsiteY0" fmla="*/ 0 h 257442"/>
                <a:gd name="connsiteX1" fmla="*/ 2346797 w 2561819"/>
                <a:gd name="connsiteY1" fmla="*/ 257442 h 257442"/>
                <a:gd name="connsiteX2" fmla="*/ 0 w 2561819"/>
                <a:gd name="connsiteY2" fmla="*/ 257442 h 257442"/>
                <a:gd name="connsiteX3" fmla="*/ 0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0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0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0 w 2561819"/>
                <a:gd name="connsiteY3" fmla="*/ 0 h 257442"/>
                <a:gd name="connsiteX0" fmla="*/ 2730134 w 2730134"/>
                <a:gd name="connsiteY0" fmla="*/ 0 h 257442"/>
                <a:gd name="connsiteX1" fmla="*/ 2507098 w 2730134"/>
                <a:gd name="connsiteY1" fmla="*/ 257442 h 257442"/>
                <a:gd name="connsiteX2" fmla="*/ 0 w 2730134"/>
                <a:gd name="connsiteY2" fmla="*/ 257442 h 257442"/>
                <a:gd name="connsiteX3" fmla="*/ 0 w 2730134"/>
                <a:gd name="connsiteY3" fmla="*/ 0 h 257442"/>
                <a:gd name="connsiteX0" fmla="*/ 2730134 w 2730134"/>
                <a:gd name="connsiteY0" fmla="*/ 0 h 257442"/>
                <a:gd name="connsiteX1" fmla="*/ 2675412 w 2730134"/>
                <a:gd name="connsiteY1" fmla="*/ 257442 h 257442"/>
                <a:gd name="connsiteX2" fmla="*/ 0 w 2730134"/>
                <a:gd name="connsiteY2" fmla="*/ 257442 h 257442"/>
                <a:gd name="connsiteX3" fmla="*/ 0 w 2730134"/>
                <a:gd name="connsiteY3" fmla="*/ 0 h 257442"/>
                <a:gd name="connsiteX0" fmla="*/ 2730135 w 2730135"/>
                <a:gd name="connsiteY0" fmla="*/ 0 h 257442"/>
                <a:gd name="connsiteX1" fmla="*/ 2675413 w 2730135"/>
                <a:gd name="connsiteY1" fmla="*/ 257442 h 257442"/>
                <a:gd name="connsiteX2" fmla="*/ 0 w 2730135"/>
                <a:gd name="connsiteY2" fmla="*/ 257442 h 257442"/>
                <a:gd name="connsiteX3" fmla="*/ 1 w 2730135"/>
                <a:gd name="connsiteY3" fmla="*/ 0 h 257442"/>
                <a:gd name="connsiteX0" fmla="*/ 2730135 w 2730135"/>
                <a:gd name="connsiteY0" fmla="*/ 0 h 257442"/>
                <a:gd name="connsiteX1" fmla="*/ 2675413 w 2730135"/>
                <a:gd name="connsiteY1" fmla="*/ 257442 h 257442"/>
                <a:gd name="connsiteX2" fmla="*/ 0 w 2730135"/>
                <a:gd name="connsiteY2" fmla="*/ 257442 h 257442"/>
                <a:gd name="connsiteX3" fmla="*/ 1 w 2730135"/>
                <a:gd name="connsiteY3" fmla="*/ 0 h 257442"/>
                <a:gd name="connsiteX0" fmla="*/ 2882420 w 2882420"/>
                <a:gd name="connsiteY0" fmla="*/ 0 h 257442"/>
                <a:gd name="connsiteX1" fmla="*/ 2675413 w 2882420"/>
                <a:gd name="connsiteY1" fmla="*/ 257442 h 257442"/>
                <a:gd name="connsiteX2" fmla="*/ 0 w 2882420"/>
                <a:gd name="connsiteY2" fmla="*/ 257442 h 257442"/>
                <a:gd name="connsiteX3" fmla="*/ 1 w 2882420"/>
                <a:gd name="connsiteY3" fmla="*/ 0 h 257442"/>
                <a:gd name="connsiteX0" fmla="*/ 2882420 w 2882420"/>
                <a:gd name="connsiteY0" fmla="*/ 0 h 257442"/>
                <a:gd name="connsiteX1" fmla="*/ 2827698 w 2882420"/>
                <a:gd name="connsiteY1" fmla="*/ 257442 h 257442"/>
                <a:gd name="connsiteX2" fmla="*/ 0 w 2882420"/>
                <a:gd name="connsiteY2" fmla="*/ 257442 h 257442"/>
                <a:gd name="connsiteX3" fmla="*/ 1 w 2882420"/>
                <a:gd name="connsiteY3" fmla="*/ 0 h 257442"/>
                <a:gd name="connsiteX0" fmla="*/ 2882420 w 2882420"/>
                <a:gd name="connsiteY0" fmla="*/ 0 h 257442"/>
                <a:gd name="connsiteX1" fmla="*/ 2827698 w 2882420"/>
                <a:gd name="connsiteY1" fmla="*/ 257442 h 257442"/>
                <a:gd name="connsiteX2" fmla="*/ 0 w 2882420"/>
                <a:gd name="connsiteY2" fmla="*/ 257442 h 257442"/>
                <a:gd name="connsiteX3" fmla="*/ 1 w 2882420"/>
                <a:gd name="connsiteY3" fmla="*/ 0 h 257442"/>
                <a:gd name="connsiteX0" fmla="*/ 2882420 w 2882420"/>
                <a:gd name="connsiteY0" fmla="*/ 0 h 257442"/>
                <a:gd name="connsiteX1" fmla="*/ 2827698 w 2882420"/>
                <a:gd name="connsiteY1" fmla="*/ 257442 h 257442"/>
                <a:gd name="connsiteX2" fmla="*/ 0 w 2882420"/>
                <a:gd name="connsiteY2" fmla="*/ 257442 h 257442"/>
                <a:gd name="connsiteX3" fmla="*/ 0 w 2882420"/>
                <a:gd name="connsiteY3" fmla="*/ 0 h 257442"/>
                <a:gd name="connsiteX0" fmla="*/ 2983409 w 2983409"/>
                <a:gd name="connsiteY0" fmla="*/ 0 h 257442"/>
                <a:gd name="connsiteX1" fmla="*/ 2827698 w 2983409"/>
                <a:gd name="connsiteY1" fmla="*/ 257442 h 257442"/>
                <a:gd name="connsiteX2" fmla="*/ 0 w 2983409"/>
                <a:gd name="connsiteY2" fmla="*/ 257442 h 257442"/>
                <a:gd name="connsiteX3" fmla="*/ 0 w 2983409"/>
                <a:gd name="connsiteY3" fmla="*/ 0 h 257442"/>
                <a:gd name="connsiteX0" fmla="*/ 2983409 w 2983409"/>
                <a:gd name="connsiteY0" fmla="*/ 0 h 257442"/>
                <a:gd name="connsiteX1" fmla="*/ 2928688 w 2983409"/>
                <a:gd name="connsiteY1" fmla="*/ 257442 h 257442"/>
                <a:gd name="connsiteX2" fmla="*/ 0 w 2983409"/>
                <a:gd name="connsiteY2" fmla="*/ 257442 h 257442"/>
                <a:gd name="connsiteX3" fmla="*/ 0 w 2983409"/>
                <a:gd name="connsiteY3" fmla="*/ 0 h 257442"/>
                <a:gd name="connsiteX0" fmla="*/ 2983409 w 2983409"/>
                <a:gd name="connsiteY0" fmla="*/ 0 h 257442"/>
                <a:gd name="connsiteX1" fmla="*/ 2928688 w 2983409"/>
                <a:gd name="connsiteY1" fmla="*/ 257442 h 257442"/>
                <a:gd name="connsiteX2" fmla="*/ 0 w 2983409"/>
                <a:gd name="connsiteY2" fmla="*/ 257442 h 257442"/>
                <a:gd name="connsiteX3" fmla="*/ 0 w 2983409"/>
                <a:gd name="connsiteY3" fmla="*/ 0 h 257442"/>
                <a:gd name="connsiteX0" fmla="*/ 2983409 w 2983409"/>
                <a:gd name="connsiteY0" fmla="*/ 0 h 257442"/>
                <a:gd name="connsiteX1" fmla="*/ 2928688 w 2983409"/>
                <a:gd name="connsiteY1" fmla="*/ 257442 h 257442"/>
                <a:gd name="connsiteX2" fmla="*/ 0 w 2983409"/>
                <a:gd name="connsiteY2" fmla="*/ 257442 h 257442"/>
                <a:gd name="connsiteX3" fmla="*/ 0 w 2983409"/>
                <a:gd name="connsiteY3" fmla="*/ 0 h 257442"/>
                <a:gd name="connsiteX0" fmla="*/ 3169357 w 3169357"/>
                <a:gd name="connsiteY0" fmla="*/ 0 h 257442"/>
                <a:gd name="connsiteX1" fmla="*/ 2928688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329658 w 3329658"/>
                <a:gd name="connsiteY0" fmla="*/ 0 h 257442"/>
                <a:gd name="connsiteX1" fmla="*/ 3114636 w 3329658"/>
                <a:gd name="connsiteY1" fmla="*/ 257442 h 257442"/>
                <a:gd name="connsiteX2" fmla="*/ 0 w 3329658"/>
                <a:gd name="connsiteY2" fmla="*/ 257442 h 257442"/>
                <a:gd name="connsiteX3" fmla="*/ 0 w 3329658"/>
                <a:gd name="connsiteY3" fmla="*/ 0 h 257442"/>
                <a:gd name="connsiteX0" fmla="*/ 3329658 w 3329658"/>
                <a:gd name="connsiteY0" fmla="*/ 0 h 257442"/>
                <a:gd name="connsiteX1" fmla="*/ 3274936 w 3329658"/>
                <a:gd name="connsiteY1" fmla="*/ 257442 h 257442"/>
                <a:gd name="connsiteX2" fmla="*/ 0 w 3329658"/>
                <a:gd name="connsiteY2" fmla="*/ 257442 h 257442"/>
                <a:gd name="connsiteX3" fmla="*/ 0 w 3329658"/>
                <a:gd name="connsiteY3" fmla="*/ 0 h 257442"/>
                <a:gd name="connsiteX0" fmla="*/ 3329659 w 3329659"/>
                <a:gd name="connsiteY0" fmla="*/ 0 h 257442"/>
                <a:gd name="connsiteX1" fmla="*/ 3274937 w 3329659"/>
                <a:gd name="connsiteY1" fmla="*/ 257442 h 257442"/>
                <a:gd name="connsiteX2" fmla="*/ 0 w 3329659"/>
                <a:gd name="connsiteY2" fmla="*/ 257442 h 257442"/>
                <a:gd name="connsiteX3" fmla="*/ 1 w 3329659"/>
                <a:gd name="connsiteY3" fmla="*/ 0 h 257442"/>
                <a:gd name="connsiteX0" fmla="*/ 3329659 w 3329659"/>
                <a:gd name="connsiteY0" fmla="*/ 0 h 257442"/>
                <a:gd name="connsiteX1" fmla="*/ 3274937 w 3329659"/>
                <a:gd name="connsiteY1" fmla="*/ 257442 h 257442"/>
                <a:gd name="connsiteX2" fmla="*/ 0 w 3329659"/>
                <a:gd name="connsiteY2" fmla="*/ 257442 h 257442"/>
                <a:gd name="connsiteX3" fmla="*/ 1 w 3329659"/>
                <a:gd name="connsiteY3" fmla="*/ 0 h 257442"/>
                <a:gd name="connsiteX0" fmla="*/ 3497973 w 3497973"/>
                <a:gd name="connsiteY0" fmla="*/ 0 h 257442"/>
                <a:gd name="connsiteX1" fmla="*/ 3274937 w 3497973"/>
                <a:gd name="connsiteY1" fmla="*/ 257442 h 257442"/>
                <a:gd name="connsiteX2" fmla="*/ 0 w 3497973"/>
                <a:gd name="connsiteY2" fmla="*/ 257442 h 257442"/>
                <a:gd name="connsiteX3" fmla="*/ 1 w 3497973"/>
                <a:gd name="connsiteY3" fmla="*/ 0 h 257442"/>
                <a:gd name="connsiteX0" fmla="*/ 3497973 w 3497973"/>
                <a:gd name="connsiteY0" fmla="*/ 0 h 257442"/>
                <a:gd name="connsiteX1" fmla="*/ 3443252 w 3497973"/>
                <a:gd name="connsiteY1" fmla="*/ 257442 h 257442"/>
                <a:gd name="connsiteX2" fmla="*/ 0 w 3497973"/>
                <a:gd name="connsiteY2" fmla="*/ 257442 h 257442"/>
                <a:gd name="connsiteX3" fmla="*/ 1 w 3497973"/>
                <a:gd name="connsiteY3" fmla="*/ 0 h 257442"/>
                <a:gd name="connsiteX0" fmla="*/ 3497972 w 3497972"/>
                <a:gd name="connsiteY0" fmla="*/ 0 h 257442"/>
                <a:gd name="connsiteX1" fmla="*/ 3443251 w 3497972"/>
                <a:gd name="connsiteY1" fmla="*/ 257442 h 257442"/>
                <a:gd name="connsiteX2" fmla="*/ 0 w 3497972"/>
                <a:gd name="connsiteY2" fmla="*/ 257442 h 257442"/>
                <a:gd name="connsiteX3" fmla="*/ 0 w 3497972"/>
                <a:gd name="connsiteY3" fmla="*/ 0 h 257442"/>
                <a:gd name="connsiteX0" fmla="*/ 3497973 w 3497973"/>
                <a:gd name="connsiteY0" fmla="*/ 0 h 257442"/>
                <a:gd name="connsiteX1" fmla="*/ 3443252 w 3497973"/>
                <a:gd name="connsiteY1" fmla="*/ 257442 h 257442"/>
                <a:gd name="connsiteX2" fmla="*/ 1 w 3497973"/>
                <a:gd name="connsiteY2" fmla="*/ 257442 h 257442"/>
                <a:gd name="connsiteX3" fmla="*/ 0 w 3497973"/>
                <a:gd name="connsiteY3" fmla="*/ 0 h 257442"/>
                <a:gd name="connsiteX0" fmla="*/ 3650259 w 3650259"/>
                <a:gd name="connsiteY0" fmla="*/ 0 h 257442"/>
                <a:gd name="connsiteX1" fmla="*/ 3443252 w 3650259"/>
                <a:gd name="connsiteY1" fmla="*/ 257442 h 257442"/>
                <a:gd name="connsiteX2" fmla="*/ 1 w 3650259"/>
                <a:gd name="connsiteY2" fmla="*/ 257442 h 257442"/>
                <a:gd name="connsiteX3" fmla="*/ 0 w 3650259"/>
                <a:gd name="connsiteY3" fmla="*/ 0 h 257442"/>
                <a:gd name="connsiteX0" fmla="*/ 3650259 w 3650259"/>
                <a:gd name="connsiteY0" fmla="*/ 0 h 257442"/>
                <a:gd name="connsiteX1" fmla="*/ 3595538 w 3650259"/>
                <a:gd name="connsiteY1" fmla="*/ 257442 h 257442"/>
                <a:gd name="connsiteX2" fmla="*/ 1 w 3650259"/>
                <a:gd name="connsiteY2" fmla="*/ 257442 h 257442"/>
                <a:gd name="connsiteX3" fmla="*/ 0 w 3650259"/>
                <a:gd name="connsiteY3" fmla="*/ 0 h 257442"/>
                <a:gd name="connsiteX0" fmla="*/ 3650259 w 3650259"/>
                <a:gd name="connsiteY0" fmla="*/ 0 h 257442"/>
                <a:gd name="connsiteX1" fmla="*/ 3595538 w 3650259"/>
                <a:gd name="connsiteY1" fmla="*/ 257442 h 257442"/>
                <a:gd name="connsiteX2" fmla="*/ 1 w 3650259"/>
                <a:gd name="connsiteY2" fmla="*/ 257442 h 257442"/>
                <a:gd name="connsiteX3" fmla="*/ 0 w 3650259"/>
                <a:gd name="connsiteY3" fmla="*/ 0 h 257442"/>
                <a:gd name="connsiteX0" fmla="*/ 3650258 w 3650258"/>
                <a:gd name="connsiteY0" fmla="*/ 0 h 257442"/>
                <a:gd name="connsiteX1" fmla="*/ 3595537 w 3650258"/>
                <a:gd name="connsiteY1" fmla="*/ 257442 h 257442"/>
                <a:gd name="connsiteX2" fmla="*/ 0 w 3650258"/>
                <a:gd name="connsiteY2" fmla="*/ 257442 h 257442"/>
                <a:gd name="connsiteX3" fmla="*/ 0 w 3650258"/>
                <a:gd name="connsiteY3" fmla="*/ 0 h 257442"/>
                <a:gd name="connsiteX0" fmla="*/ 3481941 w 3595537"/>
                <a:gd name="connsiteY0" fmla="*/ 0 h 257442"/>
                <a:gd name="connsiteX1" fmla="*/ 3595537 w 3595537"/>
                <a:gd name="connsiteY1" fmla="*/ 257442 h 257442"/>
                <a:gd name="connsiteX2" fmla="*/ 0 w 3595537"/>
                <a:gd name="connsiteY2" fmla="*/ 257442 h 257442"/>
                <a:gd name="connsiteX3" fmla="*/ 0 w 3595537"/>
                <a:gd name="connsiteY3" fmla="*/ 0 h 257442"/>
                <a:gd name="connsiteX0" fmla="*/ 3481941 w 3481941"/>
                <a:gd name="connsiteY0" fmla="*/ 0 h 257442"/>
                <a:gd name="connsiteX1" fmla="*/ 3427221 w 3481941"/>
                <a:gd name="connsiteY1" fmla="*/ 257442 h 257442"/>
                <a:gd name="connsiteX2" fmla="*/ 0 w 3481941"/>
                <a:gd name="connsiteY2" fmla="*/ 257442 h 257442"/>
                <a:gd name="connsiteX3" fmla="*/ 0 w 3481941"/>
                <a:gd name="connsiteY3" fmla="*/ 0 h 257442"/>
                <a:gd name="connsiteX0" fmla="*/ 3481941 w 3481941"/>
                <a:gd name="connsiteY0" fmla="*/ 0 h 257442"/>
                <a:gd name="connsiteX1" fmla="*/ 3427221 w 3481941"/>
                <a:gd name="connsiteY1" fmla="*/ 257442 h 257442"/>
                <a:gd name="connsiteX2" fmla="*/ 0 w 3481941"/>
                <a:gd name="connsiteY2" fmla="*/ 257442 h 257442"/>
                <a:gd name="connsiteX3" fmla="*/ 0 w 3481941"/>
                <a:gd name="connsiteY3" fmla="*/ 0 h 257442"/>
                <a:gd name="connsiteX0" fmla="*/ 3481941 w 3481941"/>
                <a:gd name="connsiteY0" fmla="*/ 0 h 257442"/>
                <a:gd name="connsiteX1" fmla="*/ 3427221 w 3481941"/>
                <a:gd name="connsiteY1" fmla="*/ 257442 h 257442"/>
                <a:gd name="connsiteX2" fmla="*/ 0 w 3481941"/>
                <a:gd name="connsiteY2" fmla="*/ 257442 h 257442"/>
                <a:gd name="connsiteX3" fmla="*/ 0 w 3481941"/>
                <a:gd name="connsiteY3" fmla="*/ 0 h 257442"/>
                <a:gd name="connsiteX0" fmla="*/ 3634228 w 3634228"/>
                <a:gd name="connsiteY0" fmla="*/ 0 h 257442"/>
                <a:gd name="connsiteX1" fmla="*/ 3427221 w 3634228"/>
                <a:gd name="connsiteY1" fmla="*/ 257442 h 257442"/>
                <a:gd name="connsiteX2" fmla="*/ 0 w 3634228"/>
                <a:gd name="connsiteY2" fmla="*/ 257442 h 257442"/>
                <a:gd name="connsiteX3" fmla="*/ 0 w 3634228"/>
                <a:gd name="connsiteY3" fmla="*/ 0 h 257442"/>
                <a:gd name="connsiteX0" fmla="*/ 3634228 w 3634228"/>
                <a:gd name="connsiteY0" fmla="*/ 0 h 257442"/>
                <a:gd name="connsiteX1" fmla="*/ 3579506 w 3634228"/>
                <a:gd name="connsiteY1" fmla="*/ 257442 h 257442"/>
                <a:gd name="connsiteX2" fmla="*/ 0 w 3634228"/>
                <a:gd name="connsiteY2" fmla="*/ 257442 h 257442"/>
                <a:gd name="connsiteX3" fmla="*/ 0 w 3634228"/>
                <a:gd name="connsiteY3" fmla="*/ 0 h 257442"/>
                <a:gd name="connsiteX0" fmla="*/ 3634229 w 3634229"/>
                <a:gd name="connsiteY0" fmla="*/ 0 h 257442"/>
                <a:gd name="connsiteX1" fmla="*/ 3579507 w 3634229"/>
                <a:gd name="connsiteY1" fmla="*/ 257442 h 257442"/>
                <a:gd name="connsiteX2" fmla="*/ 0 w 3634229"/>
                <a:gd name="connsiteY2" fmla="*/ 257442 h 257442"/>
                <a:gd name="connsiteX3" fmla="*/ 1 w 3634229"/>
                <a:gd name="connsiteY3" fmla="*/ 0 h 257442"/>
                <a:gd name="connsiteX0" fmla="*/ 3634229 w 3634229"/>
                <a:gd name="connsiteY0" fmla="*/ 0 h 257442"/>
                <a:gd name="connsiteX1" fmla="*/ 3579507 w 3634229"/>
                <a:gd name="connsiteY1" fmla="*/ 257442 h 257442"/>
                <a:gd name="connsiteX2" fmla="*/ 0 w 3634229"/>
                <a:gd name="connsiteY2" fmla="*/ 257442 h 257442"/>
                <a:gd name="connsiteX3" fmla="*/ 1 w 3634229"/>
                <a:gd name="connsiteY3" fmla="*/ 0 h 257442"/>
                <a:gd name="connsiteX0" fmla="*/ 3465913 w 3579507"/>
                <a:gd name="connsiteY0" fmla="*/ 0 h 257442"/>
                <a:gd name="connsiteX1" fmla="*/ 3579507 w 3579507"/>
                <a:gd name="connsiteY1" fmla="*/ 257442 h 257442"/>
                <a:gd name="connsiteX2" fmla="*/ 0 w 3579507"/>
                <a:gd name="connsiteY2" fmla="*/ 257442 h 257442"/>
                <a:gd name="connsiteX3" fmla="*/ 1 w 3579507"/>
                <a:gd name="connsiteY3" fmla="*/ 0 h 257442"/>
                <a:gd name="connsiteX0" fmla="*/ 3465913 w 3465913"/>
                <a:gd name="connsiteY0" fmla="*/ 0 h 257442"/>
                <a:gd name="connsiteX1" fmla="*/ 3411192 w 3465913"/>
                <a:gd name="connsiteY1" fmla="*/ 257442 h 257442"/>
                <a:gd name="connsiteX2" fmla="*/ 0 w 3465913"/>
                <a:gd name="connsiteY2" fmla="*/ 257442 h 257442"/>
                <a:gd name="connsiteX3" fmla="*/ 1 w 3465913"/>
                <a:gd name="connsiteY3" fmla="*/ 0 h 257442"/>
                <a:gd name="connsiteX0" fmla="*/ 3465912 w 3465912"/>
                <a:gd name="connsiteY0" fmla="*/ 0 h 257442"/>
                <a:gd name="connsiteX1" fmla="*/ 3411191 w 3465912"/>
                <a:gd name="connsiteY1" fmla="*/ 257442 h 257442"/>
                <a:gd name="connsiteX2" fmla="*/ 0 w 3465912"/>
                <a:gd name="connsiteY2" fmla="*/ 257442 h 257442"/>
                <a:gd name="connsiteX3" fmla="*/ 0 w 3465912"/>
                <a:gd name="connsiteY3" fmla="*/ 0 h 257442"/>
                <a:gd name="connsiteX0" fmla="*/ 3465913 w 3465913"/>
                <a:gd name="connsiteY0" fmla="*/ 0 h 257442"/>
                <a:gd name="connsiteX1" fmla="*/ 3411192 w 3465913"/>
                <a:gd name="connsiteY1" fmla="*/ 257442 h 257442"/>
                <a:gd name="connsiteX2" fmla="*/ 1 w 3465913"/>
                <a:gd name="connsiteY2" fmla="*/ 257442 h 257442"/>
                <a:gd name="connsiteX3" fmla="*/ 0 w 3465913"/>
                <a:gd name="connsiteY3" fmla="*/ 0 h 257442"/>
                <a:gd name="connsiteX0" fmla="*/ 3313628 w 3411192"/>
                <a:gd name="connsiteY0" fmla="*/ 0 h 257442"/>
                <a:gd name="connsiteX1" fmla="*/ 3411192 w 3411192"/>
                <a:gd name="connsiteY1" fmla="*/ 257442 h 257442"/>
                <a:gd name="connsiteX2" fmla="*/ 1 w 3411192"/>
                <a:gd name="connsiteY2" fmla="*/ 257442 h 257442"/>
                <a:gd name="connsiteX3" fmla="*/ 0 w 3411192"/>
                <a:gd name="connsiteY3" fmla="*/ 0 h 257442"/>
                <a:gd name="connsiteX0" fmla="*/ 3313628 w 3313628"/>
                <a:gd name="connsiteY0" fmla="*/ 0 h 257442"/>
                <a:gd name="connsiteX1" fmla="*/ 3258907 w 3313628"/>
                <a:gd name="connsiteY1" fmla="*/ 257442 h 257442"/>
                <a:gd name="connsiteX2" fmla="*/ 1 w 3313628"/>
                <a:gd name="connsiteY2" fmla="*/ 257442 h 257442"/>
                <a:gd name="connsiteX3" fmla="*/ 0 w 3313628"/>
                <a:gd name="connsiteY3" fmla="*/ 0 h 257442"/>
                <a:gd name="connsiteX0" fmla="*/ 3313628 w 3313628"/>
                <a:gd name="connsiteY0" fmla="*/ 0 h 257442"/>
                <a:gd name="connsiteX1" fmla="*/ 3258907 w 3313628"/>
                <a:gd name="connsiteY1" fmla="*/ 257442 h 257442"/>
                <a:gd name="connsiteX2" fmla="*/ 1 w 3313628"/>
                <a:gd name="connsiteY2" fmla="*/ 257442 h 257442"/>
                <a:gd name="connsiteX3" fmla="*/ 0 w 3313628"/>
                <a:gd name="connsiteY3" fmla="*/ 0 h 257442"/>
                <a:gd name="connsiteX0" fmla="*/ 3313627 w 3313627"/>
                <a:gd name="connsiteY0" fmla="*/ 0 h 257442"/>
                <a:gd name="connsiteX1" fmla="*/ 3258906 w 3313627"/>
                <a:gd name="connsiteY1" fmla="*/ 257442 h 257442"/>
                <a:gd name="connsiteX2" fmla="*/ 0 w 3313627"/>
                <a:gd name="connsiteY2" fmla="*/ 257442 h 257442"/>
                <a:gd name="connsiteX3" fmla="*/ 0 w 3313627"/>
                <a:gd name="connsiteY3" fmla="*/ 0 h 257442"/>
                <a:gd name="connsiteX0" fmla="*/ 3153327 w 3258906"/>
                <a:gd name="connsiteY0" fmla="*/ 0 h 257442"/>
                <a:gd name="connsiteX1" fmla="*/ 3258906 w 3258906"/>
                <a:gd name="connsiteY1" fmla="*/ 257442 h 257442"/>
                <a:gd name="connsiteX2" fmla="*/ 0 w 3258906"/>
                <a:gd name="connsiteY2" fmla="*/ 257442 h 257442"/>
                <a:gd name="connsiteX3" fmla="*/ 0 w 3258906"/>
                <a:gd name="connsiteY3" fmla="*/ 0 h 257442"/>
                <a:gd name="connsiteX0" fmla="*/ 3153327 w 3153327"/>
                <a:gd name="connsiteY0" fmla="*/ 0 h 257442"/>
                <a:gd name="connsiteX1" fmla="*/ 3098606 w 3153327"/>
                <a:gd name="connsiteY1" fmla="*/ 257442 h 257442"/>
                <a:gd name="connsiteX2" fmla="*/ 0 w 3153327"/>
                <a:gd name="connsiteY2" fmla="*/ 257442 h 257442"/>
                <a:gd name="connsiteX3" fmla="*/ 0 w 3153327"/>
                <a:gd name="connsiteY3" fmla="*/ 0 h 257442"/>
                <a:gd name="connsiteX0" fmla="*/ 3153327 w 3153327"/>
                <a:gd name="connsiteY0" fmla="*/ 0 h 257442"/>
                <a:gd name="connsiteX1" fmla="*/ 3098606 w 3153327"/>
                <a:gd name="connsiteY1" fmla="*/ 257442 h 257442"/>
                <a:gd name="connsiteX2" fmla="*/ 1 w 3153327"/>
                <a:gd name="connsiteY2" fmla="*/ 257442 h 257442"/>
                <a:gd name="connsiteX3" fmla="*/ 0 w 3153327"/>
                <a:gd name="connsiteY3" fmla="*/ 0 h 257442"/>
                <a:gd name="connsiteX0" fmla="*/ 3153326 w 3153326"/>
                <a:gd name="connsiteY0" fmla="*/ 0 h 257442"/>
                <a:gd name="connsiteX1" fmla="*/ 3098605 w 3153326"/>
                <a:gd name="connsiteY1" fmla="*/ 257442 h 257442"/>
                <a:gd name="connsiteX2" fmla="*/ 0 w 3153326"/>
                <a:gd name="connsiteY2" fmla="*/ 257442 h 257442"/>
                <a:gd name="connsiteX3" fmla="*/ 0 w 3153326"/>
                <a:gd name="connsiteY3" fmla="*/ 0 h 257442"/>
                <a:gd name="connsiteX0" fmla="*/ 2975392 w 3098605"/>
                <a:gd name="connsiteY0" fmla="*/ 0 h 257442"/>
                <a:gd name="connsiteX1" fmla="*/ 3098605 w 3098605"/>
                <a:gd name="connsiteY1" fmla="*/ 257442 h 257442"/>
                <a:gd name="connsiteX2" fmla="*/ 0 w 3098605"/>
                <a:gd name="connsiteY2" fmla="*/ 257442 h 257442"/>
                <a:gd name="connsiteX3" fmla="*/ 0 w 3098605"/>
                <a:gd name="connsiteY3" fmla="*/ 0 h 257442"/>
                <a:gd name="connsiteX0" fmla="*/ 2975392 w 2975392"/>
                <a:gd name="connsiteY0" fmla="*/ 0 h 257442"/>
                <a:gd name="connsiteX1" fmla="*/ 2920672 w 2975392"/>
                <a:gd name="connsiteY1" fmla="*/ 257442 h 257442"/>
                <a:gd name="connsiteX2" fmla="*/ 0 w 2975392"/>
                <a:gd name="connsiteY2" fmla="*/ 257442 h 257442"/>
                <a:gd name="connsiteX3" fmla="*/ 0 w 2975392"/>
                <a:gd name="connsiteY3" fmla="*/ 0 h 257442"/>
                <a:gd name="connsiteX0" fmla="*/ 2975392 w 2975392"/>
                <a:gd name="connsiteY0" fmla="*/ 0 h 257442"/>
                <a:gd name="connsiteX1" fmla="*/ 2920672 w 2975392"/>
                <a:gd name="connsiteY1" fmla="*/ 257442 h 257442"/>
                <a:gd name="connsiteX2" fmla="*/ 0 w 2975392"/>
                <a:gd name="connsiteY2" fmla="*/ 257442 h 257442"/>
                <a:gd name="connsiteX3" fmla="*/ 0 w 2975392"/>
                <a:gd name="connsiteY3" fmla="*/ 0 h 257442"/>
                <a:gd name="connsiteX0" fmla="*/ 2975392 w 2975392"/>
                <a:gd name="connsiteY0" fmla="*/ 0 h 257442"/>
                <a:gd name="connsiteX1" fmla="*/ 2920672 w 2975392"/>
                <a:gd name="connsiteY1" fmla="*/ 257442 h 257442"/>
                <a:gd name="connsiteX2" fmla="*/ 0 w 2975392"/>
                <a:gd name="connsiteY2" fmla="*/ 257442 h 257442"/>
                <a:gd name="connsiteX3" fmla="*/ 0 w 2975392"/>
                <a:gd name="connsiteY3" fmla="*/ 0 h 257442"/>
                <a:gd name="connsiteX0" fmla="*/ 3143709 w 3143709"/>
                <a:gd name="connsiteY0" fmla="*/ 0 h 257442"/>
                <a:gd name="connsiteX1" fmla="*/ 2920672 w 3143709"/>
                <a:gd name="connsiteY1" fmla="*/ 257442 h 257442"/>
                <a:gd name="connsiteX2" fmla="*/ 0 w 3143709"/>
                <a:gd name="connsiteY2" fmla="*/ 257442 h 257442"/>
                <a:gd name="connsiteX3" fmla="*/ 0 w 3143709"/>
                <a:gd name="connsiteY3" fmla="*/ 0 h 257442"/>
                <a:gd name="connsiteX0" fmla="*/ 3143709 w 3143709"/>
                <a:gd name="connsiteY0" fmla="*/ 0 h 257442"/>
                <a:gd name="connsiteX1" fmla="*/ 3088988 w 3143709"/>
                <a:gd name="connsiteY1" fmla="*/ 257442 h 257442"/>
                <a:gd name="connsiteX2" fmla="*/ 0 w 3143709"/>
                <a:gd name="connsiteY2" fmla="*/ 257442 h 257442"/>
                <a:gd name="connsiteX3" fmla="*/ 0 w 3143709"/>
                <a:gd name="connsiteY3" fmla="*/ 0 h 257442"/>
                <a:gd name="connsiteX0" fmla="*/ 3143709 w 3143709"/>
                <a:gd name="connsiteY0" fmla="*/ 0 h 257442"/>
                <a:gd name="connsiteX1" fmla="*/ 3088988 w 3143709"/>
                <a:gd name="connsiteY1" fmla="*/ 257442 h 257442"/>
                <a:gd name="connsiteX2" fmla="*/ 0 w 3143709"/>
                <a:gd name="connsiteY2" fmla="*/ 257442 h 257442"/>
                <a:gd name="connsiteX3" fmla="*/ 0 w 3143709"/>
                <a:gd name="connsiteY3" fmla="*/ 0 h 257442"/>
                <a:gd name="connsiteX0" fmla="*/ 3143709 w 3143709"/>
                <a:gd name="connsiteY0" fmla="*/ 0 h 257442"/>
                <a:gd name="connsiteX1" fmla="*/ 3088988 w 3143709"/>
                <a:gd name="connsiteY1" fmla="*/ 257442 h 257442"/>
                <a:gd name="connsiteX2" fmla="*/ 0 w 3143709"/>
                <a:gd name="connsiteY2" fmla="*/ 257442 h 257442"/>
                <a:gd name="connsiteX3" fmla="*/ 0 w 3143709"/>
                <a:gd name="connsiteY3" fmla="*/ 0 h 257442"/>
                <a:gd name="connsiteX0" fmla="*/ 3304009 w 3304009"/>
                <a:gd name="connsiteY0" fmla="*/ 0 h 257442"/>
                <a:gd name="connsiteX1" fmla="*/ 3088988 w 3304009"/>
                <a:gd name="connsiteY1" fmla="*/ 257442 h 257442"/>
                <a:gd name="connsiteX2" fmla="*/ 0 w 3304009"/>
                <a:gd name="connsiteY2" fmla="*/ 257442 h 257442"/>
                <a:gd name="connsiteX3" fmla="*/ 0 w 3304009"/>
                <a:gd name="connsiteY3" fmla="*/ 0 h 257442"/>
                <a:gd name="connsiteX0" fmla="*/ 3304009 w 3304009"/>
                <a:gd name="connsiteY0" fmla="*/ 0 h 257442"/>
                <a:gd name="connsiteX1" fmla="*/ 3249288 w 3304009"/>
                <a:gd name="connsiteY1" fmla="*/ 257442 h 257442"/>
                <a:gd name="connsiteX2" fmla="*/ 0 w 3304009"/>
                <a:gd name="connsiteY2" fmla="*/ 257442 h 257442"/>
                <a:gd name="connsiteX3" fmla="*/ 0 w 3304009"/>
                <a:gd name="connsiteY3" fmla="*/ 0 h 257442"/>
                <a:gd name="connsiteX0" fmla="*/ 3304009 w 3304009"/>
                <a:gd name="connsiteY0" fmla="*/ 0 h 257442"/>
                <a:gd name="connsiteX1" fmla="*/ 3249288 w 3304009"/>
                <a:gd name="connsiteY1" fmla="*/ 257442 h 257442"/>
                <a:gd name="connsiteX2" fmla="*/ 0 w 3304009"/>
                <a:gd name="connsiteY2" fmla="*/ 257442 h 257442"/>
                <a:gd name="connsiteX3" fmla="*/ 0 w 3304009"/>
                <a:gd name="connsiteY3" fmla="*/ 0 h 257442"/>
                <a:gd name="connsiteX0" fmla="*/ 3304009 w 3304009"/>
                <a:gd name="connsiteY0" fmla="*/ 0 h 257442"/>
                <a:gd name="connsiteX1" fmla="*/ 3249288 w 3304009"/>
                <a:gd name="connsiteY1" fmla="*/ 257442 h 257442"/>
                <a:gd name="connsiteX2" fmla="*/ 0 w 3304009"/>
                <a:gd name="connsiteY2" fmla="*/ 257442 h 257442"/>
                <a:gd name="connsiteX3" fmla="*/ 0 w 3304009"/>
                <a:gd name="connsiteY3" fmla="*/ 0 h 257442"/>
                <a:gd name="connsiteX0" fmla="*/ 3456294 w 3456294"/>
                <a:gd name="connsiteY0" fmla="*/ 0 h 257442"/>
                <a:gd name="connsiteX1" fmla="*/ 3249288 w 3456294"/>
                <a:gd name="connsiteY1" fmla="*/ 257442 h 257442"/>
                <a:gd name="connsiteX2" fmla="*/ 0 w 3456294"/>
                <a:gd name="connsiteY2" fmla="*/ 257442 h 257442"/>
                <a:gd name="connsiteX3" fmla="*/ 0 w 3456294"/>
                <a:gd name="connsiteY3" fmla="*/ 0 h 257442"/>
                <a:gd name="connsiteX0" fmla="*/ 3456294 w 3456294"/>
                <a:gd name="connsiteY0" fmla="*/ 0 h 257442"/>
                <a:gd name="connsiteX1" fmla="*/ 3401572 w 3456294"/>
                <a:gd name="connsiteY1" fmla="*/ 257442 h 257442"/>
                <a:gd name="connsiteX2" fmla="*/ 0 w 3456294"/>
                <a:gd name="connsiteY2" fmla="*/ 257442 h 257442"/>
                <a:gd name="connsiteX3" fmla="*/ 0 w 3456294"/>
                <a:gd name="connsiteY3" fmla="*/ 0 h 257442"/>
                <a:gd name="connsiteX0" fmla="*/ 3456295 w 3456295"/>
                <a:gd name="connsiteY0" fmla="*/ 0 h 257442"/>
                <a:gd name="connsiteX1" fmla="*/ 3401573 w 3456295"/>
                <a:gd name="connsiteY1" fmla="*/ 257442 h 257442"/>
                <a:gd name="connsiteX2" fmla="*/ 0 w 3456295"/>
                <a:gd name="connsiteY2" fmla="*/ 257442 h 257442"/>
                <a:gd name="connsiteX3" fmla="*/ 1 w 3456295"/>
                <a:gd name="connsiteY3" fmla="*/ 0 h 257442"/>
                <a:gd name="connsiteX0" fmla="*/ 3456295 w 3456295"/>
                <a:gd name="connsiteY0" fmla="*/ 0 h 257442"/>
                <a:gd name="connsiteX1" fmla="*/ 3401573 w 3456295"/>
                <a:gd name="connsiteY1" fmla="*/ 257442 h 257442"/>
                <a:gd name="connsiteX2" fmla="*/ 0 w 3456295"/>
                <a:gd name="connsiteY2" fmla="*/ 257442 h 257442"/>
                <a:gd name="connsiteX3" fmla="*/ 1 w 3456295"/>
                <a:gd name="connsiteY3" fmla="*/ 0 h 257442"/>
                <a:gd name="connsiteX0" fmla="*/ 3631471 w 3631471"/>
                <a:gd name="connsiteY0" fmla="*/ 0 h 257442"/>
                <a:gd name="connsiteX1" fmla="*/ 3401573 w 3631471"/>
                <a:gd name="connsiteY1" fmla="*/ 257442 h 257442"/>
                <a:gd name="connsiteX2" fmla="*/ 0 w 3631471"/>
                <a:gd name="connsiteY2" fmla="*/ 257442 h 257442"/>
                <a:gd name="connsiteX3" fmla="*/ 1 w 3631471"/>
                <a:gd name="connsiteY3" fmla="*/ 0 h 257442"/>
                <a:gd name="connsiteX0" fmla="*/ 3631471 w 3631471"/>
                <a:gd name="connsiteY0" fmla="*/ 0 h 257442"/>
                <a:gd name="connsiteX1" fmla="*/ 3576750 w 3631471"/>
                <a:gd name="connsiteY1" fmla="*/ 257442 h 257442"/>
                <a:gd name="connsiteX2" fmla="*/ 0 w 3631471"/>
                <a:gd name="connsiteY2" fmla="*/ 257442 h 257442"/>
                <a:gd name="connsiteX3" fmla="*/ 1 w 3631471"/>
                <a:gd name="connsiteY3" fmla="*/ 0 h 257442"/>
                <a:gd name="connsiteX0" fmla="*/ 3631470 w 3631470"/>
                <a:gd name="connsiteY0" fmla="*/ 0 h 257442"/>
                <a:gd name="connsiteX1" fmla="*/ 3576749 w 3631470"/>
                <a:gd name="connsiteY1" fmla="*/ 257442 h 257442"/>
                <a:gd name="connsiteX2" fmla="*/ 0 w 3631470"/>
                <a:gd name="connsiteY2" fmla="*/ 257442 h 257442"/>
                <a:gd name="connsiteX3" fmla="*/ 0 w 3631470"/>
                <a:gd name="connsiteY3" fmla="*/ 0 h 257442"/>
                <a:gd name="connsiteX0" fmla="*/ 3631471 w 3631471"/>
                <a:gd name="connsiteY0" fmla="*/ 0 h 257442"/>
                <a:gd name="connsiteX1" fmla="*/ 3576750 w 3631471"/>
                <a:gd name="connsiteY1" fmla="*/ 257442 h 257442"/>
                <a:gd name="connsiteX2" fmla="*/ 1 w 3631471"/>
                <a:gd name="connsiteY2" fmla="*/ 257442 h 257442"/>
                <a:gd name="connsiteX3" fmla="*/ 0 w 363147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1471" h="257442">
                  <a:moveTo>
                    <a:pt x="3631471" y="0"/>
                  </a:moveTo>
                  <a:lnTo>
                    <a:pt x="3576750" y="257442"/>
                  </a:lnTo>
                  <a:lnTo>
                    <a:pt x="1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5" name="btfpRunningAgenda2LevelTextLeft511585">
              <a:extLst>
                <a:ext uri="{FF2B5EF4-FFF2-40B4-BE49-F238E27FC236}">
                  <a16:creationId xmlns:a16="http://schemas.microsoft.com/office/drawing/2014/main" id="{9A4E3D54-A028-68E7-6E49-CD523CF32CF6}"/>
                </a:ext>
              </a:extLst>
            </p:cNvPr>
            <p:cNvSpPr txBox="1"/>
            <p:nvPr/>
          </p:nvSpPr>
          <p:spPr bwMode="gray">
            <a:xfrm>
              <a:off x="0" y="876300"/>
              <a:ext cx="357674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ustomer sentiment</a:t>
              </a:r>
            </a:p>
          </p:txBody>
        </p:sp>
        <p:sp>
          <p:nvSpPr>
            <p:cNvPr id="16" name="btfpRunningAgenda2LevelBarRight511585">
              <a:extLst>
                <a:ext uri="{FF2B5EF4-FFF2-40B4-BE49-F238E27FC236}">
                  <a16:creationId xmlns:a16="http://schemas.microsoft.com/office/drawing/2014/main" id="{3AB376C8-7F70-5281-1CB0-D0EACAF837B5}"/>
                </a:ext>
              </a:extLst>
            </p:cNvPr>
            <p:cNvSpPr/>
            <p:nvPr/>
          </p:nvSpPr>
          <p:spPr bwMode="gray">
            <a:xfrm>
              <a:off x="3496627" y="876300"/>
              <a:ext cx="3331260" cy="257442"/>
            </a:xfrm>
            <a:custGeom>
              <a:avLst/>
              <a:gdLst>
                <a:gd name="connsiteX0" fmla="*/ 960419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60419 w 2313135"/>
                <a:gd name="connsiteY0" fmla="*/ 0 h 257442"/>
                <a:gd name="connsiteX1" fmla="*/ 905698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7 w 960418"/>
                <a:gd name="connsiteY1" fmla="*/ 257442 h 257442"/>
                <a:gd name="connsiteX2" fmla="*/ 0 w 960418"/>
                <a:gd name="connsiteY2" fmla="*/ 257442 h 257442"/>
                <a:gd name="connsiteX3" fmla="*/ 54721 w 960418"/>
                <a:gd name="connsiteY3" fmla="*/ 0 h 257442"/>
                <a:gd name="connsiteX0" fmla="*/ 1138351 w 1138351"/>
                <a:gd name="connsiteY0" fmla="*/ 0 h 257442"/>
                <a:gd name="connsiteX1" fmla="*/ 905697 w 1138351"/>
                <a:gd name="connsiteY1" fmla="*/ 257442 h 257442"/>
                <a:gd name="connsiteX2" fmla="*/ 0 w 1138351"/>
                <a:gd name="connsiteY2" fmla="*/ 257442 h 257442"/>
                <a:gd name="connsiteX3" fmla="*/ 54721 w 1138351"/>
                <a:gd name="connsiteY3" fmla="*/ 0 h 257442"/>
                <a:gd name="connsiteX0" fmla="*/ 1138351 w 1138351"/>
                <a:gd name="connsiteY0" fmla="*/ 0 h 257442"/>
                <a:gd name="connsiteX1" fmla="*/ 1083630 w 1138351"/>
                <a:gd name="connsiteY1" fmla="*/ 257442 h 257442"/>
                <a:gd name="connsiteX2" fmla="*/ 0 w 1138351"/>
                <a:gd name="connsiteY2" fmla="*/ 257442 h 257442"/>
                <a:gd name="connsiteX3" fmla="*/ 54721 w 1138351"/>
                <a:gd name="connsiteY3" fmla="*/ 0 h 257442"/>
                <a:gd name="connsiteX0" fmla="*/ 1138352 w 1138352"/>
                <a:gd name="connsiteY0" fmla="*/ 0 h 257442"/>
                <a:gd name="connsiteX1" fmla="*/ 1083631 w 1138352"/>
                <a:gd name="connsiteY1" fmla="*/ 257442 h 257442"/>
                <a:gd name="connsiteX2" fmla="*/ 0 w 1138352"/>
                <a:gd name="connsiteY2" fmla="*/ 257442 h 257442"/>
                <a:gd name="connsiteX3" fmla="*/ 54722 w 1138352"/>
                <a:gd name="connsiteY3" fmla="*/ 0 h 257442"/>
                <a:gd name="connsiteX0" fmla="*/ 1138352 w 1138352"/>
                <a:gd name="connsiteY0" fmla="*/ 0 h 257442"/>
                <a:gd name="connsiteX1" fmla="*/ 1083631 w 1138352"/>
                <a:gd name="connsiteY1" fmla="*/ 257442 h 257442"/>
                <a:gd name="connsiteX2" fmla="*/ 0 w 1138352"/>
                <a:gd name="connsiteY2" fmla="*/ 257442 h 257442"/>
                <a:gd name="connsiteX3" fmla="*/ 54721 w 1138352"/>
                <a:gd name="connsiteY3" fmla="*/ 0 h 257442"/>
                <a:gd name="connsiteX0" fmla="*/ 1316286 w 1316286"/>
                <a:gd name="connsiteY0" fmla="*/ 0 h 257442"/>
                <a:gd name="connsiteX1" fmla="*/ 1083631 w 1316286"/>
                <a:gd name="connsiteY1" fmla="*/ 257442 h 257442"/>
                <a:gd name="connsiteX2" fmla="*/ 0 w 1316286"/>
                <a:gd name="connsiteY2" fmla="*/ 257442 h 257442"/>
                <a:gd name="connsiteX3" fmla="*/ 54721 w 1316286"/>
                <a:gd name="connsiteY3" fmla="*/ 0 h 257442"/>
                <a:gd name="connsiteX0" fmla="*/ 1316286 w 1316286"/>
                <a:gd name="connsiteY0" fmla="*/ 0 h 257442"/>
                <a:gd name="connsiteX1" fmla="*/ 1261565 w 1316286"/>
                <a:gd name="connsiteY1" fmla="*/ 257442 h 257442"/>
                <a:gd name="connsiteX2" fmla="*/ 0 w 1316286"/>
                <a:gd name="connsiteY2" fmla="*/ 257442 h 257442"/>
                <a:gd name="connsiteX3" fmla="*/ 54721 w 1316286"/>
                <a:gd name="connsiteY3" fmla="*/ 0 h 257442"/>
                <a:gd name="connsiteX0" fmla="*/ 1316286 w 1316286"/>
                <a:gd name="connsiteY0" fmla="*/ 0 h 257442"/>
                <a:gd name="connsiteX1" fmla="*/ 1261565 w 1316286"/>
                <a:gd name="connsiteY1" fmla="*/ 257442 h 257442"/>
                <a:gd name="connsiteX2" fmla="*/ 0 w 1316286"/>
                <a:gd name="connsiteY2" fmla="*/ 257442 h 257442"/>
                <a:gd name="connsiteX3" fmla="*/ 54721 w 1316286"/>
                <a:gd name="connsiteY3" fmla="*/ 0 h 257442"/>
                <a:gd name="connsiteX0" fmla="*/ 1316286 w 1316286"/>
                <a:gd name="connsiteY0" fmla="*/ 0 h 257442"/>
                <a:gd name="connsiteX1" fmla="*/ 1261565 w 1316286"/>
                <a:gd name="connsiteY1" fmla="*/ 257442 h 257442"/>
                <a:gd name="connsiteX2" fmla="*/ 0 w 1316286"/>
                <a:gd name="connsiteY2" fmla="*/ 257442 h 257442"/>
                <a:gd name="connsiteX3" fmla="*/ 54721 w 1316286"/>
                <a:gd name="connsiteY3" fmla="*/ 0 h 257442"/>
                <a:gd name="connsiteX0" fmla="*/ 1494219 w 1494219"/>
                <a:gd name="connsiteY0" fmla="*/ 0 h 257442"/>
                <a:gd name="connsiteX1" fmla="*/ 1261565 w 1494219"/>
                <a:gd name="connsiteY1" fmla="*/ 257442 h 257442"/>
                <a:gd name="connsiteX2" fmla="*/ 0 w 1494219"/>
                <a:gd name="connsiteY2" fmla="*/ 257442 h 257442"/>
                <a:gd name="connsiteX3" fmla="*/ 54721 w 1494219"/>
                <a:gd name="connsiteY3" fmla="*/ 0 h 257442"/>
                <a:gd name="connsiteX0" fmla="*/ 1494219 w 1494219"/>
                <a:gd name="connsiteY0" fmla="*/ 0 h 257442"/>
                <a:gd name="connsiteX1" fmla="*/ 1439498 w 1494219"/>
                <a:gd name="connsiteY1" fmla="*/ 257442 h 257442"/>
                <a:gd name="connsiteX2" fmla="*/ 0 w 1494219"/>
                <a:gd name="connsiteY2" fmla="*/ 257442 h 257442"/>
                <a:gd name="connsiteX3" fmla="*/ 54721 w 1494219"/>
                <a:gd name="connsiteY3" fmla="*/ 0 h 257442"/>
                <a:gd name="connsiteX0" fmla="*/ 1494219 w 1494219"/>
                <a:gd name="connsiteY0" fmla="*/ 0 h 257442"/>
                <a:gd name="connsiteX1" fmla="*/ 1439498 w 1494219"/>
                <a:gd name="connsiteY1" fmla="*/ 257442 h 257442"/>
                <a:gd name="connsiteX2" fmla="*/ 0 w 1494219"/>
                <a:gd name="connsiteY2" fmla="*/ 257442 h 257442"/>
                <a:gd name="connsiteX3" fmla="*/ 54721 w 1494219"/>
                <a:gd name="connsiteY3" fmla="*/ 0 h 257442"/>
                <a:gd name="connsiteX0" fmla="*/ 1494219 w 1494219"/>
                <a:gd name="connsiteY0" fmla="*/ 0 h 257442"/>
                <a:gd name="connsiteX1" fmla="*/ 1439498 w 1494219"/>
                <a:gd name="connsiteY1" fmla="*/ 257442 h 257442"/>
                <a:gd name="connsiteX2" fmla="*/ 0 w 1494219"/>
                <a:gd name="connsiteY2" fmla="*/ 257442 h 257442"/>
                <a:gd name="connsiteX3" fmla="*/ 54721 w 1494219"/>
                <a:gd name="connsiteY3" fmla="*/ 0 h 257442"/>
                <a:gd name="connsiteX0" fmla="*/ 1806805 w 1806805"/>
                <a:gd name="connsiteY0" fmla="*/ 0 h 257442"/>
                <a:gd name="connsiteX1" fmla="*/ 1439498 w 1806805"/>
                <a:gd name="connsiteY1" fmla="*/ 257442 h 257442"/>
                <a:gd name="connsiteX2" fmla="*/ 0 w 1806805"/>
                <a:gd name="connsiteY2" fmla="*/ 257442 h 257442"/>
                <a:gd name="connsiteX3" fmla="*/ 54721 w 1806805"/>
                <a:gd name="connsiteY3" fmla="*/ 0 h 257442"/>
                <a:gd name="connsiteX0" fmla="*/ 1806805 w 1806805"/>
                <a:gd name="connsiteY0" fmla="*/ 0 h 257442"/>
                <a:gd name="connsiteX1" fmla="*/ 1752084 w 1806805"/>
                <a:gd name="connsiteY1" fmla="*/ 257442 h 257442"/>
                <a:gd name="connsiteX2" fmla="*/ 0 w 1806805"/>
                <a:gd name="connsiteY2" fmla="*/ 257442 h 257442"/>
                <a:gd name="connsiteX3" fmla="*/ 54721 w 1806805"/>
                <a:gd name="connsiteY3" fmla="*/ 0 h 257442"/>
                <a:gd name="connsiteX0" fmla="*/ 1806805 w 1806805"/>
                <a:gd name="connsiteY0" fmla="*/ 0 h 257442"/>
                <a:gd name="connsiteX1" fmla="*/ 1752084 w 1806805"/>
                <a:gd name="connsiteY1" fmla="*/ 257442 h 257442"/>
                <a:gd name="connsiteX2" fmla="*/ 0 w 1806805"/>
                <a:gd name="connsiteY2" fmla="*/ 257442 h 257442"/>
                <a:gd name="connsiteX3" fmla="*/ 54721 w 1806805"/>
                <a:gd name="connsiteY3" fmla="*/ 0 h 257442"/>
                <a:gd name="connsiteX0" fmla="*/ 1806805 w 1806805"/>
                <a:gd name="connsiteY0" fmla="*/ 0 h 257442"/>
                <a:gd name="connsiteX1" fmla="*/ 1752084 w 1806805"/>
                <a:gd name="connsiteY1" fmla="*/ 257442 h 257442"/>
                <a:gd name="connsiteX2" fmla="*/ 0 w 1806805"/>
                <a:gd name="connsiteY2" fmla="*/ 257442 h 257442"/>
                <a:gd name="connsiteX3" fmla="*/ 54721 w 1806805"/>
                <a:gd name="connsiteY3" fmla="*/ 0 h 257442"/>
                <a:gd name="connsiteX0" fmla="*/ 2068094 w 2068094"/>
                <a:gd name="connsiteY0" fmla="*/ 0 h 257442"/>
                <a:gd name="connsiteX1" fmla="*/ 1752084 w 2068094"/>
                <a:gd name="connsiteY1" fmla="*/ 257442 h 257442"/>
                <a:gd name="connsiteX2" fmla="*/ 0 w 2068094"/>
                <a:gd name="connsiteY2" fmla="*/ 257442 h 257442"/>
                <a:gd name="connsiteX3" fmla="*/ 54721 w 2068094"/>
                <a:gd name="connsiteY3" fmla="*/ 0 h 257442"/>
                <a:gd name="connsiteX0" fmla="*/ 2068094 w 2068094"/>
                <a:gd name="connsiteY0" fmla="*/ 0 h 257442"/>
                <a:gd name="connsiteX1" fmla="*/ 2013372 w 2068094"/>
                <a:gd name="connsiteY1" fmla="*/ 257442 h 257442"/>
                <a:gd name="connsiteX2" fmla="*/ 0 w 2068094"/>
                <a:gd name="connsiteY2" fmla="*/ 257442 h 257442"/>
                <a:gd name="connsiteX3" fmla="*/ 54721 w 2068094"/>
                <a:gd name="connsiteY3" fmla="*/ 0 h 257442"/>
                <a:gd name="connsiteX0" fmla="*/ 2068095 w 2068095"/>
                <a:gd name="connsiteY0" fmla="*/ 0 h 257442"/>
                <a:gd name="connsiteX1" fmla="*/ 2013373 w 2068095"/>
                <a:gd name="connsiteY1" fmla="*/ 257442 h 257442"/>
                <a:gd name="connsiteX2" fmla="*/ 0 w 2068095"/>
                <a:gd name="connsiteY2" fmla="*/ 257442 h 257442"/>
                <a:gd name="connsiteX3" fmla="*/ 54722 w 2068095"/>
                <a:gd name="connsiteY3" fmla="*/ 0 h 257442"/>
                <a:gd name="connsiteX0" fmla="*/ 2068095 w 2068095"/>
                <a:gd name="connsiteY0" fmla="*/ 0 h 257442"/>
                <a:gd name="connsiteX1" fmla="*/ 2013373 w 2068095"/>
                <a:gd name="connsiteY1" fmla="*/ 257442 h 257442"/>
                <a:gd name="connsiteX2" fmla="*/ 0 w 2068095"/>
                <a:gd name="connsiteY2" fmla="*/ 257442 h 257442"/>
                <a:gd name="connsiteX3" fmla="*/ 54722 w 2068095"/>
                <a:gd name="connsiteY3" fmla="*/ 0 h 257442"/>
                <a:gd name="connsiteX0" fmla="*/ 2236411 w 2236411"/>
                <a:gd name="connsiteY0" fmla="*/ 0 h 257442"/>
                <a:gd name="connsiteX1" fmla="*/ 2013373 w 2236411"/>
                <a:gd name="connsiteY1" fmla="*/ 257442 h 257442"/>
                <a:gd name="connsiteX2" fmla="*/ 0 w 2236411"/>
                <a:gd name="connsiteY2" fmla="*/ 257442 h 257442"/>
                <a:gd name="connsiteX3" fmla="*/ 54722 w 2236411"/>
                <a:gd name="connsiteY3" fmla="*/ 0 h 257442"/>
                <a:gd name="connsiteX0" fmla="*/ 2236411 w 2236411"/>
                <a:gd name="connsiteY0" fmla="*/ 0 h 257442"/>
                <a:gd name="connsiteX1" fmla="*/ 2181690 w 2236411"/>
                <a:gd name="connsiteY1" fmla="*/ 257442 h 257442"/>
                <a:gd name="connsiteX2" fmla="*/ 0 w 2236411"/>
                <a:gd name="connsiteY2" fmla="*/ 257442 h 257442"/>
                <a:gd name="connsiteX3" fmla="*/ 54722 w 2236411"/>
                <a:gd name="connsiteY3" fmla="*/ 0 h 257442"/>
                <a:gd name="connsiteX0" fmla="*/ 2236410 w 2236410"/>
                <a:gd name="connsiteY0" fmla="*/ 0 h 257442"/>
                <a:gd name="connsiteX1" fmla="*/ 2181689 w 2236410"/>
                <a:gd name="connsiteY1" fmla="*/ 257442 h 257442"/>
                <a:gd name="connsiteX2" fmla="*/ 0 w 2236410"/>
                <a:gd name="connsiteY2" fmla="*/ 257442 h 257442"/>
                <a:gd name="connsiteX3" fmla="*/ 54721 w 2236410"/>
                <a:gd name="connsiteY3" fmla="*/ 0 h 257442"/>
                <a:gd name="connsiteX0" fmla="*/ 2236410 w 2236410"/>
                <a:gd name="connsiteY0" fmla="*/ 0 h 257442"/>
                <a:gd name="connsiteX1" fmla="*/ 2181689 w 2236410"/>
                <a:gd name="connsiteY1" fmla="*/ 257442 h 257442"/>
                <a:gd name="connsiteX2" fmla="*/ 0 w 2236410"/>
                <a:gd name="connsiteY2" fmla="*/ 257442 h 257442"/>
                <a:gd name="connsiteX3" fmla="*/ 54720 w 2236410"/>
                <a:gd name="connsiteY3" fmla="*/ 0 h 257442"/>
                <a:gd name="connsiteX0" fmla="*/ 2404723 w 2404723"/>
                <a:gd name="connsiteY0" fmla="*/ 0 h 257442"/>
                <a:gd name="connsiteX1" fmla="*/ 2181689 w 2404723"/>
                <a:gd name="connsiteY1" fmla="*/ 257442 h 257442"/>
                <a:gd name="connsiteX2" fmla="*/ 0 w 2404723"/>
                <a:gd name="connsiteY2" fmla="*/ 257442 h 257442"/>
                <a:gd name="connsiteX3" fmla="*/ 54720 w 2404723"/>
                <a:gd name="connsiteY3" fmla="*/ 0 h 257442"/>
                <a:gd name="connsiteX0" fmla="*/ 2404723 w 2404723"/>
                <a:gd name="connsiteY0" fmla="*/ 0 h 257442"/>
                <a:gd name="connsiteX1" fmla="*/ 2350002 w 2404723"/>
                <a:gd name="connsiteY1" fmla="*/ 257442 h 257442"/>
                <a:gd name="connsiteX2" fmla="*/ 0 w 2404723"/>
                <a:gd name="connsiteY2" fmla="*/ 257442 h 257442"/>
                <a:gd name="connsiteX3" fmla="*/ 54720 w 2404723"/>
                <a:gd name="connsiteY3" fmla="*/ 0 h 257442"/>
                <a:gd name="connsiteX0" fmla="*/ 2404724 w 2404724"/>
                <a:gd name="connsiteY0" fmla="*/ 0 h 257442"/>
                <a:gd name="connsiteX1" fmla="*/ 2350003 w 2404724"/>
                <a:gd name="connsiteY1" fmla="*/ 257442 h 257442"/>
                <a:gd name="connsiteX2" fmla="*/ 0 w 2404724"/>
                <a:gd name="connsiteY2" fmla="*/ 257442 h 257442"/>
                <a:gd name="connsiteX3" fmla="*/ 54721 w 2404724"/>
                <a:gd name="connsiteY3" fmla="*/ 0 h 257442"/>
                <a:gd name="connsiteX0" fmla="*/ 2404724 w 2404724"/>
                <a:gd name="connsiteY0" fmla="*/ 0 h 257442"/>
                <a:gd name="connsiteX1" fmla="*/ 2350003 w 2404724"/>
                <a:gd name="connsiteY1" fmla="*/ 257442 h 257442"/>
                <a:gd name="connsiteX2" fmla="*/ 0 w 2404724"/>
                <a:gd name="connsiteY2" fmla="*/ 257442 h 257442"/>
                <a:gd name="connsiteX3" fmla="*/ 54721 w 2404724"/>
                <a:gd name="connsiteY3" fmla="*/ 0 h 257442"/>
                <a:gd name="connsiteX0" fmla="*/ 2236410 w 2350003"/>
                <a:gd name="connsiteY0" fmla="*/ 0 h 257442"/>
                <a:gd name="connsiteX1" fmla="*/ 2350003 w 2350003"/>
                <a:gd name="connsiteY1" fmla="*/ 257442 h 257442"/>
                <a:gd name="connsiteX2" fmla="*/ 0 w 2350003"/>
                <a:gd name="connsiteY2" fmla="*/ 257442 h 257442"/>
                <a:gd name="connsiteX3" fmla="*/ 54721 w 2350003"/>
                <a:gd name="connsiteY3" fmla="*/ 0 h 257442"/>
                <a:gd name="connsiteX0" fmla="*/ 2236410 w 2236410"/>
                <a:gd name="connsiteY0" fmla="*/ 0 h 257442"/>
                <a:gd name="connsiteX1" fmla="*/ 2181690 w 2236410"/>
                <a:gd name="connsiteY1" fmla="*/ 257442 h 257442"/>
                <a:gd name="connsiteX2" fmla="*/ 0 w 2236410"/>
                <a:gd name="connsiteY2" fmla="*/ 257442 h 257442"/>
                <a:gd name="connsiteX3" fmla="*/ 54721 w 2236410"/>
                <a:gd name="connsiteY3" fmla="*/ 0 h 257442"/>
                <a:gd name="connsiteX0" fmla="*/ 2236409 w 2236409"/>
                <a:gd name="connsiteY0" fmla="*/ 0 h 257442"/>
                <a:gd name="connsiteX1" fmla="*/ 2181689 w 2236409"/>
                <a:gd name="connsiteY1" fmla="*/ 257442 h 257442"/>
                <a:gd name="connsiteX2" fmla="*/ 0 w 2236409"/>
                <a:gd name="connsiteY2" fmla="*/ 257442 h 257442"/>
                <a:gd name="connsiteX3" fmla="*/ 54720 w 2236409"/>
                <a:gd name="connsiteY3" fmla="*/ 0 h 257442"/>
                <a:gd name="connsiteX0" fmla="*/ 2236409 w 2236409"/>
                <a:gd name="connsiteY0" fmla="*/ 0 h 257442"/>
                <a:gd name="connsiteX1" fmla="*/ 2181689 w 2236409"/>
                <a:gd name="connsiteY1" fmla="*/ 257442 h 257442"/>
                <a:gd name="connsiteX2" fmla="*/ 0 w 2236409"/>
                <a:gd name="connsiteY2" fmla="*/ 257442 h 257442"/>
                <a:gd name="connsiteX3" fmla="*/ 54721 w 2236409"/>
                <a:gd name="connsiteY3" fmla="*/ 0 h 257442"/>
                <a:gd name="connsiteX0" fmla="*/ 2068094 w 2181689"/>
                <a:gd name="connsiteY0" fmla="*/ 0 h 257442"/>
                <a:gd name="connsiteX1" fmla="*/ 2181689 w 2181689"/>
                <a:gd name="connsiteY1" fmla="*/ 257442 h 257442"/>
                <a:gd name="connsiteX2" fmla="*/ 0 w 2181689"/>
                <a:gd name="connsiteY2" fmla="*/ 257442 h 257442"/>
                <a:gd name="connsiteX3" fmla="*/ 54721 w 2181689"/>
                <a:gd name="connsiteY3" fmla="*/ 0 h 257442"/>
                <a:gd name="connsiteX0" fmla="*/ 2068094 w 2068094"/>
                <a:gd name="connsiteY0" fmla="*/ 0 h 257442"/>
                <a:gd name="connsiteX1" fmla="*/ 2013373 w 2068094"/>
                <a:gd name="connsiteY1" fmla="*/ 257442 h 257442"/>
                <a:gd name="connsiteX2" fmla="*/ 0 w 2068094"/>
                <a:gd name="connsiteY2" fmla="*/ 257442 h 257442"/>
                <a:gd name="connsiteX3" fmla="*/ 54721 w 2068094"/>
                <a:gd name="connsiteY3" fmla="*/ 0 h 257442"/>
                <a:gd name="connsiteX0" fmla="*/ 2068094 w 2068094"/>
                <a:gd name="connsiteY0" fmla="*/ 0 h 257442"/>
                <a:gd name="connsiteX1" fmla="*/ 2013373 w 2068094"/>
                <a:gd name="connsiteY1" fmla="*/ 257442 h 257442"/>
                <a:gd name="connsiteX2" fmla="*/ 0 w 2068094"/>
                <a:gd name="connsiteY2" fmla="*/ 257442 h 257442"/>
                <a:gd name="connsiteX3" fmla="*/ 54721 w 2068094"/>
                <a:gd name="connsiteY3" fmla="*/ 0 h 257442"/>
                <a:gd name="connsiteX0" fmla="*/ 2068094 w 2068094"/>
                <a:gd name="connsiteY0" fmla="*/ 0 h 257442"/>
                <a:gd name="connsiteX1" fmla="*/ 2013373 w 2068094"/>
                <a:gd name="connsiteY1" fmla="*/ 257442 h 257442"/>
                <a:gd name="connsiteX2" fmla="*/ 0 w 2068094"/>
                <a:gd name="connsiteY2" fmla="*/ 257442 h 257442"/>
                <a:gd name="connsiteX3" fmla="*/ 54721 w 2068094"/>
                <a:gd name="connsiteY3" fmla="*/ 0 h 257442"/>
                <a:gd name="connsiteX0" fmla="*/ 1907793 w 2013373"/>
                <a:gd name="connsiteY0" fmla="*/ 0 h 257442"/>
                <a:gd name="connsiteX1" fmla="*/ 2013373 w 2013373"/>
                <a:gd name="connsiteY1" fmla="*/ 257442 h 257442"/>
                <a:gd name="connsiteX2" fmla="*/ 0 w 2013373"/>
                <a:gd name="connsiteY2" fmla="*/ 257442 h 257442"/>
                <a:gd name="connsiteX3" fmla="*/ 54721 w 2013373"/>
                <a:gd name="connsiteY3" fmla="*/ 0 h 257442"/>
                <a:gd name="connsiteX0" fmla="*/ 1907793 w 1907793"/>
                <a:gd name="connsiteY0" fmla="*/ 0 h 257442"/>
                <a:gd name="connsiteX1" fmla="*/ 1853073 w 1907793"/>
                <a:gd name="connsiteY1" fmla="*/ 257442 h 257442"/>
                <a:gd name="connsiteX2" fmla="*/ 0 w 1907793"/>
                <a:gd name="connsiteY2" fmla="*/ 257442 h 257442"/>
                <a:gd name="connsiteX3" fmla="*/ 54721 w 1907793"/>
                <a:gd name="connsiteY3" fmla="*/ 0 h 257442"/>
                <a:gd name="connsiteX0" fmla="*/ 1907792 w 1907792"/>
                <a:gd name="connsiteY0" fmla="*/ 0 h 257442"/>
                <a:gd name="connsiteX1" fmla="*/ 1853072 w 1907792"/>
                <a:gd name="connsiteY1" fmla="*/ 257442 h 257442"/>
                <a:gd name="connsiteX2" fmla="*/ 0 w 1907792"/>
                <a:gd name="connsiteY2" fmla="*/ 257442 h 257442"/>
                <a:gd name="connsiteX3" fmla="*/ 54720 w 1907792"/>
                <a:gd name="connsiteY3" fmla="*/ 0 h 257442"/>
                <a:gd name="connsiteX0" fmla="*/ 1907792 w 1907792"/>
                <a:gd name="connsiteY0" fmla="*/ 0 h 257442"/>
                <a:gd name="connsiteX1" fmla="*/ 1853072 w 1907792"/>
                <a:gd name="connsiteY1" fmla="*/ 257442 h 257442"/>
                <a:gd name="connsiteX2" fmla="*/ 0 w 1907792"/>
                <a:gd name="connsiteY2" fmla="*/ 257442 h 257442"/>
                <a:gd name="connsiteX3" fmla="*/ 54720 w 1907792"/>
                <a:gd name="connsiteY3" fmla="*/ 0 h 257442"/>
                <a:gd name="connsiteX0" fmla="*/ 2068093 w 2068093"/>
                <a:gd name="connsiteY0" fmla="*/ 0 h 257442"/>
                <a:gd name="connsiteX1" fmla="*/ 1853072 w 2068093"/>
                <a:gd name="connsiteY1" fmla="*/ 257442 h 257442"/>
                <a:gd name="connsiteX2" fmla="*/ 0 w 2068093"/>
                <a:gd name="connsiteY2" fmla="*/ 257442 h 257442"/>
                <a:gd name="connsiteX3" fmla="*/ 54720 w 2068093"/>
                <a:gd name="connsiteY3" fmla="*/ 0 h 257442"/>
                <a:gd name="connsiteX0" fmla="*/ 2068093 w 2068093"/>
                <a:gd name="connsiteY0" fmla="*/ 0 h 257442"/>
                <a:gd name="connsiteX1" fmla="*/ 2013372 w 2068093"/>
                <a:gd name="connsiteY1" fmla="*/ 257442 h 257442"/>
                <a:gd name="connsiteX2" fmla="*/ 0 w 2068093"/>
                <a:gd name="connsiteY2" fmla="*/ 257442 h 257442"/>
                <a:gd name="connsiteX3" fmla="*/ 54720 w 2068093"/>
                <a:gd name="connsiteY3" fmla="*/ 0 h 257442"/>
                <a:gd name="connsiteX0" fmla="*/ 2068094 w 2068094"/>
                <a:gd name="connsiteY0" fmla="*/ 0 h 257442"/>
                <a:gd name="connsiteX1" fmla="*/ 2013373 w 2068094"/>
                <a:gd name="connsiteY1" fmla="*/ 257442 h 257442"/>
                <a:gd name="connsiteX2" fmla="*/ 0 w 2068094"/>
                <a:gd name="connsiteY2" fmla="*/ 257442 h 257442"/>
                <a:gd name="connsiteX3" fmla="*/ 54721 w 2068094"/>
                <a:gd name="connsiteY3" fmla="*/ 0 h 257442"/>
                <a:gd name="connsiteX0" fmla="*/ 2068094 w 2068094"/>
                <a:gd name="connsiteY0" fmla="*/ 0 h 257442"/>
                <a:gd name="connsiteX1" fmla="*/ 2013373 w 2068094"/>
                <a:gd name="connsiteY1" fmla="*/ 257442 h 257442"/>
                <a:gd name="connsiteX2" fmla="*/ 0 w 2068094"/>
                <a:gd name="connsiteY2" fmla="*/ 257442 h 257442"/>
                <a:gd name="connsiteX3" fmla="*/ 54721 w 2068094"/>
                <a:gd name="connsiteY3" fmla="*/ 0 h 257442"/>
                <a:gd name="connsiteX0" fmla="*/ 2228394 w 2228394"/>
                <a:gd name="connsiteY0" fmla="*/ 0 h 257442"/>
                <a:gd name="connsiteX1" fmla="*/ 2013373 w 2228394"/>
                <a:gd name="connsiteY1" fmla="*/ 257442 h 257442"/>
                <a:gd name="connsiteX2" fmla="*/ 0 w 2228394"/>
                <a:gd name="connsiteY2" fmla="*/ 257442 h 257442"/>
                <a:gd name="connsiteX3" fmla="*/ 54721 w 2228394"/>
                <a:gd name="connsiteY3" fmla="*/ 0 h 257442"/>
                <a:gd name="connsiteX0" fmla="*/ 2228394 w 2228394"/>
                <a:gd name="connsiteY0" fmla="*/ 0 h 257442"/>
                <a:gd name="connsiteX1" fmla="*/ 2173673 w 2228394"/>
                <a:gd name="connsiteY1" fmla="*/ 257442 h 257442"/>
                <a:gd name="connsiteX2" fmla="*/ 0 w 2228394"/>
                <a:gd name="connsiteY2" fmla="*/ 257442 h 257442"/>
                <a:gd name="connsiteX3" fmla="*/ 54721 w 2228394"/>
                <a:gd name="connsiteY3" fmla="*/ 0 h 257442"/>
                <a:gd name="connsiteX0" fmla="*/ 2228394 w 2228394"/>
                <a:gd name="connsiteY0" fmla="*/ 0 h 257442"/>
                <a:gd name="connsiteX1" fmla="*/ 2173673 w 2228394"/>
                <a:gd name="connsiteY1" fmla="*/ 257442 h 257442"/>
                <a:gd name="connsiteX2" fmla="*/ 0 w 2228394"/>
                <a:gd name="connsiteY2" fmla="*/ 257442 h 257442"/>
                <a:gd name="connsiteX3" fmla="*/ 54721 w 2228394"/>
                <a:gd name="connsiteY3" fmla="*/ 0 h 257442"/>
                <a:gd name="connsiteX0" fmla="*/ 2228394 w 2228394"/>
                <a:gd name="connsiteY0" fmla="*/ 0 h 257442"/>
                <a:gd name="connsiteX1" fmla="*/ 2173673 w 2228394"/>
                <a:gd name="connsiteY1" fmla="*/ 257442 h 257442"/>
                <a:gd name="connsiteX2" fmla="*/ 0 w 2228394"/>
                <a:gd name="connsiteY2" fmla="*/ 257442 h 257442"/>
                <a:gd name="connsiteX3" fmla="*/ 54721 w 2228394"/>
                <a:gd name="connsiteY3" fmla="*/ 0 h 257442"/>
                <a:gd name="connsiteX0" fmla="*/ 2396710 w 2396710"/>
                <a:gd name="connsiteY0" fmla="*/ 0 h 257442"/>
                <a:gd name="connsiteX1" fmla="*/ 2173673 w 2396710"/>
                <a:gd name="connsiteY1" fmla="*/ 257442 h 257442"/>
                <a:gd name="connsiteX2" fmla="*/ 0 w 2396710"/>
                <a:gd name="connsiteY2" fmla="*/ 257442 h 257442"/>
                <a:gd name="connsiteX3" fmla="*/ 54721 w 2396710"/>
                <a:gd name="connsiteY3" fmla="*/ 0 h 257442"/>
                <a:gd name="connsiteX0" fmla="*/ 2396710 w 2396710"/>
                <a:gd name="connsiteY0" fmla="*/ 0 h 257442"/>
                <a:gd name="connsiteX1" fmla="*/ 2341989 w 2396710"/>
                <a:gd name="connsiteY1" fmla="*/ 257442 h 257442"/>
                <a:gd name="connsiteX2" fmla="*/ 0 w 2396710"/>
                <a:gd name="connsiteY2" fmla="*/ 257442 h 257442"/>
                <a:gd name="connsiteX3" fmla="*/ 54721 w 2396710"/>
                <a:gd name="connsiteY3" fmla="*/ 0 h 257442"/>
                <a:gd name="connsiteX0" fmla="*/ 2396710 w 2396710"/>
                <a:gd name="connsiteY0" fmla="*/ 0 h 257442"/>
                <a:gd name="connsiteX1" fmla="*/ 2341989 w 2396710"/>
                <a:gd name="connsiteY1" fmla="*/ 257442 h 257442"/>
                <a:gd name="connsiteX2" fmla="*/ 0 w 2396710"/>
                <a:gd name="connsiteY2" fmla="*/ 257442 h 257442"/>
                <a:gd name="connsiteX3" fmla="*/ 54721 w 2396710"/>
                <a:gd name="connsiteY3" fmla="*/ 0 h 257442"/>
                <a:gd name="connsiteX0" fmla="*/ 2396710 w 2396710"/>
                <a:gd name="connsiteY0" fmla="*/ 0 h 257442"/>
                <a:gd name="connsiteX1" fmla="*/ 2341989 w 2396710"/>
                <a:gd name="connsiteY1" fmla="*/ 257442 h 257442"/>
                <a:gd name="connsiteX2" fmla="*/ 0 w 2396710"/>
                <a:gd name="connsiteY2" fmla="*/ 257442 h 257442"/>
                <a:gd name="connsiteX3" fmla="*/ 54721 w 2396710"/>
                <a:gd name="connsiteY3" fmla="*/ 0 h 257442"/>
                <a:gd name="connsiteX0" fmla="*/ 2565025 w 2565025"/>
                <a:gd name="connsiteY0" fmla="*/ 0 h 257442"/>
                <a:gd name="connsiteX1" fmla="*/ 2341989 w 2565025"/>
                <a:gd name="connsiteY1" fmla="*/ 257442 h 257442"/>
                <a:gd name="connsiteX2" fmla="*/ 0 w 2565025"/>
                <a:gd name="connsiteY2" fmla="*/ 257442 h 257442"/>
                <a:gd name="connsiteX3" fmla="*/ 54721 w 2565025"/>
                <a:gd name="connsiteY3" fmla="*/ 0 h 257442"/>
                <a:gd name="connsiteX0" fmla="*/ 2565025 w 2565025"/>
                <a:gd name="connsiteY0" fmla="*/ 0 h 257442"/>
                <a:gd name="connsiteX1" fmla="*/ 2510304 w 2565025"/>
                <a:gd name="connsiteY1" fmla="*/ 257442 h 257442"/>
                <a:gd name="connsiteX2" fmla="*/ 0 w 2565025"/>
                <a:gd name="connsiteY2" fmla="*/ 257442 h 257442"/>
                <a:gd name="connsiteX3" fmla="*/ 54721 w 2565025"/>
                <a:gd name="connsiteY3" fmla="*/ 0 h 257442"/>
                <a:gd name="connsiteX0" fmla="*/ 2565025 w 2565025"/>
                <a:gd name="connsiteY0" fmla="*/ 0 h 257442"/>
                <a:gd name="connsiteX1" fmla="*/ 2510304 w 2565025"/>
                <a:gd name="connsiteY1" fmla="*/ 257442 h 257442"/>
                <a:gd name="connsiteX2" fmla="*/ 0 w 2565025"/>
                <a:gd name="connsiteY2" fmla="*/ 257442 h 257442"/>
                <a:gd name="connsiteX3" fmla="*/ 54721 w 2565025"/>
                <a:gd name="connsiteY3" fmla="*/ 0 h 257442"/>
                <a:gd name="connsiteX0" fmla="*/ 2565025 w 2565025"/>
                <a:gd name="connsiteY0" fmla="*/ 0 h 257442"/>
                <a:gd name="connsiteX1" fmla="*/ 2510304 w 2565025"/>
                <a:gd name="connsiteY1" fmla="*/ 257442 h 257442"/>
                <a:gd name="connsiteX2" fmla="*/ 0 w 2565025"/>
                <a:gd name="connsiteY2" fmla="*/ 257442 h 257442"/>
                <a:gd name="connsiteX3" fmla="*/ 54721 w 2565025"/>
                <a:gd name="connsiteY3" fmla="*/ 0 h 257442"/>
                <a:gd name="connsiteX0" fmla="*/ 2733340 w 2733340"/>
                <a:gd name="connsiteY0" fmla="*/ 0 h 257442"/>
                <a:gd name="connsiteX1" fmla="*/ 2510304 w 2733340"/>
                <a:gd name="connsiteY1" fmla="*/ 257442 h 257442"/>
                <a:gd name="connsiteX2" fmla="*/ 0 w 2733340"/>
                <a:gd name="connsiteY2" fmla="*/ 257442 h 257442"/>
                <a:gd name="connsiteX3" fmla="*/ 54721 w 2733340"/>
                <a:gd name="connsiteY3" fmla="*/ 0 h 257442"/>
                <a:gd name="connsiteX0" fmla="*/ 2733340 w 2733340"/>
                <a:gd name="connsiteY0" fmla="*/ 0 h 257442"/>
                <a:gd name="connsiteX1" fmla="*/ 2678618 w 2733340"/>
                <a:gd name="connsiteY1" fmla="*/ 257442 h 257442"/>
                <a:gd name="connsiteX2" fmla="*/ 0 w 2733340"/>
                <a:gd name="connsiteY2" fmla="*/ 257442 h 257442"/>
                <a:gd name="connsiteX3" fmla="*/ 54721 w 2733340"/>
                <a:gd name="connsiteY3" fmla="*/ 0 h 257442"/>
                <a:gd name="connsiteX0" fmla="*/ 2733341 w 2733341"/>
                <a:gd name="connsiteY0" fmla="*/ 0 h 257442"/>
                <a:gd name="connsiteX1" fmla="*/ 2678619 w 2733341"/>
                <a:gd name="connsiteY1" fmla="*/ 257442 h 257442"/>
                <a:gd name="connsiteX2" fmla="*/ 0 w 2733341"/>
                <a:gd name="connsiteY2" fmla="*/ 257442 h 257442"/>
                <a:gd name="connsiteX3" fmla="*/ 54722 w 2733341"/>
                <a:gd name="connsiteY3" fmla="*/ 0 h 257442"/>
                <a:gd name="connsiteX0" fmla="*/ 2733341 w 2733341"/>
                <a:gd name="connsiteY0" fmla="*/ 0 h 257442"/>
                <a:gd name="connsiteX1" fmla="*/ 2678619 w 2733341"/>
                <a:gd name="connsiteY1" fmla="*/ 257442 h 257442"/>
                <a:gd name="connsiteX2" fmla="*/ 0 w 2733341"/>
                <a:gd name="connsiteY2" fmla="*/ 257442 h 257442"/>
                <a:gd name="connsiteX3" fmla="*/ 54722 w 2733341"/>
                <a:gd name="connsiteY3" fmla="*/ 0 h 257442"/>
                <a:gd name="connsiteX0" fmla="*/ 2901656 w 2901656"/>
                <a:gd name="connsiteY0" fmla="*/ 0 h 257442"/>
                <a:gd name="connsiteX1" fmla="*/ 2678619 w 2901656"/>
                <a:gd name="connsiteY1" fmla="*/ 257442 h 257442"/>
                <a:gd name="connsiteX2" fmla="*/ 0 w 2901656"/>
                <a:gd name="connsiteY2" fmla="*/ 257442 h 257442"/>
                <a:gd name="connsiteX3" fmla="*/ 54722 w 2901656"/>
                <a:gd name="connsiteY3" fmla="*/ 0 h 257442"/>
                <a:gd name="connsiteX0" fmla="*/ 2901656 w 2901656"/>
                <a:gd name="connsiteY0" fmla="*/ 0 h 257442"/>
                <a:gd name="connsiteX1" fmla="*/ 2846934 w 2901656"/>
                <a:gd name="connsiteY1" fmla="*/ 257442 h 257442"/>
                <a:gd name="connsiteX2" fmla="*/ 0 w 2901656"/>
                <a:gd name="connsiteY2" fmla="*/ 257442 h 257442"/>
                <a:gd name="connsiteX3" fmla="*/ 54722 w 2901656"/>
                <a:gd name="connsiteY3" fmla="*/ 0 h 257442"/>
                <a:gd name="connsiteX0" fmla="*/ 2901656 w 2901656"/>
                <a:gd name="connsiteY0" fmla="*/ 0 h 257442"/>
                <a:gd name="connsiteX1" fmla="*/ 2846934 w 2901656"/>
                <a:gd name="connsiteY1" fmla="*/ 257442 h 257442"/>
                <a:gd name="connsiteX2" fmla="*/ 0 w 2901656"/>
                <a:gd name="connsiteY2" fmla="*/ 257442 h 257442"/>
                <a:gd name="connsiteX3" fmla="*/ 54722 w 2901656"/>
                <a:gd name="connsiteY3" fmla="*/ 0 h 257442"/>
                <a:gd name="connsiteX0" fmla="*/ 2901656 w 2901656"/>
                <a:gd name="connsiteY0" fmla="*/ 0 h 257442"/>
                <a:gd name="connsiteX1" fmla="*/ 2846934 w 2901656"/>
                <a:gd name="connsiteY1" fmla="*/ 257442 h 257442"/>
                <a:gd name="connsiteX2" fmla="*/ 0 w 2901656"/>
                <a:gd name="connsiteY2" fmla="*/ 257442 h 257442"/>
                <a:gd name="connsiteX3" fmla="*/ 54721 w 2901656"/>
                <a:gd name="connsiteY3" fmla="*/ 0 h 257442"/>
                <a:gd name="connsiteX0" fmla="*/ 950801 w 2846934"/>
                <a:gd name="connsiteY0" fmla="*/ 0 h 257442"/>
                <a:gd name="connsiteX1" fmla="*/ 2846934 w 2846934"/>
                <a:gd name="connsiteY1" fmla="*/ 257442 h 257442"/>
                <a:gd name="connsiteX2" fmla="*/ 0 w 2846934"/>
                <a:gd name="connsiteY2" fmla="*/ 257442 h 257442"/>
                <a:gd name="connsiteX3" fmla="*/ 54721 w 2846934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36748 w 1136748"/>
                <a:gd name="connsiteY0" fmla="*/ 0 h 257442"/>
                <a:gd name="connsiteX1" fmla="*/ 896079 w 1136748"/>
                <a:gd name="connsiteY1" fmla="*/ 257442 h 257442"/>
                <a:gd name="connsiteX2" fmla="*/ 0 w 1136748"/>
                <a:gd name="connsiteY2" fmla="*/ 257442 h 257442"/>
                <a:gd name="connsiteX3" fmla="*/ 54720 w 1136748"/>
                <a:gd name="connsiteY3" fmla="*/ 0 h 257442"/>
                <a:gd name="connsiteX0" fmla="*/ 1136748 w 1136748"/>
                <a:gd name="connsiteY0" fmla="*/ 0 h 257442"/>
                <a:gd name="connsiteX1" fmla="*/ 1082027 w 1136748"/>
                <a:gd name="connsiteY1" fmla="*/ 257442 h 257442"/>
                <a:gd name="connsiteX2" fmla="*/ 0 w 1136748"/>
                <a:gd name="connsiteY2" fmla="*/ 257442 h 257442"/>
                <a:gd name="connsiteX3" fmla="*/ 54720 w 1136748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54721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54722 w 1136749"/>
                <a:gd name="connsiteY3" fmla="*/ 0 h 257442"/>
                <a:gd name="connsiteX0" fmla="*/ 1305065 w 1305065"/>
                <a:gd name="connsiteY0" fmla="*/ 0 h 257442"/>
                <a:gd name="connsiteX1" fmla="*/ 1082028 w 1305065"/>
                <a:gd name="connsiteY1" fmla="*/ 257442 h 257442"/>
                <a:gd name="connsiteX2" fmla="*/ 0 w 1305065"/>
                <a:gd name="connsiteY2" fmla="*/ 257442 h 257442"/>
                <a:gd name="connsiteX3" fmla="*/ 54722 w 1305065"/>
                <a:gd name="connsiteY3" fmla="*/ 0 h 257442"/>
                <a:gd name="connsiteX0" fmla="*/ 1305065 w 1305065"/>
                <a:gd name="connsiteY0" fmla="*/ 0 h 257442"/>
                <a:gd name="connsiteX1" fmla="*/ 1250344 w 1305065"/>
                <a:gd name="connsiteY1" fmla="*/ 257442 h 257442"/>
                <a:gd name="connsiteX2" fmla="*/ 0 w 1305065"/>
                <a:gd name="connsiteY2" fmla="*/ 257442 h 257442"/>
                <a:gd name="connsiteX3" fmla="*/ 54722 w 1305065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54720 w 1305064"/>
                <a:gd name="connsiteY3" fmla="*/ 0 h 257442"/>
                <a:gd name="connsiteX0" fmla="*/ 1635282 w 1635282"/>
                <a:gd name="connsiteY0" fmla="*/ 0 h 257442"/>
                <a:gd name="connsiteX1" fmla="*/ 1250343 w 1635282"/>
                <a:gd name="connsiteY1" fmla="*/ 257442 h 257442"/>
                <a:gd name="connsiteX2" fmla="*/ 0 w 1635282"/>
                <a:gd name="connsiteY2" fmla="*/ 257442 h 257442"/>
                <a:gd name="connsiteX3" fmla="*/ 54720 w 1635282"/>
                <a:gd name="connsiteY3" fmla="*/ 0 h 257442"/>
                <a:gd name="connsiteX0" fmla="*/ 1635282 w 1635282"/>
                <a:gd name="connsiteY0" fmla="*/ 0 h 257442"/>
                <a:gd name="connsiteX1" fmla="*/ 1580561 w 1635282"/>
                <a:gd name="connsiteY1" fmla="*/ 257442 h 257442"/>
                <a:gd name="connsiteX2" fmla="*/ 0 w 1635282"/>
                <a:gd name="connsiteY2" fmla="*/ 257442 h 257442"/>
                <a:gd name="connsiteX3" fmla="*/ 54720 w 1635282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54721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54722 w 1635283"/>
                <a:gd name="connsiteY3" fmla="*/ 0 h 257442"/>
                <a:gd name="connsiteX0" fmla="*/ 1803600 w 1803600"/>
                <a:gd name="connsiteY0" fmla="*/ 0 h 257442"/>
                <a:gd name="connsiteX1" fmla="*/ 1580562 w 1803600"/>
                <a:gd name="connsiteY1" fmla="*/ 257442 h 257442"/>
                <a:gd name="connsiteX2" fmla="*/ 0 w 1803600"/>
                <a:gd name="connsiteY2" fmla="*/ 257442 h 257442"/>
                <a:gd name="connsiteX3" fmla="*/ 54722 w 1803600"/>
                <a:gd name="connsiteY3" fmla="*/ 0 h 257442"/>
                <a:gd name="connsiteX0" fmla="*/ 1803600 w 1803600"/>
                <a:gd name="connsiteY0" fmla="*/ 0 h 257442"/>
                <a:gd name="connsiteX1" fmla="*/ 1748878 w 1803600"/>
                <a:gd name="connsiteY1" fmla="*/ 257442 h 257442"/>
                <a:gd name="connsiteX2" fmla="*/ 0 w 1803600"/>
                <a:gd name="connsiteY2" fmla="*/ 257442 h 257442"/>
                <a:gd name="connsiteX3" fmla="*/ 54722 w 1803600"/>
                <a:gd name="connsiteY3" fmla="*/ 0 h 257442"/>
                <a:gd name="connsiteX0" fmla="*/ 1803600 w 1803600"/>
                <a:gd name="connsiteY0" fmla="*/ 0 h 257442"/>
                <a:gd name="connsiteX1" fmla="*/ 1748878 w 1803600"/>
                <a:gd name="connsiteY1" fmla="*/ 257442 h 257442"/>
                <a:gd name="connsiteX2" fmla="*/ 0 w 1803600"/>
                <a:gd name="connsiteY2" fmla="*/ 257442 h 257442"/>
                <a:gd name="connsiteX3" fmla="*/ 54722 w 1803600"/>
                <a:gd name="connsiteY3" fmla="*/ 0 h 257442"/>
                <a:gd name="connsiteX0" fmla="*/ 1803600 w 1803600"/>
                <a:gd name="connsiteY0" fmla="*/ 0 h 257442"/>
                <a:gd name="connsiteX1" fmla="*/ 1748878 w 1803600"/>
                <a:gd name="connsiteY1" fmla="*/ 257442 h 257442"/>
                <a:gd name="connsiteX2" fmla="*/ 0 w 1803600"/>
                <a:gd name="connsiteY2" fmla="*/ 257442 h 257442"/>
                <a:gd name="connsiteX3" fmla="*/ 54721 w 1803600"/>
                <a:gd name="connsiteY3" fmla="*/ 0 h 257442"/>
                <a:gd name="connsiteX0" fmla="*/ 2072903 w 2072903"/>
                <a:gd name="connsiteY0" fmla="*/ 0 h 257442"/>
                <a:gd name="connsiteX1" fmla="*/ 1748878 w 2072903"/>
                <a:gd name="connsiteY1" fmla="*/ 257442 h 257442"/>
                <a:gd name="connsiteX2" fmla="*/ 0 w 2072903"/>
                <a:gd name="connsiteY2" fmla="*/ 257442 h 257442"/>
                <a:gd name="connsiteX3" fmla="*/ 54721 w 2072903"/>
                <a:gd name="connsiteY3" fmla="*/ 0 h 257442"/>
                <a:gd name="connsiteX0" fmla="*/ 2072903 w 2072903"/>
                <a:gd name="connsiteY0" fmla="*/ 0 h 257442"/>
                <a:gd name="connsiteX1" fmla="*/ 2018182 w 2072903"/>
                <a:gd name="connsiteY1" fmla="*/ 257442 h 257442"/>
                <a:gd name="connsiteX2" fmla="*/ 0 w 2072903"/>
                <a:gd name="connsiteY2" fmla="*/ 257442 h 257442"/>
                <a:gd name="connsiteX3" fmla="*/ 54721 w 2072903"/>
                <a:gd name="connsiteY3" fmla="*/ 0 h 257442"/>
                <a:gd name="connsiteX0" fmla="*/ 2072903 w 2072903"/>
                <a:gd name="connsiteY0" fmla="*/ 0 h 257442"/>
                <a:gd name="connsiteX1" fmla="*/ 2018182 w 2072903"/>
                <a:gd name="connsiteY1" fmla="*/ 257442 h 257442"/>
                <a:gd name="connsiteX2" fmla="*/ 0 w 2072903"/>
                <a:gd name="connsiteY2" fmla="*/ 257442 h 257442"/>
                <a:gd name="connsiteX3" fmla="*/ 54721 w 2072903"/>
                <a:gd name="connsiteY3" fmla="*/ 0 h 257442"/>
                <a:gd name="connsiteX0" fmla="*/ 2072903 w 2072903"/>
                <a:gd name="connsiteY0" fmla="*/ 0 h 257442"/>
                <a:gd name="connsiteX1" fmla="*/ 2018182 w 2072903"/>
                <a:gd name="connsiteY1" fmla="*/ 257442 h 257442"/>
                <a:gd name="connsiteX2" fmla="*/ 0 w 2072903"/>
                <a:gd name="connsiteY2" fmla="*/ 257442 h 257442"/>
                <a:gd name="connsiteX3" fmla="*/ 54721 w 2072903"/>
                <a:gd name="connsiteY3" fmla="*/ 0 h 257442"/>
                <a:gd name="connsiteX0" fmla="*/ 2233203 w 2233203"/>
                <a:gd name="connsiteY0" fmla="*/ 0 h 257442"/>
                <a:gd name="connsiteX1" fmla="*/ 2018182 w 2233203"/>
                <a:gd name="connsiteY1" fmla="*/ 257442 h 257442"/>
                <a:gd name="connsiteX2" fmla="*/ 0 w 2233203"/>
                <a:gd name="connsiteY2" fmla="*/ 257442 h 257442"/>
                <a:gd name="connsiteX3" fmla="*/ 54721 w 2233203"/>
                <a:gd name="connsiteY3" fmla="*/ 0 h 257442"/>
                <a:gd name="connsiteX0" fmla="*/ 2233203 w 2233203"/>
                <a:gd name="connsiteY0" fmla="*/ 0 h 257442"/>
                <a:gd name="connsiteX1" fmla="*/ 2178482 w 2233203"/>
                <a:gd name="connsiteY1" fmla="*/ 257442 h 257442"/>
                <a:gd name="connsiteX2" fmla="*/ 0 w 2233203"/>
                <a:gd name="connsiteY2" fmla="*/ 257442 h 257442"/>
                <a:gd name="connsiteX3" fmla="*/ 54721 w 2233203"/>
                <a:gd name="connsiteY3" fmla="*/ 0 h 257442"/>
                <a:gd name="connsiteX0" fmla="*/ 2233203 w 2233203"/>
                <a:gd name="connsiteY0" fmla="*/ 0 h 257442"/>
                <a:gd name="connsiteX1" fmla="*/ 2178482 w 2233203"/>
                <a:gd name="connsiteY1" fmla="*/ 257442 h 257442"/>
                <a:gd name="connsiteX2" fmla="*/ 0 w 2233203"/>
                <a:gd name="connsiteY2" fmla="*/ 257442 h 257442"/>
                <a:gd name="connsiteX3" fmla="*/ 54721 w 2233203"/>
                <a:gd name="connsiteY3" fmla="*/ 0 h 257442"/>
                <a:gd name="connsiteX0" fmla="*/ 2233203 w 2233203"/>
                <a:gd name="connsiteY0" fmla="*/ 0 h 257442"/>
                <a:gd name="connsiteX1" fmla="*/ 2178482 w 2233203"/>
                <a:gd name="connsiteY1" fmla="*/ 257442 h 257442"/>
                <a:gd name="connsiteX2" fmla="*/ 0 w 2233203"/>
                <a:gd name="connsiteY2" fmla="*/ 257442 h 257442"/>
                <a:gd name="connsiteX3" fmla="*/ 54721 w 2233203"/>
                <a:gd name="connsiteY3" fmla="*/ 0 h 257442"/>
                <a:gd name="connsiteX0" fmla="*/ 2393504 w 2393504"/>
                <a:gd name="connsiteY0" fmla="*/ 0 h 257442"/>
                <a:gd name="connsiteX1" fmla="*/ 2178482 w 2393504"/>
                <a:gd name="connsiteY1" fmla="*/ 257442 h 257442"/>
                <a:gd name="connsiteX2" fmla="*/ 0 w 2393504"/>
                <a:gd name="connsiteY2" fmla="*/ 257442 h 257442"/>
                <a:gd name="connsiteX3" fmla="*/ 54721 w 2393504"/>
                <a:gd name="connsiteY3" fmla="*/ 0 h 257442"/>
                <a:gd name="connsiteX0" fmla="*/ 2393504 w 2393504"/>
                <a:gd name="connsiteY0" fmla="*/ 0 h 257442"/>
                <a:gd name="connsiteX1" fmla="*/ 2338782 w 2393504"/>
                <a:gd name="connsiteY1" fmla="*/ 257442 h 257442"/>
                <a:gd name="connsiteX2" fmla="*/ 0 w 2393504"/>
                <a:gd name="connsiteY2" fmla="*/ 257442 h 257442"/>
                <a:gd name="connsiteX3" fmla="*/ 54721 w 2393504"/>
                <a:gd name="connsiteY3" fmla="*/ 0 h 257442"/>
                <a:gd name="connsiteX0" fmla="*/ 2393505 w 2393505"/>
                <a:gd name="connsiteY0" fmla="*/ 0 h 257442"/>
                <a:gd name="connsiteX1" fmla="*/ 2338783 w 2393505"/>
                <a:gd name="connsiteY1" fmla="*/ 257442 h 257442"/>
                <a:gd name="connsiteX2" fmla="*/ 0 w 2393505"/>
                <a:gd name="connsiteY2" fmla="*/ 257442 h 257442"/>
                <a:gd name="connsiteX3" fmla="*/ 54722 w 2393505"/>
                <a:gd name="connsiteY3" fmla="*/ 0 h 257442"/>
                <a:gd name="connsiteX0" fmla="*/ 2393505 w 2393505"/>
                <a:gd name="connsiteY0" fmla="*/ 0 h 257442"/>
                <a:gd name="connsiteX1" fmla="*/ 2338783 w 2393505"/>
                <a:gd name="connsiteY1" fmla="*/ 257442 h 257442"/>
                <a:gd name="connsiteX2" fmla="*/ 0 w 2393505"/>
                <a:gd name="connsiteY2" fmla="*/ 257442 h 257442"/>
                <a:gd name="connsiteX3" fmla="*/ 54722 w 2393505"/>
                <a:gd name="connsiteY3" fmla="*/ 0 h 257442"/>
                <a:gd name="connsiteX0" fmla="*/ 2654794 w 2654794"/>
                <a:gd name="connsiteY0" fmla="*/ 0 h 257442"/>
                <a:gd name="connsiteX1" fmla="*/ 2338783 w 2654794"/>
                <a:gd name="connsiteY1" fmla="*/ 257442 h 257442"/>
                <a:gd name="connsiteX2" fmla="*/ 0 w 2654794"/>
                <a:gd name="connsiteY2" fmla="*/ 257442 h 257442"/>
                <a:gd name="connsiteX3" fmla="*/ 54722 w 2654794"/>
                <a:gd name="connsiteY3" fmla="*/ 0 h 257442"/>
                <a:gd name="connsiteX0" fmla="*/ 2654794 w 2654794"/>
                <a:gd name="connsiteY0" fmla="*/ 0 h 257442"/>
                <a:gd name="connsiteX1" fmla="*/ 2600072 w 2654794"/>
                <a:gd name="connsiteY1" fmla="*/ 257442 h 257442"/>
                <a:gd name="connsiteX2" fmla="*/ 0 w 2654794"/>
                <a:gd name="connsiteY2" fmla="*/ 257442 h 257442"/>
                <a:gd name="connsiteX3" fmla="*/ 54722 w 2654794"/>
                <a:gd name="connsiteY3" fmla="*/ 0 h 257442"/>
                <a:gd name="connsiteX0" fmla="*/ 2654794 w 2654794"/>
                <a:gd name="connsiteY0" fmla="*/ 0 h 257442"/>
                <a:gd name="connsiteX1" fmla="*/ 2600072 w 2654794"/>
                <a:gd name="connsiteY1" fmla="*/ 257442 h 257442"/>
                <a:gd name="connsiteX2" fmla="*/ 0 w 2654794"/>
                <a:gd name="connsiteY2" fmla="*/ 257442 h 257442"/>
                <a:gd name="connsiteX3" fmla="*/ 54722 w 2654794"/>
                <a:gd name="connsiteY3" fmla="*/ 0 h 257442"/>
                <a:gd name="connsiteX0" fmla="*/ 2654794 w 2654794"/>
                <a:gd name="connsiteY0" fmla="*/ 0 h 257442"/>
                <a:gd name="connsiteX1" fmla="*/ 2600072 w 2654794"/>
                <a:gd name="connsiteY1" fmla="*/ 257442 h 257442"/>
                <a:gd name="connsiteX2" fmla="*/ 0 w 2654794"/>
                <a:gd name="connsiteY2" fmla="*/ 257442 h 257442"/>
                <a:gd name="connsiteX3" fmla="*/ 54721 w 2654794"/>
                <a:gd name="connsiteY3" fmla="*/ 0 h 257442"/>
                <a:gd name="connsiteX0" fmla="*/ 2858375 w 2858375"/>
                <a:gd name="connsiteY0" fmla="*/ 0 h 257442"/>
                <a:gd name="connsiteX1" fmla="*/ 2600072 w 2858375"/>
                <a:gd name="connsiteY1" fmla="*/ 257442 h 257442"/>
                <a:gd name="connsiteX2" fmla="*/ 0 w 2858375"/>
                <a:gd name="connsiteY2" fmla="*/ 257442 h 257442"/>
                <a:gd name="connsiteX3" fmla="*/ 54721 w 2858375"/>
                <a:gd name="connsiteY3" fmla="*/ 0 h 257442"/>
                <a:gd name="connsiteX0" fmla="*/ 2858375 w 2858375"/>
                <a:gd name="connsiteY0" fmla="*/ 0 h 257442"/>
                <a:gd name="connsiteX1" fmla="*/ 2803654 w 2858375"/>
                <a:gd name="connsiteY1" fmla="*/ 257442 h 257442"/>
                <a:gd name="connsiteX2" fmla="*/ 0 w 2858375"/>
                <a:gd name="connsiteY2" fmla="*/ 257442 h 257442"/>
                <a:gd name="connsiteX3" fmla="*/ 54721 w 2858375"/>
                <a:gd name="connsiteY3" fmla="*/ 0 h 257442"/>
                <a:gd name="connsiteX0" fmla="*/ 2858375 w 2858375"/>
                <a:gd name="connsiteY0" fmla="*/ 0 h 257442"/>
                <a:gd name="connsiteX1" fmla="*/ 2803654 w 2858375"/>
                <a:gd name="connsiteY1" fmla="*/ 257442 h 257442"/>
                <a:gd name="connsiteX2" fmla="*/ 0 w 2858375"/>
                <a:gd name="connsiteY2" fmla="*/ 257442 h 257442"/>
                <a:gd name="connsiteX3" fmla="*/ 54721 w 2858375"/>
                <a:gd name="connsiteY3" fmla="*/ 0 h 257442"/>
                <a:gd name="connsiteX0" fmla="*/ 2858375 w 2858375"/>
                <a:gd name="connsiteY0" fmla="*/ 0 h 257442"/>
                <a:gd name="connsiteX1" fmla="*/ 2803654 w 2858375"/>
                <a:gd name="connsiteY1" fmla="*/ 257442 h 257442"/>
                <a:gd name="connsiteX2" fmla="*/ 0 w 2858375"/>
                <a:gd name="connsiteY2" fmla="*/ 257442 h 257442"/>
                <a:gd name="connsiteX3" fmla="*/ 54721 w 2858375"/>
                <a:gd name="connsiteY3" fmla="*/ 0 h 257442"/>
                <a:gd name="connsiteX0" fmla="*/ 3018675 w 3018675"/>
                <a:gd name="connsiteY0" fmla="*/ 0 h 257442"/>
                <a:gd name="connsiteX1" fmla="*/ 2803654 w 3018675"/>
                <a:gd name="connsiteY1" fmla="*/ 257442 h 257442"/>
                <a:gd name="connsiteX2" fmla="*/ 0 w 3018675"/>
                <a:gd name="connsiteY2" fmla="*/ 257442 h 257442"/>
                <a:gd name="connsiteX3" fmla="*/ 54721 w 3018675"/>
                <a:gd name="connsiteY3" fmla="*/ 0 h 257442"/>
                <a:gd name="connsiteX0" fmla="*/ 3018675 w 3018675"/>
                <a:gd name="connsiteY0" fmla="*/ 0 h 257442"/>
                <a:gd name="connsiteX1" fmla="*/ 2963954 w 3018675"/>
                <a:gd name="connsiteY1" fmla="*/ 257442 h 257442"/>
                <a:gd name="connsiteX2" fmla="*/ 0 w 3018675"/>
                <a:gd name="connsiteY2" fmla="*/ 257442 h 257442"/>
                <a:gd name="connsiteX3" fmla="*/ 54721 w 3018675"/>
                <a:gd name="connsiteY3" fmla="*/ 0 h 257442"/>
                <a:gd name="connsiteX0" fmla="*/ 3018675 w 3018675"/>
                <a:gd name="connsiteY0" fmla="*/ 0 h 257442"/>
                <a:gd name="connsiteX1" fmla="*/ 2963954 w 3018675"/>
                <a:gd name="connsiteY1" fmla="*/ 257442 h 257442"/>
                <a:gd name="connsiteX2" fmla="*/ 0 w 3018675"/>
                <a:gd name="connsiteY2" fmla="*/ 257442 h 257442"/>
                <a:gd name="connsiteX3" fmla="*/ 54721 w 3018675"/>
                <a:gd name="connsiteY3" fmla="*/ 0 h 257442"/>
                <a:gd name="connsiteX0" fmla="*/ 3018675 w 3018675"/>
                <a:gd name="connsiteY0" fmla="*/ 0 h 257442"/>
                <a:gd name="connsiteX1" fmla="*/ 2963954 w 3018675"/>
                <a:gd name="connsiteY1" fmla="*/ 257442 h 257442"/>
                <a:gd name="connsiteX2" fmla="*/ 0 w 3018675"/>
                <a:gd name="connsiteY2" fmla="*/ 257442 h 257442"/>
                <a:gd name="connsiteX3" fmla="*/ 54721 w 3018675"/>
                <a:gd name="connsiteY3" fmla="*/ 0 h 257442"/>
                <a:gd name="connsiteX0" fmla="*/ 950801 w 2963954"/>
                <a:gd name="connsiteY0" fmla="*/ 0 h 257442"/>
                <a:gd name="connsiteX1" fmla="*/ 2963954 w 2963954"/>
                <a:gd name="connsiteY1" fmla="*/ 257442 h 257442"/>
                <a:gd name="connsiteX2" fmla="*/ 0 w 2963954"/>
                <a:gd name="connsiteY2" fmla="*/ 257442 h 257442"/>
                <a:gd name="connsiteX3" fmla="*/ 54721 w 2963954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5472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5472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606878 w 1606878"/>
                <a:gd name="connsiteY0" fmla="*/ 0 h 257442"/>
                <a:gd name="connsiteX1" fmla="*/ 1224695 w 1606878"/>
                <a:gd name="connsiteY1" fmla="*/ 257442 h 257442"/>
                <a:gd name="connsiteX2" fmla="*/ 0 w 1606878"/>
                <a:gd name="connsiteY2" fmla="*/ 257442 h 257442"/>
                <a:gd name="connsiteX3" fmla="*/ 54721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54721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54721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54721 w 1606878"/>
                <a:gd name="connsiteY3" fmla="*/ 0 h 257442"/>
                <a:gd name="connsiteX0" fmla="*/ 1792827 w 1792827"/>
                <a:gd name="connsiteY0" fmla="*/ 0 h 257442"/>
                <a:gd name="connsiteX1" fmla="*/ 1552157 w 1792827"/>
                <a:gd name="connsiteY1" fmla="*/ 257442 h 257442"/>
                <a:gd name="connsiteX2" fmla="*/ 0 w 1792827"/>
                <a:gd name="connsiteY2" fmla="*/ 257442 h 257442"/>
                <a:gd name="connsiteX3" fmla="*/ 54721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54721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54721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54721 w 1792827"/>
                <a:gd name="connsiteY3" fmla="*/ 0 h 257442"/>
                <a:gd name="connsiteX0" fmla="*/ 1953127 w 1953127"/>
                <a:gd name="connsiteY0" fmla="*/ 0 h 257442"/>
                <a:gd name="connsiteX1" fmla="*/ 1738106 w 1953127"/>
                <a:gd name="connsiteY1" fmla="*/ 257442 h 257442"/>
                <a:gd name="connsiteX2" fmla="*/ 0 w 1953127"/>
                <a:gd name="connsiteY2" fmla="*/ 257442 h 257442"/>
                <a:gd name="connsiteX3" fmla="*/ 54721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54721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54721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54721 w 1953127"/>
                <a:gd name="connsiteY3" fmla="*/ 0 h 257442"/>
                <a:gd name="connsiteX0" fmla="*/ 2121442 w 2121442"/>
                <a:gd name="connsiteY0" fmla="*/ 0 h 257442"/>
                <a:gd name="connsiteX1" fmla="*/ 1898406 w 2121442"/>
                <a:gd name="connsiteY1" fmla="*/ 257442 h 257442"/>
                <a:gd name="connsiteX2" fmla="*/ 0 w 2121442"/>
                <a:gd name="connsiteY2" fmla="*/ 257442 h 257442"/>
                <a:gd name="connsiteX3" fmla="*/ 54721 w 2121442"/>
                <a:gd name="connsiteY3" fmla="*/ 0 h 257442"/>
                <a:gd name="connsiteX0" fmla="*/ 2121442 w 2121442"/>
                <a:gd name="connsiteY0" fmla="*/ 0 h 257442"/>
                <a:gd name="connsiteX1" fmla="*/ 2066720 w 2121442"/>
                <a:gd name="connsiteY1" fmla="*/ 257442 h 257442"/>
                <a:gd name="connsiteX2" fmla="*/ 0 w 2121442"/>
                <a:gd name="connsiteY2" fmla="*/ 257442 h 257442"/>
                <a:gd name="connsiteX3" fmla="*/ 54721 w 2121442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54722 w 2121443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54722 w 2121443"/>
                <a:gd name="connsiteY3" fmla="*/ 0 h 257442"/>
                <a:gd name="connsiteX0" fmla="*/ 2390747 w 2390747"/>
                <a:gd name="connsiteY0" fmla="*/ 0 h 257442"/>
                <a:gd name="connsiteX1" fmla="*/ 2066721 w 2390747"/>
                <a:gd name="connsiteY1" fmla="*/ 257442 h 257442"/>
                <a:gd name="connsiteX2" fmla="*/ 0 w 2390747"/>
                <a:gd name="connsiteY2" fmla="*/ 257442 h 257442"/>
                <a:gd name="connsiteX3" fmla="*/ 54722 w 2390747"/>
                <a:gd name="connsiteY3" fmla="*/ 0 h 257442"/>
                <a:gd name="connsiteX0" fmla="*/ 2390747 w 2390747"/>
                <a:gd name="connsiteY0" fmla="*/ 0 h 257442"/>
                <a:gd name="connsiteX1" fmla="*/ 2336026 w 2390747"/>
                <a:gd name="connsiteY1" fmla="*/ 257442 h 257442"/>
                <a:gd name="connsiteX2" fmla="*/ 0 w 2390747"/>
                <a:gd name="connsiteY2" fmla="*/ 257442 h 257442"/>
                <a:gd name="connsiteX3" fmla="*/ 54722 w 2390747"/>
                <a:gd name="connsiteY3" fmla="*/ 0 h 257442"/>
                <a:gd name="connsiteX0" fmla="*/ 2390746 w 2390746"/>
                <a:gd name="connsiteY0" fmla="*/ 0 h 257442"/>
                <a:gd name="connsiteX1" fmla="*/ 2336025 w 2390746"/>
                <a:gd name="connsiteY1" fmla="*/ 257442 h 257442"/>
                <a:gd name="connsiteX2" fmla="*/ 0 w 2390746"/>
                <a:gd name="connsiteY2" fmla="*/ 257442 h 257442"/>
                <a:gd name="connsiteX3" fmla="*/ 54721 w 2390746"/>
                <a:gd name="connsiteY3" fmla="*/ 0 h 257442"/>
                <a:gd name="connsiteX0" fmla="*/ 2390746 w 2390746"/>
                <a:gd name="connsiteY0" fmla="*/ 0 h 257442"/>
                <a:gd name="connsiteX1" fmla="*/ 2336025 w 2390746"/>
                <a:gd name="connsiteY1" fmla="*/ 257442 h 257442"/>
                <a:gd name="connsiteX2" fmla="*/ 0 w 2390746"/>
                <a:gd name="connsiteY2" fmla="*/ 257442 h 257442"/>
                <a:gd name="connsiteX3" fmla="*/ 54720 w 2390746"/>
                <a:gd name="connsiteY3" fmla="*/ 0 h 257442"/>
                <a:gd name="connsiteX0" fmla="*/ 2551045 w 2551045"/>
                <a:gd name="connsiteY0" fmla="*/ 0 h 257442"/>
                <a:gd name="connsiteX1" fmla="*/ 2336025 w 2551045"/>
                <a:gd name="connsiteY1" fmla="*/ 257442 h 257442"/>
                <a:gd name="connsiteX2" fmla="*/ 0 w 2551045"/>
                <a:gd name="connsiteY2" fmla="*/ 257442 h 257442"/>
                <a:gd name="connsiteX3" fmla="*/ 54720 w 2551045"/>
                <a:gd name="connsiteY3" fmla="*/ 0 h 257442"/>
                <a:gd name="connsiteX0" fmla="*/ 2551045 w 2551045"/>
                <a:gd name="connsiteY0" fmla="*/ 0 h 257442"/>
                <a:gd name="connsiteX1" fmla="*/ 2496324 w 2551045"/>
                <a:gd name="connsiteY1" fmla="*/ 257442 h 257442"/>
                <a:gd name="connsiteX2" fmla="*/ 0 w 2551045"/>
                <a:gd name="connsiteY2" fmla="*/ 257442 h 257442"/>
                <a:gd name="connsiteX3" fmla="*/ 54720 w 2551045"/>
                <a:gd name="connsiteY3" fmla="*/ 0 h 257442"/>
                <a:gd name="connsiteX0" fmla="*/ 2551046 w 2551046"/>
                <a:gd name="connsiteY0" fmla="*/ 0 h 257442"/>
                <a:gd name="connsiteX1" fmla="*/ 2496325 w 2551046"/>
                <a:gd name="connsiteY1" fmla="*/ 257442 h 257442"/>
                <a:gd name="connsiteX2" fmla="*/ 0 w 2551046"/>
                <a:gd name="connsiteY2" fmla="*/ 257442 h 257442"/>
                <a:gd name="connsiteX3" fmla="*/ 54721 w 2551046"/>
                <a:gd name="connsiteY3" fmla="*/ 0 h 257442"/>
                <a:gd name="connsiteX0" fmla="*/ 2551046 w 2551046"/>
                <a:gd name="connsiteY0" fmla="*/ 0 h 257442"/>
                <a:gd name="connsiteX1" fmla="*/ 2496325 w 2551046"/>
                <a:gd name="connsiteY1" fmla="*/ 257442 h 257442"/>
                <a:gd name="connsiteX2" fmla="*/ 0 w 2551046"/>
                <a:gd name="connsiteY2" fmla="*/ 257442 h 257442"/>
                <a:gd name="connsiteX3" fmla="*/ 54721 w 2551046"/>
                <a:gd name="connsiteY3" fmla="*/ 0 h 257442"/>
                <a:gd name="connsiteX0" fmla="*/ 2711347 w 2711347"/>
                <a:gd name="connsiteY0" fmla="*/ 0 h 257442"/>
                <a:gd name="connsiteX1" fmla="*/ 2496325 w 2711347"/>
                <a:gd name="connsiteY1" fmla="*/ 257442 h 257442"/>
                <a:gd name="connsiteX2" fmla="*/ 0 w 2711347"/>
                <a:gd name="connsiteY2" fmla="*/ 257442 h 257442"/>
                <a:gd name="connsiteX3" fmla="*/ 54721 w 2711347"/>
                <a:gd name="connsiteY3" fmla="*/ 0 h 257442"/>
                <a:gd name="connsiteX0" fmla="*/ 2711347 w 2711347"/>
                <a:gd name="connsiteY0" fmla="*/ 0 h 257442"/>
                <a:gd name="connsiteX1" fmla="*/ 2656626 w 2711347"/>
                <a:gd name="connsiteY1" fmla="*/ 257442 h 257442"/>
                <a:gd name="connsiteX2" fmla="*/ 0 w 2711347"/>
                <a:gd name="connsiteY2" fmla="*/ 257442 h 257442"/>
                <a:gd name="connsiteX3" fmla="*/ 54721 w 2711347"/>
                <a:gd name="connsiteY3" fmla="*/ 0 h 257442"/>
                <a:gd name="connsiteX0" fmla="*/ 2711347 w 2711347"/>
                <a:gd name="connsiteY0" fmla="*/ 0 h 257442"/>
                <a:gd name="connsiteX1" fmla="*/ 2656626 w 2711347"/>
                <a:gd name="connsiteY1" fmla="*/ 257442 h 257442"/>
                <a:gd name="connsiteX2" fmla="*/ 0 w 2711347"/>
                <a:gd name="connsiteY2" fmla="*/ 257442 h 257442"/>
                <a:gd name="connsiteX3" fmla="*/ 54721 w 2711347"/>
                <a:gd name="connsiteY3" fmla="*/ 0 h 257442"/>
                <a:gd name="connsiteX0" fmla="*/ 2711347 w 2711347"/>
                <a:gd name="connsiteY0" fmla="*/ 0 h 257442"/>
                <a:gd name="connsiteX1" fmla="*/ 2656626 w 2711347"/>
                <a:gd name="connsiteY1" fmla="*/ 257442 h 257442"/>
                <a:gd name="connsiteX2" fmla="*/ 0 w 2711347"/>
                <a:gd name="connsiteY2" fmla="*/ 257442 h 257442"/>
                <a:gd name="connsiteX3" fmla="*/ 54721 w 2711347"/>
                <a:gd name="connsiteY3" fmla="*/ 0 h 257442"/>
                <a:gd name="connsiteX0" fmla="*/ 2972637 w 2972637"/>
                <a:gd name="connsiteY0" fmla="*/ 0 h 257442"/>
                <a:gd name="connsiteX1" fmla="*/ 2656626 w 2972637"/>
                <a:gd name="connsiteY1" fmla="*/ 257442 h 257442"/>
                <a:gd name="connsiteX2" fmla="*/ 0 w 2972637"/>
                <a:gd name="connsiteY2" fmla="*/ 257442 h 257442"/>
                <a:gd name="connsiteX3" fmla="*/ 54721 w 2972637"/>
                <a:gd name="connsiteY3" fmla="*/ 0 h 257442"/>
                <a:gd name="connsiteX0" fmla="*/ 2972637 w 2972637"/>
                <a:gd name="connsiteY0" fmla="*/ 0 h 257442"/>
                <a:gd name="connsiteX1" fmla="*/ 2917916 w 2972637"/>
                <a:gd name="connsiteY1" fmla="*/ 257442 h 257442"/>
                <a:gd name="connsiteX2" fmla="*/ 0 w 2972637"/>
                <a:gd name="connsiteY2" fmla="*/ 257442 h 257442"/>
                <a:gd name="connsiteX3" fmla="*/ 54721 w 2972637"/>
                <a:gd name="connsiteY3" fmla="*/ 0 h 257442"/>
                <a:gd name="connsiteX0" fmla="*/ 2972637 w 2972637"/>
                <a:gd name="connsiteY0" fmla="*/ 0 h 257442"/>
                <a:gd name="connsiteX1" fmla="*/ 2917916 w 2972637"/>
                <a:gd name="connsiteY1" fmla="*/ 257442 h 257442"/>
                <a:gd name="connsiteX2" fmla="*/ 0 w 2972637"/>
                <a:gd name="connsiteY2" fmla="*/ 257442 h 257442"/>
                <a:gd name="connsiteX3" fmla="*/ 54721 w 2972637"/>
                <a:gd name="connsiteY3" fmla="*/ 0 h 257442"/>
                <a:gd name="connsiteX0" fmla="*/ 2972637 w 2972637"/>
                <a:gd name="connsiteY0" fmla="*/ 0 h 257442"/>
                <a:gd name="connsiteX1" fmla="*/ 2917916 w 2972637"/>
                <a:gd name="connsiteY1" fmla="*/ 257442 h 257442"/>
                <a:gd name="connsiteX2" fmla="*/ 0 w 2972637"/>
                <a:gd name="connsiteY2" fmla="*/ 257442 h 257442"/>
                <a:gd name="connsiteX3" fmla="*/ 54721 w 2972637"/>
                <a:gd name="connsiteY3" fmla="*/ 0 h 257442"/>
                <a:gd name="connsiteX0" fmla="*/ 3176218 w 3176218"/>
                <a:gd name="connsiteY0" fmla="*/ 0 h 257442"/>
                <a:gd name="connsiteX1" fmla="*/ 2917916 w 3176218"/>
                <a:gd name="connsiteY1" fmla="*/ 257442 h 257442"/>
                <a:gd name="connsiteX2" fmla="*/ 0 w 3176218"/>
                <a:gd name="connsiteY2" fmla="*/ 257442 h 257442"/>
                <a:gd name="connsiteX3" fmla="*/ 54721 w 3176218"/>
                <a:gd name="connsiteY3" fmla="*/ 0 h 257442"/>
                <a:gd name="connsiteX0" fmla="*/ 3176218 w 3176218"/>
                <a:gd name="connsiteY0" fmla="*/ 0 h 257442"/>
                <a:gd name="connsiteX1" fmla="*/ 3121496 w 3176218"/>
                <a:gd name="connsiteY1" fmla="*/ 257442 h 257442"/>
                <a:gd name="connsiteX2" fmla="*/ 0 w 3176218"/>
                <a:gd name="connsiteY2" fmla="*/ 257442 h 257442"/>
                <a:gd name="connsiteX3" fmla="*/ 54721 w 3176218"/>
                <a:gd name="connsiteY3" fmla="*/ 0 h 257442"/>
                <a:gd name="connsiteX0" fmla="*/ 3176219 w 3176219"/>
                <a:gd name="connsiteY0" fmla="*/ 0 h 257442"/>
                <a:gd name="connsiteX1" fmla="*/ 3121497 w 3176219"/>
                <a:gd name="connsiteY1" fmla="*/ 257442 h 257442"/>
                <a:gd name="connsiteX2" fmla="*/ 0 w 3176219"/>
                <a:gd name="connsiteY2" fmla="*/ 257442 h 257442"/>
                <a:gd name="connsiteX3" fmla="*/ 54722 w 3176219"/>
                <a:gd name="connsiteY3" fmla="*/ 0 h 257442"/>
                <a:gd name="connsiteX0" fmla="*/ 3176219 w 3176219"/>
                <a:gd name="connsiteY0" fmla="*/ 0 h 257442"/>
                <a:gd name="connsiteX1" fmla="*/ 3121497 w 3176219"/>
                <a:gd name="connsiteY1" fmla="*/ 257442 h 257442"/>
                <a:gd name="connsiteX2" fmla="*/ 0 w 3176219"/>
                <a:gd name="connsiteY2" fmla="*/ 257442 h 257442"/>
                <a:gd name="connsiteX3" fmla="*/ 54722 w 3176219"/>
                <a:gd name="connsiteY3" fmla="*/ 0 h 257442"/>
                <a:gd name="connsiteX0" fmla="*/ 3336518 w 3336518"/>
                <a:gd name="connsiteY0" fmla="*/ 0 h 257442"/>
                <a:gd name="connsiteX1" fmla="*/ 3121497 w 3336518"/>
                <a:gd name="connsiteY1" fmla="*/ 257442 h 257442"/>
                <a:gd name="connsiteX2" fmla="*/ 0 w 3336518"/>
                <a:gd name="connsiteY2" fmla="*/ 257442 h 257442"/>
                <a:gd name="connsiteX3" fmla="*/ 54722 w 3336518"/>
                <a:gd name="connsiteY3" fmla="*/ 0 h 257442"/>
                <a:gd name="connsiteX0" fmla="*/ 3336518 w 3336518"/>
                <a:gd name="connsiteY0" fmla="*/ 0 h 257442"/>
                <a:gd name="connsiteX1" fmla="*/ 3281796 w 3336518"/>
                <a:gd name="connsiteY1" fmla="*/ 257442 h 257442"/>
                <a:gd name="connsiteX2" fmla="*/ 0 w 3336518"/>
                <a:gd name="connsiteY2" fmla="*/ 257442 h 257442"/>
                <a:gd name="connsiteX3" fmla="*/ 54722 w 3336518"/>
                <a:gd name="connsiteY3" fmla="*/ 0 h 257442"/>
                <a:gd name="connsiteX0" fmla="*/ 3336518 w 3336518"/>
                <a:gd name="connsiteY0" fmla="*/ 0 h 257442"/>
                <a:gd name="connsiteX1" fmla="*/ 3281796 w 3336518"/>
                <a:gd name="connsiteY1" fmla="*/ 257442 h 257442"/>
                <a:gd name="connsiteX2" fmla="*/ 0 w 3336518"/>
                <a:gd name="connsiteY2" fmla="*/ 257442 h 257442"/>
                <a:gd name="connsiteX3" fmla="*/ 54722 w 3336518"/>
                <a:gd name="connsiteY3" fmla="*/ 0 h 257442"/>
                <a:gd name="connsiteX0" fmla="*/ 3336518 w 3336518"/>
                <a:gd name="connsiteY0" fmla="*/ 0 h 257442"/>
                <a:gd name="connsiteX1" fmla="*/ 3281796 w 3336518"/>
                <a:gd name="connsiteY1" fmla="*/ 257442 h 257442"/>
                <a:gd name="connsiteX2" fmla="*/ 0 w 3336518"/>
                <a:gd name="connsiteY2" fmla="*/ 257442 h 257442"/>
                <a:gd name="connsiteX3" fmla="*/ 54721 w 3336518"/>
                <a:gd name="connsiteY3" fmla="*/ 0 h 257442"/>
                <a:gd name="connsiteX0" fmla="*/ 942786 w 3281796"/>
                <a:gd name="connsiteY0" fmla="*/ 0 h 257442"/>
                <a:gd name="connsiteX1" fmla="*/ 3281796 w 3281796"/>
                <a:gd name="connsiteY1" fmla="*/ 257442 h 257442"/>
                <a:gd name="connsiteX2" fmla="*/ 0 w 3281796"/>
                <a:gd name="connsiteY2" fmla="*/ 257442 h 257442"/>
                <a:gd name="connsiteX3" fmla="*/ 54721 w 328179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1120719 w 1120719"/>
                <a:gd name="connsiteY0" fmla="*/ 0 h 257442"/>
                <a:gd name="connsiteX1" fmla="*/ 888065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281020 w 1281020"/>
                <a:gd name="connsiteY0" fmla="*/ 0 h 257442"/>
                <a:gd name="connsiteX1" fmla="*/ 1065998 w 1281020"/>
                <a:gd name="connsiteY1" fmla="*/ 257442 h 257442"/>
                <a:gd name="connsiteX2" fmla="*/ 0 w 1281020"/>
                <a:gd name="connsiteY2" fmla="*/ 257442 h 257442"/>
                <a:gd name="connsiteX3" fmla="*/ 54721 w 1281020"/>
                <a:gd name="connsiteY3" fmla="*/ 0 h 257442"/>
                <a:gd name="connsiteX0" fmla="*/ 1281020 w 1281020"/>
                <a:gd name="connsiteY0" fmla="*/ 0 h 257442"/>
                <a:gd name="connsiteX1" fmla="*/ 1226298 w 1281020"/>
                <a:gd name="connsiteY1" fmla="*/ 257442 h 257442"/>
                <a:gd name="connsiteX2" fmla="*/ 0 w 1281020"/>
                <a:gd name="connsiteY2" fmla="*/ 257442 h 257442"/>
                <a:gd name="connsiteX3" fmla="*/ 54721 w 1281020"/>
                <a:gd name="connsiteY3" fmla="*/ 0 h 257442"/>
                <a:gd name="connsiteX0" fmla="*/ 1281021 w 1281021"/>
                <a:gd name="connsiteY0" fmla="*/ 0 h 257442"/>
                <a:gd name="connsiteX1" fmla="*/ 1226299 w 1281021"/>
                <a:gd name="connsiteY1" fmla="*/ 257442 h 257442"/>
                <a:gd name="connsiteX2" fmla="*/ 0 w 1281021"/>
                <a:gd name="connsiteY2" fmla="*/ 257442 h 257442"/>
                <a:gd name="connsiteX3" fmla="*/ 54722 w 1281021"/>
                <a:gd name="connsiteY3" fmla="*/ 0 h 257442"/>
                <a:gd name="connsiteX0" fmla="*/ 1281021 w 1281021"/>
                <a:gd name="connsiteY0" fmla="*/ 0 h 257442"/>
                <a:gd name="connsiteX1" fmla="*/ 1226299 w 1281021"/>
                <a:gd name="connsiteY1" fmla="*/ 257442 h 257442"/>
                <a:gd name="connsiteX2" fmla="*/ 0 w 1281021"/>
                <a:gd name="connsiteY2" fmla="*/ 257442 h 257442"/>
                <a:gd name="connsiteX3" fmla="*/ 54722 w 1281021"/>
                <a:gd name="connsiteY3" fmla="*/ 0 h 257442"/>
                <a:gd name="connsiteX0" fmla="*/ 1534295 w 1534295"/>
                <a:gd name="connsiteY0" fmla="*/ 0 h 257442"/>
                <a:gd name="connsiteX1" fmla="*/ 1226299 w 1534295"/>
                <a:gd name="connsiteY1" fmla="*/ 257442 h 257442"/>
                <a:gd name="connsiteX2" fmla="*/ 0 w 1534295"/>
                <a:gd name="connsiteY2" fmla="*/ 257442 h 257442"/>
                <a:gd name="connsiteX3" fmla="*/ 54722 w 1534295"/>
                <a:gd name="connsiteY3" fmla="*/ 0 h 257442"/>
                <a:gd name="connsiteX0" fmla="*/ 1534295 w 1534295"/>
                <a:gd name="connsiteY0" fmla="*/ 0 h 257442"/>
                <a:gd name="connsiteX1" fmla="*/ 1479574 w 1534295"/>
                <a:gd name="connsiteY1" fmla="*/ 257442 h 257442"/>
                <a:gd name="connsiteX2" fmla="*/ 0 w 1534295"/>
                <a:gd name="connsiteY2" fmla="*/ 257442 h 257442"/>
                <a:gd name="connsiteX3" fmla="*/ 54722 w 1534295"/>
                <a:gd name="connsiteY3" fmla="*/ 0 h 257442"/>
                <a:gd name="connsiteX0" fmla="*/ 1534294 w 1534294"/>
                <a:gd name="connsiteY0" fmla="*/ 0 h 257442"/>
                <a:gd name="connsiteX1" fmla="*/ 1479573 w 1534294"/>
                <a:gd name="connsiteY1" fmla="*/ 257442 h 257442"/>
                <a:gd name="connsiteX2" fmla="*/ 0 w 1534294"/>
                <a:gd name="connsiteY2" fmla="*/ 257442 h 257442"/>
                <a:gd name="connsiteX3" fmla="*/ 54721 w 1534294"/>
                <a:gd name="connsiteY3" fmla="*/ 0 h 257442"/>
                <a:gd name="connsiteX0" fmla="*/ 1534294 w 1534294"/>
                <a:gd name="connsiteY0" fmla="*/ 0 h 257442"/>
                <a:gd name="connsiteX1" fmla="*/ 1479573 w 1534294"/>
                <a:gd name="connsiteY1" fmla="*/ 257442 h 257442"/>
                <a:gd name="connsiteX2" fmla="*/ 0 w 1534294"/>
                <a:gd name="connsiteY2" fmla="*/ 257442 h 257442"/>
                <a:gd name="connsiteX3" fmla="*/ 54720 w 1534294"/>
                <a:gd name="connsiteY3" fmla="*/ 0 h 257442"/>
                <a:gd name="connsiteX0" fmla="*/ 1795582 w 1795582"/>
                <a:gd name="connsiteY0" fmla="*/ 0 h 257442"/>
                <a:gd name="connsiteX1" fmla="*/ 1479573 w 1795582"/>
                <a:gd name="connsiteY1" fmla="*/ 257442 h 257442"/>
                <a:gd name="connsiteX2" fmla="*/ 0 w 1795582"/>
                <a:gd name="connsiteY2" fmla="*/ 257442 h 257442"/>
                <a:gd name="connsiteX3" fmla="*/ 54720 w 1795582"/>
                <a:gd name="connsiteY3" fmla="*/ 0 h 257442"/>
                <a:gd name="connsiteX0" fmla="*/ 1795582 w 1795582"/>
                <a:gd name="connsiteY0" fmla="*/ 0 h 257442"/>
                <a:gd name="connsiteX1" fmla="*/ 1740861 w 1795582"/>
                <a:gd name="connsiteY1" fmla="*/ 257442 h 257442"/>
                <a:gd name="connsiteX2" fmla="*/ 0 w 1795582"/>
                <a:gd name="connsiteY2" fmla="*/ 257442 h 257442"/>
                <a:gd name="connsiteX3" fmla="*/ 54720 w 1795582"/>
                <a:gd name="connsiteY3" fmla="*/ 0 h 257442"/>
                <a:gd name="connsiteX0" fmla="*/ 1795583 w 1795583"/>
                <a:gd name="connsiteY0" fmla="*/ 0 h 257442"/>
                <a:gd name="connsiteX1" fmla="*/ 1740862 w 1795583"/>
                <a:gd name="connsiteY1" fmla="*/ 257442 h 257442"/>
                <a:gd name="connsiteX2" fmla="*/ 0 w 1795583"/>
                <a:gd name="connsiteY2" fmla="*/ 257442 h 257442"/>
                <a:gd name="connsiteX3" fmla="*/ 54721 w 1795583"/>
                <a:gd name="connsiteY3" fmla="*/ 0 h 257442"/>
                <a:gd name="connsiteX0" fmla="*/ 1795583 w 1795583"/>
                <a:gd name="connsiteY0" fmla="*/ 0 h 257442"/>
                <a:gd name="connsiteX1" fmla="*/ 1740862 w 1795583"/>
                <a:gd name="connsiteY1" fmla="*/ 257442 h 257442"/>
                <a:gd name="connsiteX2" fmla="*/ 0 w 1795583"/>
                <a:gd name="connsiteY2" fmla="*/ 257442 h 257442"/>
                <a:gd name="connsiteX3" fmla="*/ 54722 w 1795583"/>
                <a:gd name="connsiteY3" fmla="*/ 0 h 257442"/>
                <a:gd name="connsiteX0" fmla="*/ 1955884 w 1955884"/>
                <a:gd name="connsiteY0" fmla="*/ 0 h 257442"/>
                <a:gd name="connsiteX1" fmla="*/ 1740862 w 1955884"/>
                <a:gd name="connsiteY1" fmla="*/ 257442 h 257442"/>
                <a:gd name="connsiteX2" fmla="*/ 0 w 1955884"/>
                <a:gd name="connsiteY2" fmla="*/ 257442 h 257442"/>
                <a:gd name="connsiteX3" fmla="*/ 54722 w 1955884"/>
                <a:gd name="connsiteY3" fmla="*/ 0 h 257442"/>
                <a:gd name="connsiteX0" fmla="*/ 1955884 w 1955884"/>
                <a:gd name="connsiteY0" fmla="*/ 0 h 257442"/>
                <a:gd name="connsiteX1" fmla="*/ 1901162 w 1955884"/>
                <a:gd name="connsiteY1" fmla="*/ 257442 h 257442"/>
                <a:gd name="connsiteX2" fmla="*/ 0 w 1955884"/>
                <a:gd name="connsiteY2" fmla="*/ 257442 h 257442"/>
                <a:gd name="connsiteX3" fmla="*/ 54722 w 1955884"/>
                <a:gd name="connsiteY3" fmla="*/ 0 h 257442"/>
                <a:gd name="connsiteX0" fmla="*/ 1955884 w 1955884"/>
                <a:gd name="connsiteY0" fmla="*/ 0 h 257442"/>
                <a:gd name="connsiteX1" fmla="*/ 1901162 w 1955884"/>
                <a:gd name="connsiteY1" fmla="*/ 257442 h 257442"/>
                <a:gd name="connsiteX2" fmla="*/ 0 w 1955884"/>
                <a:gd name="connsiteY2" fmla="*/ 257442 h 257442"/>
                <a:gd name="connsiteX3" fmla="*/ 54722 w 1955884"/>
                <a:gd name="connsiteY3" fmla="*/ 0 h 257442"/>
                <a:gd name="connsiteX0" fmla="*/ 1955884 w 1955884"/>
                <a:gd name="connsiteY0" fmla="*/ 0 h 257442"/>
                <a:gd name="connsiteX1" fmla="*/ 1901162 w 1955884"/>
                <a:gd name="connsiteY1" fmla="*/ 257442 h 257442"/>
                <a:gd name="connsiteX2" fmla="*/ 0 w 1955884"/>
                <a:gd name="connsiteY2" fmla="*/ 257442 h 257442"/>
                <a:gd name="connsiteX3" fmla="*/ 54721 w 1955884"/>
                <a:gd name="connsiteY3" fmla="*/ 0 h 257442"/>
                <a:gd name="connsiteX0" fmla="*/ 2242822 w 2242822"/>
                <a:gd name="connsiteY0" fmla="*/ 0 h 257442"/>
                <a:gd name="connsiteX1" fmla="*/ 1901162 w 2242822"/>
                <a:gd name="connsiteY1" fmla="*/ 257442 h 257442"/>
                <a:gd name="connsiteX2" fmla="*/ 0 w 2242822"/>
                <a:gd name="connsiteY2" fmla="*/ 257442 h 257442"/>
                <a:gd name="connsiteX3" fmla="*/ 54721 w 2242822"/>
                <a:gd name="connsiteY3" fmla="*/ 0 h 257442"/>
                <a:gd name="connsiteX0" fmla="*/ 2242822 w 2242822"/>
                <a:gd name="connsiteY0" fmla="*/ 0 h 257442"/>
                <a:gd name="connsiteX1" fmla="*/ 2188101 w 2242822"/>
                <a:gd name="connsiteY1" fmla="*/ 257442 h 257442"/>
                <a:gd name="connsiteX2" fmla="*/ 0 w 2242822"/>
                <a:gd name="connsiteY2" fmla="*/ 257442 h 257442"/>
                <a:gd name="connsiteX3" fmla="*/ 54721 w 2242822"/>
                <a:gd name="connsiteY3" fmla="*/ 0 h 257442"/>
                <a:gd name="connsiteX0" fmla="*/ 2242822 w 2242822"/>
                <a:gd name="connsiteY0" fmla="*/ 0 h 257442"/>
                <a:gd name="connsiteX1" fmla="*/ 2188101 w 2242822"/>
                <a:gd name="connsiteY1" fmla="*/ 257442 h 257442"/>
                <a:gd name="connsiteX2" fmla="*/ 0 w 2242822"/>
                <a:gd name="connsiteY2" fmla="*/ 257442 h 257442"/>
                <a:gd name="connsiteX3" fmla="*/ 54721 w 2242822"/>
                <a:gd name="connsiteY3" fmla="*/ 0 h 257442"/>
                <a:gd name="connsiteX0" fmla="*/ 2242822 w 2242822"/>
                <a:gd name="connsiteY0" fmla="*/ 0 h 257442"/>
                <a:gd name="connsiteX1" fmla="*/ 2188101 w 2242822"/>
                <a:gd name="connsiteY1" fmla="*/ 257442 h 257442"/>
                <a:gd name="connsiteX2" fmla="*/ 0 w 2242822"/>
                <a:gd name="connsiteY2" fmla="*/ 257442 h 257442"/>
                <a:gd name="connsiteX3" fmla="*/ 54721 w 2242822"/>
                <a:gd name="connsiteY3" fmla="*/ 0 h 257442"/>
                <a:gd name="connsiteX0" fmla="*/ 2403122 w 2403122"/>
                <a:gd name="connsiteY0" fmla="*/ 0 h 257442"/>
                <a:gd name="connsiteX1" fmla="*/ 2188101 w 2403122"/>
                <a:gd name="connsiteY1" fmla="*/ 257442 h 257442"/>
                <a:gd name="connsiteX2" fmla="*/ 0 w 2403122"/>
                <a:gd name="connsiteY2" fmla="*/ 257442 h 257442"/>
                <a:gd name="connsiteX3" fmla="*/ 54721 w 2403122"/>
                <a:gd name="connsiteY3" fmla="*/ 0 h 257442"/>
                <a:gd name="connsiteX0" fmla="*/ 2403122 w 2403122"/>
                <a:gd name="connsiteY0" fmla="*/ 0 h 257442"/>
                <a:gd name="connsiteX1" fmla="*/ 2348401 w 2403122"/>
                <a:gd name="connsiteY1" fmla="*/ 257442 h 257442"/>
                <a:gd name="connsiteX2" fmla="*/ 0 w 2403122"/>
                <a:gd name="connsiteY2" fmla="*/ 257442 h 257442"/>
                <a:gd name="connsiteX3" fmla="*/ 54721 w 2403122"/>
                <a:gd name="connsiteY3" fmla="*/ 0 h 257442"/>
                <a:gd name="connsiteX0" fmla="*/ 2403122 w 2403122"/>
                <a:gd name="connsiteY0" fmla="*/ 0 h 257442"/>
                <a:gd name="connsiteX1" fmla="*/ 2348401 w 2403122"/>
                <a:gd name="connsiteY1" fmla="*/ 257442 h 257442"/>
                <a:gd name="connsiteX2" fmla="*/ 0 w 2403122"/>
                <a:gd name="connsiteY2" fmla="*/ 257442 h 257442"/>
                <a:gd name="connsiteX3" fmla="*/ 54721 w 2403122"/>
                <a:gd name="connsiteY3" fmla="*/ 0 h 257442"/>
                <a:gd name="connsiteX0" fmla="*/ 2403122 w 2403122"/>
                <a:gd name="connsiteY0" fmla="*/ 0 h 257442"/>
                <a:gd name="connsiteX1" fmla="*/ 2348401 w 2403122"/>
                <a:gd name="connsiteY1" fmla="*/ 257442 h 257442"/>
                <a:gd name="connsiteX2" fmla="*/ 0 w 2403122"/>
                <a:gd name="connsiteY2" fmla="*/ 257442 h 257442"/>
                <a:gd name="connsiteX3" fmla="*/ 54721 w 2403122"/>
                <a:gd name="connsiteY3" fmla="*/ 0 h 257442"/>
                <a:gd name="connsiteX0" fmla="*/ 2571437 w 2571437"/>
                <a:gd name="connsiteY0" fmla="*/ 0 h 257442"/>
                <a:gd name="connsiteX1" fmla="*/ 2348401 w 2571437"/>
                <a:gd name="connsiteY1" fmla="*/ 257442 h 257442"/>
                <a:gd name="connsiteX2" fmla="*/ 0 w 2571437"/>
                <a:gd name="connsiteY2" fmla="*/ 257442 h 257442"/>
                <a:gd name="connsiteX3" fmla="*/ 54721 w 2571437"/>
                <a:gd name="connsiteY3" fmla="*/ 0 h 257442"/>
                <a:gd name="connsiteX0" fmla="*/ 2571437 w 2571437"/>
                <a:gd name="connsiteY0" fmla="*/ 0 h 257442"/>
                <a:gd name="connsiteX1" fmla="*/ 2516716 w 2571437"/>
                <a:gd name="connsiteY1" fmla="*/ 257442 h 257442"/>
                <a:gd name="connsiteX2" fmla="*/ 0 w 2571437"/>
                <a:gd name="connsiteY2" fmla="*/ 257442 h 257442"/>
                <a:gd name="connsiteX3" fmla="*/ 54721 w 2571437"/>
                <a:gd name="connsiteY3" fmla="*/ 0 h 257442"/>
                <a:gd name="connsiteX0" fmla="*/ 2571437 w 2571437"/>
                <a:gd name="connsiteY0" fmla="*/ 0 h 257442"/>
                <a:gd name="connsiteX1" fmla="*/ 2516716 w 2571437"/>
                <a:gd name="connsiteY1" fmla="*/ 257442 h 257442"/>
                <a:gd name="connsiteX2" fmla="*/ 0 w 2571437"/>
                <a:gd name="connsiteY2" fmla="*/ 257442 h 257442"/>
                <a:gd name="connsiteX3" fmla="*/ 54721 w 2571437"/>
                <a:gd name="connsiteY3" fmla="*/ 0 h 257442"/>
                <a:gd name="connsiteX0" fmla="*/ 2571437 w 2571437"/>
                <a:gd name="connsiteY0" fmla="*/ 0 h 257442"/>
                <a:gd name="connsiteX1" fmla="*/ 2516716 w 2571437"/>
                <a:gd name="connsiteY1" fmla="*/ 257442 h 257442"/>
                <a:gd name="connsiteX2" fmla="*/ 0 w 2571437"/>
                <a:gd name="connsiteY2" fmla="*/ 257442 h 257442"/>
                <a:gd name="connsiteX3" fmla="*/ 54721 w 2571437"/>
                <a:gd name="connsiteY3" fmla="*/ 0 h 257442"/>
                <a:gd name="connsiteX0" fmla="*/ 2824711 w 2824711"/>
                <a:gd name="connsiteY0" fmla="*/ 0 h 257442"/>
                <a:gd name="connsiteX1" fmla="*/ 2516716 w 2824711"/>
                <a:gd name="connsiteY1" fmla="*/ 257442 h 257442"/>
                <a:gd name="connsiteX2" fmla="*/ 0 w 2824711"/>
                <a:gd name="connsiteY2" fmla="*/ 257442 h 257442"/>
                <a:gd name="connsiteX3" fmla="*/ 54721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54721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54721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54721 w 2824711"/>
                <a:gd name="connsiteY3" fmla="*/ 0 h 257442"/>
                <a:gd name="connsiteX0" fmla="*/ 3002645 w 3002645"/>
                <a:gd name="connsiteY0" fmla="*/ 0 h 257442"/>
                <a:gd name="connsiteX1" fmla="*/ 2769990 w 3002645"/>
                <a:gd name="connsiteY1" fmla="*/ 257442 h 257442"/>
                <a:gd name="connsiteX2" fmla="*/ 0 w 3002645"/>
                <a:gd name="connsiteY2" fmla="*/ 257442 h 257442"/>
                <a:gd name="connsiteX3" fmla="*/ 54721 w 3002645"/>
                <a:gd name="connsiteY3" fmla="*/ 0 h 257442"/>
                <a:gd name="connsiteX0" fmla="*/ 3002645 w 3002645"/>
                <a:gd name="connsiteY0" fmla="*/ 0 h 257442"/>
                <a:gd name="connsiteX1" fmla="*/ 2947924 w 3002645"/>
                <a:gd name="connsiteY1" fmla="*/ 257442 h 257442"/>
                <a:gd name="connsiteX2" fmla="*/ 0 w 3002645"/>
                <a:gd name="connsiteY2" fmla="*/ 257442 h 257442"/>
                <a:gd name="connsiteX3" fmla="*/ 54721 w 3002645"/>
                <a:gd name="connsiteY3" fmla="*/ 0 h 257442"/>
                <a:gd name="connsiteX0" fmla="*/ 3002645 w 3002645"/>
                <a:gd name="connsiteY0" fmla="*/ 0 h 257442"/>
                <a:gd name="connsiteX1" fmla="*/ 2947924 w 3002645"/>
                <a:gd name="connsiteY1" fmla="*/ 257442 h 257442"/>
                <a:gd name="connsiteX2" fmla="*/ 0 w 3002645"/>
                <a:gd name="connsiteY2" fmla="*/ 257442 h 257442"/>
                <a:gd name="connsiteX3" fmla="*/ 54721 w 3002645"/>
                <a:gd name="connsiteY3" fmla="*/ 0 h 257442"/>
                <a:gd name="connsiteX0" fmla="*/ 3002645 w 3002645"/>
                <a:gd name="connsiteY0" fmla="*/ 0 h 257442"/>
                <a:gd name="connsiteX1" fmla="*/ 2947924 w 3002645"/>
                <a:gd name="connsiteY1" fmla="*/ 257442 h 257442"/>
                <a:gd name="connsiteX2" fmla="*/ 0 w 3002645"/>
                <a:gd name="connsiteY2" fmla="*/ 257442 h 257442"/>
                <a:gd name="connsiteX3" fmla="*/ 54721 w 3002645"/>
                <a:gd name="connsiteY3" fmla="*/ 0 h 257442"/>
                <a:gd name="connsiteX0" fmla="*/ 3170960 w 3170960"/>
                <a:gd name="connsiteY0" fmla="*/ 0 h 257442"/>
                <a:gd name="connsiteX1" fmla="*/ 2947924 w 3170960"/>
                <a:gd name="connsiteY1" fmla="*/ 257442 h 257442"/>
                <a:gd name="connsiteX2" fmla="*/ 0 w 3170960"/>
                <a:gd name="connsiteY2" fmla="*/ 257442 h 257442"/>
                <a:gd name="connsiteX3" fmla="*/ 54721 w 3170960"/>
                <a:gd name="connsiteY3" fmla="*/ 0 h 257442"/>
                <a:gd name="connsiteX0" fmla="*/ 3170960 w 3170960"/>
                <a:gd name="connsiteY0" fmla="*/ 0 h 257442"/>
                <a:gd name="connsiteX1" fmla="*/ 3116238 w 3170960"/>
                <a:gd name="connsiteY1" fmla="*/ 257442 h 257442"/>
                <a:gd name="connsiteX2" fmla="*/ 0 w 3170960"/>
                <a:gd name="connsiteY2" fmla="*/ 257442 h 257442"/>
                <a:gd name="connsiteX3" fmla="*/ 54721 w 3170960"/>
                <a:gd name="connsiteY3" fmla="*/ 0 h 257442"/>
                <a:gd name="connsiteX0" fmla="*/ 3170961 w 3170961"/>
                <a:gd name="connsiteY0" fmla="*/ 0 h 257442"/>
                <a:gd name="connsiteX1" fmla="*/ 3116239 w 3170961"/>
                <a:gd name="connsiteY1" fmla="*/ 257442 h 257442"/>
                <a:gd name="connsiteX2" fmla="*/ 0 w 3170961"/>
                <a:gd name="connsiteY2" fmla="*/ 257442 h 257442"/>
                <a:gd name="connsiteX3" fmla="*/ 54722 w 3170961"/>
                <a:gd name="connsiteY3" fmla="*/ 0 h 257442"/>
                <a:gd name="connsiteX0" fmla="*/ 3170961 w 3170961"/>
                <a:gd name="connsiteY0" fmla="*/ 0 h 257442"/>
                <a:gd name="connsiteX1" fmla="*/ 3116239 w 3170961"/>
                <a:gd name="connsiteY1" fmla="*/ 257442 h 257442"/>
                <a:gd name="connsiteX2" fmla="*/ 0 w 3170961"/>
                <a:gd name="connsiteY2" fmla="*/ 257442 h 257442"/>
                <a:gd name="connsiteX3" fmla="*/ 54722 w 3170961"/>
                <a:gd name="connsiteY3" fmla="*/ 0 h 257442"/>
                <a:gd name="connsiteX0" fmla="*/ 3331261 w 3331261"/>
                <a:gd name="connsiteY0" fmla="*/ 0 h 257442"/>
                <a:gd name="connsiteX1" fmla="*/ 3116239 w 3331261"/>
                <a:gd name="connsiteY1" fmla="*/ 257442 h 257442"/>
                <a:gd name="connsiteX2" fmla="*/ 0 w 3331261"/>
                <a:gd name="connsiteY2" fmla="*/ 257442 h 257442"/>
                <a:gd name="connsiteX3" fmla="*/ 54722 w 3331261"/>
                <a:gd name="connsiteY3" fmla="*/ 0 h 257442"/>
                <a:gd name="connsiteX0" fmla="*/ 3331261 w 3331261"/>
                <a:gd name="connsiteY0" fmla="*/ 0 h 257442"/>
                <a:gd name="connsiteX1" fmla="*/ 3276540 w 3331261"/>
                <a:gd name="connsiteY1" fmla="*/ 257442 h 257442"/>
                <a:gd name="connsiteX2" fmla="*/ 0 w 3331261"/>
                <a:gd name="connsiteY2" fmla="*/ 257442 h 257442"/>
                <a:gd name="connsiteX3" fmla="*/ 54722 w 3331261"/>
                <a:gd name="connsiteY3" fmla="*/ 0 h 257442"/>
                <a:gd name="connsiteX0" fmla="*/ 3331260 w 3331260"/>
                <a:gd name="connsiteY0" fmla="*/ 0 h 257442"/>
                <a:gd name="connsiteX1" fmla="*/ 3276539 w 3331260"/>
                <a:gd name="connsiteY1" fmla="*/ 257442 h 257442"/>
                <a:gd name="connsiteX2" fmla="*/ 0 w 3331260"/>
                <a:gd name="connsiteY2" fmla="*/ 257442 h 257442"/>
                <a:gd name="connsiteX3" fmla="*/ 54721 w 3331260"/>
                <a:gd name="connsiteY3" fmla="*/ 0 h 257442"/>
                <a:gd name="connsiteX0" fmla="*/ 3331260 w 3331260"/>
                <a:gd name="connsiteY0" fmla="*/ 0 h 257442"/>
                <a:gd name="connsiteX1" fmla="*/ 3276539 w 3331260"/>
                <a:gd name="connsiteY1" fmla="*/ 257442 h 257442"/>
                <a:gd name="connsiteX2" fmla="*/ 0 w 3331260"/>
                <a:gd name="connsiteY2" fmla="*/ 257442 h 257442"/>
                <a:gd name="connsiteX3" fmla="*/ 54720 w 3331260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1260" h="257442">
                  <a:moveTo>
                    <a:pt x="3331260" y="0"/>
                  </a:moveTo>
                  <a:lnTo>
                    <a:pt x="3276539" y="257442"/>
                  </a:lnTo>
                  <a:lnTo>
                    <a:pt x="0" y="257442"/>
                  </a:lnTo>
                  <a:lnTo>
                    <a:pt x="54720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7" name="btfpRunningAgenda2LevelTextRight511585">
              <a:extLst>
                <a:ext uri="{FF2B5EF4-FFF2-40B4-BE49-F238E27FC236}">
                  <a16:creationId xmlns:a16="http://schemas.microsoft.com/office/drawing/2014/main" id="{B8BBCE48-544B-9568-CA8B-366D521582FC}"/>
                </a:ext>
              </a:extLst>
            </p:cNvPr>
            <p:cNvSpPr txBox="1"/>
            <p:nvPr/>
          </p:nvSpPr>
          <p:spPr bwMode="gray">
            <a:xfrm>
              <a:off x="3496627" y="876300"/>
              <a:ext cx="327653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Positive mentions</a:t>
              </a:r>
            </a:p>
          </p:txBody>
        </p:sp>
      </p:grpSp>
      <p:sp>
        <p:nvSpPr>
          <p:cNvPr id="18" name="btfpNotesBox878221">
            <a:extLst>
              <a:ext uri="{FF2B5EF4-FFF2-40B4-BE49-F238E27FC236}">
                <a16:creationId xmlns:a16="http://schemas.microsoft.com/office/drawing/2014/main" id="{2303DD39-ECB1-7E1F-C64C-2230994FB2EE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330197" y="6336107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KPC importance as % of respondents mentions;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Google reviews; </a:t>
            </a:r>
            <a:r>
              <a:rPr lang="en-US" sz="800" dirty="0" err="1">
                <a:solidFill>
                  <a:srgbClr val="000000"/>
                </a:solidFill>
              </a:rPr>
              <a:t>ClassifAI</a:t>
            </a:r>
            <a:endParaRPr lang="en-US" sz="800" dirty="0">
              <a:solidFill>
                <a:srgbClr val="000000"/>
              </a:solidFill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F090A9A-666E-8E18-1F12-64A329B26919}"/>
              </a:ext>
            </a:extLst>
          </p:cNvPr>
          <p:cNvGrpSpPr/>
          <p:nvPr/>
        </p:nvGrpSpPr>
        <p:grpSpPr>
          <a:xfrm>
            <a:off x="2069547" y="5997840"/>
            <a:ext cx="9786019" cy="222249"/>
            <a:chOff x="2069547" y="6141676"/>
            <a:chExt cx="9786019" cy="222249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5F8897F8-560A-190A-5D25-F9928114E4CB}"/>
                </a:ext>
              </a:extLst>
            </p:cNvPr>
            <p:cNvSpPr/>
            <p:nvPr/>
          </p:nvSpPr>
          <p:spPr bwMode="gray">
            <a:xfrm>
              <a:off x="4000618" y="6141782"/>
              <a:ext cx="214829" cy="186585"/>
            </a:xfrm>
            <a:prstGeom prst="rect">
              <a:avLst/>
            </a:prstGeom>
            <a:solidFill>
              <a:srgbClr val="83AC9A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rgbClr val="FFFFFF"/>
                </a:solidFill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5743F8BC-E702-78A6-5440-6032756F1B55}"/>
                </a:ext>
              </a:extLst>
            </p:cNvPr>
            <p:cNvSpPr/>
            <p:nvPr/>
          </p:nvSpPr>
          <p:spPr bwMode="gray">
            <a:xfrm>
              <a:off x="4178098" y="6141783"/>
              <a:ext cx="2401792" cy="1865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900">
                  <a:solidFill>
                    <a:schemeClr val="tx1"/>
                  </a:solidFill>
                </a:rPr>
                <a:t>Positive sentiment (+65% of positive reviews)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98752F0B-7DEE-ED39-66C4-F59391D6F031}"/>
                </a:ext>
              </a:extLst>
            </p:cNvPr>
            <p:cNvSpPr/>
            <p:nvPr/>
          </p:nvSpPr>
          <p:spPr bwMode="gray">
            <a:xfrm>
              <a:off x="6570746" y="6179232"/>
              <a:ext cx="212651" cy="184693"/>
            </a:xfrm>
            <a:prstGeom prst="rect">
              <a:avLst/>
            </a:prstGeom>
            <a:solidFill>
              <a:srgbClr val="D6D6D6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B4B4B4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E13F4E7D-B2CC-A2CE-A693-86C1B621D961}"/>
                </a:ext>
              </a:extLst>
            </p:cNvPr>
            <p:cNvSpPr/>
            <p:nvPr/>
          </p:nvSpPr>
          <p:spPr bwMode="gray">
            <a:xfrm>
              <a:off x="6783395" y="6141783"/>
              <a:ext cx="2494169" cy="1865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900">
                  <a:solidFill>
                    <a:schemeClr val="tx1"/>
                  </a:solidFill>
                </a:rPr>
                <a:t>Neutral sentiment (35-64% of positive reviews)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C5AA7BC2-1433-BA16-203C-4927C8208D5F}"/>
                </a:ext>
              </a:extLst>
            </p:cNvPr>
            <p:cNvSpPr/>
            <p:nvPr/>
          </p:nvSpPr>
          <p:spPr bwMode="gray">
            <a:xfrm>
              <a:off x="9221362" y="6179232"/>
              <a:ext cx="212651" cy="184693"/>
            </a:xfrm>
            <a:prstGeom prst="rect">
              <a:avLst/>
            </a:prstGeom>
            <a:solidFill>
              <a:srgbClr val="F8696B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6EE20C7E-07E8-36A6-8CCD-6804AA475215}"/>
                </a:ext>
              </a:extLst>
            </p:cNvPr>
            <p:cNvSpPr/>
            <p:nvPr/>
          </p:nvSpPr>
          <p:spPr bwMode="gray">
            <a:xfrm>
              <a:off x="9434013" y="6141676"/>
              <a:ext cx="2421553" cy="18115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US" sz="900">
                  <a:solidFill>
                    <a:schemeClr val="tx1"/>
                  </a:solidFill>
                </a:rPr>
                <a:t>Negative sentiment (&lt;35% of positive reviews)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FDED08D0-F02B-B9E5-AD72-127B70B21621}"/>
                </a:ext>
              </a:extLst>
            </p:cNvPr>
            <p:cNvSpPr/>
            <p:nvPr/>
          </p:nvSpPr>
          <p:spPr bwMode="gray">
            <a:xfrm>
              <a:off x="2069547" y="6144787"/>
              <a:ext cx="1888575" cy="186584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900" b="1" i="1">
                  <a:solidFill>
                    <a:srgbClr val="000000"/>
                  </a:solidFill>
                </a:rPr>
                <a:t>% of positive reviews&gt;&gt;</a:t>
              </a:r>
            </a:p>
          </p:txBody>
        </p:sp>
      </p:grpSp>
      <p:grpSp>
        <p:nvGrpSpPr>
          <p:cNvPr id="47" name="btfpStatusSticker584690">
            <a:extLst>
              <a:ext uri="{FF2B5EF4-FFF2-40B4-BE49-F238E27FC236}">
                <a16:creationId xmlns:a16="http://schemas.microsoft.com/office/drawing/2014/main" id="{1C76FC59-3B6F-DC2B-DD40-F317C9D039E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8707046" y="955344"/>
            <a:ext cx="1268618" cy="235611"/>
            <a:chOff x="-1947587" y="876300"/>
            <a:chExt cx="1268618" cy="235611"/>
          </a:xfrm>
        </p:grpSpPr>
        <p:sp>
          <p:nvSpPr>
            <p:cNvPr id="22" name="btfpStatusStickerText584690">
              <a:extLst>
                <a:ext uri="{FF2B5EF4-FFF2-40B4-BE49-F238E27FC236}">
                  <a16:creationId xmlns:a16="http://schemas.microsoft.com/office/drawing/2014/main" id="{6B5EA56B-83C0-B058-528D-8F957BB96623}"/>
                </a:ext>
              </a:extLst>
            </p:cNvPr>
            <p:cNvSpPr txBox="1"/>
            <p:nvPr/>
          </p:nvSpPr>
          <p:spPr bwMode="gray">
            <a:xfrm>
              <a:off x="-1947587" y="876300"/>
              <a:ext cx="1268618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AI Based</a:t>
              </a:r>
            </a:p>
          </p:txBody>
        </p:sp>
        <p:cxnSp>
          <p:nvCxnSpPr>
            <p:cNvPr id="46" name="btfpStatusStickerLine584690">
              <a:extLst>
                <a:ext uri="{FF2B5EF4-FFF2-40B4-BE49-F238E27FC236}">
                  <a16:creationId xmlns:a16="http://schemas.microsoft.com/office/drawing/2014/main" id="{221B02BE-69F2-8549-EDDC-67E0CBAFF2F0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947587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1" name="Picture 60">
            <a:extLst>
              <a:ext uri="{FF2B5EF4-FFF2-40B4-BE49-F238E27FC236}">
                <a16:creationId xmlns:a16="http://schemas.microsoft.com/office/drawing/2014/main" id="{C3EA01C2-B708-7A6D-DDDB-FA3DDB25E0F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1" y="959926"/>
            <a:ext cx="232677" cy="23267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240538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btfpColumnHeaderBox198768"/>
          <p:cNvGrpSpPr/>
          <p:nvPr>
            <p:custDataLst>
              <p:tags r:id="rId2"/>
            </p:custDataLst>
          </p:nvPr>
        </p:nvGrpSpPr>
        <p:grpSpPr>
          <a:xfrm>
            <a:off x="3964697" y="1230864"/>
            <a:ext cx="7892341" cy="285432"/>
            <a:chOff x="4776416" y="1230864"/>
            <a:chExt cx="6616393" cy="285432"/>
          </a:xfrm>
        </p:grpSpPr>
        <p:sp>
          <p:nvSpPr>
            <p:cNvPr id="13" name="btfpColumnHeaderBoxText198768"/>
            <p:cNvSpPr txBox="1"/>
            <p:nvPr/>
          </p:nvSpPr>
          <p:spPr bwMode="gray">
            <a:xfrm>
              <a:off x="4776416" y="1230864"/>
              <a:ext cx="6616393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400" b="1">
                  <a:solidFill>
                    <a:srgbClr val="000000"/>
                  </a:solidFill>
                </a:rPr>
                <a:t>Commentary</a:t>
              </a:r>
              <a:endParaRPr lang="en-GB" sz="1100" b="1">
                <a:solidFill>
                  <a:srgbClr val="000000"/>
                </a:solidFill>
              </a:endParaRPr>
            </a:p>
          </p:txBody>
        </p:sp>
        <p:cxnSp>
          <p:nvCxnSpPr>
            <p:cNvPr id="14" name="btfpColumnHeaderBoxLine198768"/>
            <p:cNvCxnSpPr/>
            <p:nvPr/>
          </p:nvCxnSpPr>
          <p:spPr bwMode="gray">
            <a:xfrm>
              <a:off x="4776416" y="1516296"/>
              <a:ext cx="6616393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btfpColumnIndicatorGroup2">
            <a:extLst>
              <a:ext uri="{FF2B5EF4-FFF2-40B4-BE49-F238E27FC236}">
                <a16:creationId xmlns:a16="http://schemas.microsoft.com/office/drawing/2014/main" id="{A74F452D-12E3-48B3-9B65-FED7EDA4995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2" name="btfpColumnGapBlocker684847">
              <a:extLst>
                <a:ext uri="{FF2B5EF4-FFF2-40B4-BE49-F238E27FC236}">
                  <a16:creationId xmlns:a16="http://schemas.microsoft.com/office/drawing/2014/main" id="{D9952600-86FE-494F-98A9-C3CAB0D383F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1" name="btfpColumnGapBlocker793304">
              <a:extLst>
                <a:ext uri="{FF2B5EF4-FFF2-40B4-BE49-F238E27FC236}">
                  <a16:creationId xmlns:a16="http://schemas.microsoft.com/office/drawing/2014/main" id="{CFDAB005-47A4-4029-B2D1-F10B437B2916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403891">
              <a:extLst>
                <a:ext uri="{FF2B5EF4-FFF2-40B4-BE49-F238E27FC236}">
                  <a16:creationId xmlns:a16="http://schemas.microsoft.com/office/drawing/2014/main" id="{B6CC73FE-1106-4471-8B44-3C3B74CB1B9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565359">
              <a:extLst>
                <a:ext uri="{FF2B5EF4-FFF2-40B4-BE49-F238E27FC236}">
                  <a16:creationId xmlns:a16="http://schemas.microsoft.com/office/drawing/2014/main" id="{CB7E14CA-3BDC-41E1-A095-A22C9F3906E8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btfpColumnIndicatorGroup1">
            <a:extLst>
              <a:ext uri="{FF2B5EF4-FFF2-40B4-BE49-F238E27FC236}">
                <a16:creationId xmlns:a16="http://schemas.microsoft.com/office/drawing/2014/main" id="{A515348C-F1BA-4276-B043-3125645F40F7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2" name="btfpColumnGapBlocker385451">
              <a:extLst>
                <a:ext uri="{FF2B5EF4-FFF2-40B4-BE49-F238E27FC236}">
                  <a16:creationId xmlns:a16="http://schemas.microsoft.com/office/drawing/2014/main" id="{73EC43D5-FD6F-4591-8AFA-D5C3DA90AB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991222">
              <a:extLst>
                <a:ext uri="{FF2B5EF4-FFF2-40B4-BE49-F238E27FC236}">
                  <a16:creationId xmlns:a16="http://schemas.microsoft.com/office/drawing/2014/main" id="{ADEC5C1A-2C0A-463E-9CAE-888425532ED2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842786">
              <a:extLst>
                <a:ext uri="{FF2B5EF4-FFF2-40B4-BE49-F238E27FC236}">
                  <a16:creationId xmlns:a16="http://schemas.microsoft.com/office/drawing/2014/main" id="{A9700651-7A08-4A47-949D-30DBC37FE725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806373">
              <a:extLst>
                <a:ext uri="{FF2B5EF4-FFF2-40B4-BE49-F238E27FC236}">
                  <a16:creationId xmlns:a16="http://schemas.microsoft.com/office/drawing/2014/main" id="{70B8DCE0-B9F6-4B91-8DF1-380068CD5282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0" name="Picture 5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56E1B22-DA5C-4AFD-BAB2-D8F7F47676CD}"/>
              </a:ext>
            </a:extLst>
          </p:cNvPr>
          <p:cNvPicPr>
            <a:picLocks noChangeAspect="1"/>
          </p:cNvPicPr>
          <p:nvPr/>
        </p:nvPicPr>
        <p:blipFill>
          <a:blip r:embed="rId30" cstate="print">
            <a:extLst>
              <a:ext uri="{BEBA8EAE-BF5A-486C-A8C5-ECC9F3942E4B}">
                <a14:imgProps xmlns:a14="http://schemas.microsoft.com/office/drawing/2010/main">
                  <a14:imgLayer r:embed="rId31">
                    <a14:imgEffect>
                      <a14:artisticGlas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4172" y="1259982"/>
            <a:ext cx="863625" cy="177632"/>
          </a:xfrm>
          <a:prstGeom prst="rect">
            <a:avLst/>
          </a:prstGeom>
        </p:spPr>
      </p:pic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2076457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00">
                <a:solidFill>
                  <a:srgbClr val="FFFFFF">
                    <a:alpha val="0"/>
                  </a:srgbClr>
                </a:solidFill>
              </a:rPr>
              <a:t>overall_0_131740361282557469 columns_1_131740344387940758 6_1_131740338237529813 9_1_131740338237680210 12_0_131740338238000738 15_0_131740338238171188 16_0_131740338238702602 17_0_131740338239063566 18_1_131740338239314573 23_0_131740338239836017 26_0_131740338239976009 31_1_131740360388380890 32_1_131740361156218642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/>
          <a:lstStyle/>
          <a:p>
            <a:r>
              <a:rPr lang="en-GB" b="1" dirty="0"/>
              <a:t>Customer sentiment/ Target double-click: </a:t>
            </a:r>
            <a:r>
              <a:rPr lang="en-GB" dirty="0"/>
              <a:t>Promoters cite health benefits and tasteful “treats” as good; detractors mainly cite efficacy and value for money</a:t>
            </a:r>
            <a:endParaRPr lang="en-GB" dirty="0">
              <a:latin typeface="+mn-lt"/>
            </a:endParaRPr>
          </a:p>
        </p:txBody>
      </p:sp>
      <p:sp>
        <p:nvSpPr>
          <p:cNvPr id="18" name="btfpNotesBox303429"/>
          <p:cNvSpPr txBox="1"/>
          <p:nvPr>
            <p:custDataLst>
              <p:tags r:id="rId3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800">
                <a:solidFill>
                  <a:srgbClr val="000000"/>
                </a:solidFill>
              </a:rPr>
              <a:t>Note: Analysis based on sample set of top 5 best selling SKUs; Reviews analysed over 2020-2021YTD period; YTD data till 10</a:t>
            </a:r>
            <a:r>
              <a:rPr lang="en-GB" sz="800" baseline="30000">
                <a:solidFill>
                  <a:srgbClr val="000000"/>
                </a:solidFill>
              </a:rPr>
              <a:t>th</a:t>
            </a:r>
            <a:r>
              <a:rPr lang="en-GB" sz="800">
                <a:solidFill>
                  <a:srgbClr val="000000"/>
                </a:solidFill>
              </a:rPr>
              <a:t> Nov 2021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800">
                <a:solidFill>
                  <a:srgbClr val="000000"/>
                </a:solidFill>
              </a:rPr>
              <a:t>Source: E-commerce; Caplena; Bain analysis</a:t>
            </a:r>
          </a:p>
        </p:txBody>
      </p:sp>
      <p:sp>
        <p:nvSpPr>
          <p:cNvPr id="16" name="BainBulletsConfiguration" hidden="1"/>
          <p:cNvSpPr txBox="1"/>
          <p:nvPr>
            <p:custDataLst>
              <p:tags r:id="rId4"/>
            </p:custDataLst>
          </p:nvPr>
        </p:nvSpPr>
        <p:spPr bwMode="gray">
          <a:xfrm>
            <a:off x="12700" y="12700"/>
            <a:ext cx="72768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endParaRPr lang="en-GB" sz="100">
              <a:solidFill>
                <a:srgbClr val="FFFFFF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208435F-B5D7-48C9-9BF9-E10D1FECD23A}"/>
              </a:ext>
            </a:extLst>
          </p:cNvPr>
          <p:cNvGrpSpPr/>
          <p:nvPr/>
        </p:nvGrpSpPr>
        <p:grpSpPr>
          <a:xfrm>
            <a:off x="3930792" y="1576649"/>
            <a:ext cx="7926241" cy="931642"/>
            <a:chOff x="3930792" y="1576649"/>
            <a:chExt cx="7926241" cy="931642"/>
          </a:xfrm>
        </p:grpSpPr>
        <p:grpSp>
          <p:nvGrpSpPr>
            <p:cNvPr id="46" name="btfpRowHeaderBox136256">
              <a:extLst>
                <a:ext uri="{FF2B5EF4-FFF2-40B4-BE49-F238E27FC236}">
                  <a16:creationId xmlns:a16="http://schemas.microsoft.com/office/drawing/2014/main" id="{FE64689C-B3FA-4467-BA5E-020BC3259811}"/>
                </a:ext>
              </a:extLst>
            </p:cNvPr>
            <p:cNvGrpSpPr/>
            <p:nvPr>
              <p:custDataLst>
                <p:tags r:id="rId25"/>
              </p:custDataLst>
            </p:nvPr>
          </p:nvGrpSpPr>
          <p:grpSpPr>
            <a:xfrm>
              <a:off x="3930792" y="1576649"/>
              <a:ext cx="840613" cy="931642"/>
              <a:chOff x="-1182322" y="1726189"/>
              <a:chExt cx="2540000" cy="972979"/>
            </a:xfrm>
          </p:grpSpPr>
          <p:sp>
            <p:nvSpPr>
              <p:cNvPr id="47" name="btfpRowHeaderBoxText136256">
                <a:extLst>
                  <a:ext uri="{FF2B5EF4-FFF2-40B4-BE49-F238E27FC236}">
                    <a16:creationId xmlns:a16="http://schemas.microsoft.com/office/drawing/2014/main" id="{078C893B-9FFA-4D0A-956A-13E47BDF0287}"/>
                  </a:ext>
                </a:extLst>
              </p:cNvPr>
              <p:cNvSpPr txBox="1"/>
              <p:nvPr/>
            </p:nvSpPr>
            <p:spPr bwMode="gray">
              <a:xfrm>
                <a:off x="-1182322" y="1726189"/>
                <a:ext cx="2540000" cy="972979"/>
              </a:xfrm>
              <a:prstGeom prst="rect">
                <a:avLst/>
              </a:prstGeom>
              <a:noFill/>
            </p:spPr>
            <p:txBody>
              <a:bodyPr vert="horz" wrap="square" lIns="36036" tIns="36036" rIns="180181" bIns="36036" rtlCol="0" anchor="t">
                <a:noAutofit/>
              </a:bodyPr>
              <a:lstStyle/>
              <a:p>
                <a:pPr marL="0" indent="0">
                  <a:spcBef>
                    <a:spcPts val="0"/>
                  </a:spcBef>
                  <a:buNone/>
                </a:pPr>
                <a:r>
                  <a:rPr lang="en-GB" sz="1000" b="1">
                    <a:solidFill>
                      <a:srgbClr val="83AC9A"/>
                    </a:solidFill>
                  </a:rPr>
                  <a:t>Positive health benefits</a:t>
                </a:r>
              </a:p>
            </p:txBody>
          </p:sp>
          <p:cxnSp>
            <p:nvCxnSpPr>
              <p:cNvPr id="51" name="btfpRowHeaderBoxLine136256">
                <a:extLst>
                  <a:ext uri="{FF2B5EF4-FFF2-40B4-BE49-F238E27FC236}">
                    <a16:creationId xmlns:a16="http://schemas.microsoft.com/office/drawing/2014/main" id="{741135CB-8F76-415F-B50B-B4547F4BBBDA}"/>
                  </a:ext>
                </a:extLst>
              </p:cNvPr>
              <p:cNvCxnSpPr/>
              <p:nvPr/>
            </p:nvCxnSpPr>
            <p:spPr bwMode="gray">
              <a:xfrm>
                <a:off x="1357678" y="1726189"/>
                <a:ext cx="0" cy="972979"/>
              </a:xfrm>
              <a:prstGeom prst="line">
                <a:avLst/>
              </a:prstGeom>
              <a:ln w="152400" cap="flat">
                <a:solidFill>
                  <a:srgbClr val="83AC9A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40020E2B-5E6F-40D0-8E2F-59EA1181EA7C}"/>
                </a:ext>
              </a:extLst>
            </p:cNvPr>
            <p:cNvGrpSpPr/>
            <p:nvPr/>
          </p:nvGrpSpPr>
          <p:grpSpPr>
            <a:xfrm>
              <a:off x="4890921" y="1576649"/>
              <a:ext cx="6966112" cy="931642"/>
              <a:chOff x="4890921" y="1576649"/>
              <a:chExt cx="6966112" cy="931642"/>
            </a:xfrm>
          </p:grpSpPr>
          <p:sp>
            <p:nvSpPr>
              <p:cNvPr id="71" name="btfpQuoteBox701730"/>
              <p:cNvSpPr txBox="1"/>
              <p:nvPr>
                <p:custDataLst>
                  <p:tags r:id="rId26"/>
                </p:custDataLst>
              </p:nvPr>
            </p:nvSpPr>
            <p:spPr bwMode="gray">
              <a:xfrm>
                <a:off x="4890921" y="2127739"/>
                <a:ext cx="6966112" cy="380552"/>
              </a:xfrm>
              <a:prstGeom prst="rect">
                <a:avLst/>
              </a:prstGeom>
              <a:noFill/>
            </p:spPr>
            <p:txBody>
              <a:bodyPr vert="horz" wrap="square" lIns="36036" tIns="36036" rIns="36036" bIns="36036" rtlCol="0" anchor="t">
                <a:spAutoFit/>
              </a:bodyPr>
              <a:lstStyle/>
              <a:p>
                <a:pPr marL="90729" indent="-90729">
                  <a:spcBef>
                    <a:spcPts val="0"/>
                  </a:spcBef>
                  <a:buNone/>
                </a:pPr>
                <a:r>
                  <a:rPr lang="en-GB" sz="1000" i="1"/>
                  <a:t>“One of our dogs had </a:t>
                </a:r>
                <a:r>
                  <a:rPr lang="en-GB" sz="1000" b="1" i="1"/>
                  <a:t>very sensitive skins</a:t>
                </a:r>
                <a:r>
                  <a:rPr lang="en-GB" sz="1000" i="1"/>
                  <a:t> and a lot of allergies. The Target Probiotic has </a:t>
                </a:r>
                <a:r>
                  <a:rPr lang="en-GB" sz="1000" b="1" i="1"/>
                  <a:t>helped relieve a lot of the symptoms </a:t>
                </a:r>
                <a:r>
                  <a:rPr lang="en-GB" sz="1000" i="1"/>
                  <a:t>and decreased the amount of scratching and licking. We highly recommend the product.”</a:t>
                </a:r>
              </a:p>
            </p:txBody>
          </p:sp>
          <p:sp>
            <p:nvSpPr>
              <p:cNvPr id="53" name="btfpQuoteBox701730">
                <a:extLst>
                  <a:ext uri="{FF2B5EF4-FFF2-40B4-BE49-F238E27FC236}">
                    <a16:creationId xmlns:a16="http://schemas.microsoft.com/office/drawing/2014/main" id="{3EC9CF81-1374-450C-9B76-5847701A91D4}"/>
                  </a:ext>
                </a:extLst>
              </p:cNvPr>
              <p:cNvSpPr txBox="1"/>
              <p:nvPr>
                <p:custDataLst>
                  <p:tags r:id="rId27"/>
                </p:custDataLst>
              </p:nvPr>
            </p:nvSpPr>
            <p:spPr bwMode="gray">
              <a:xfrm>
                <a:off x="4890921" y="1576649"/>
                <a:ext cx="6966112" cy="534441"/>
              </a:xfrm>
              <a:prstGeom prst="rect">
                <a:avLst/>
              </a:prstGeom>
              <a:noFill/>
            </p:spPr>
            <p:txBody>
              <a:bodyPr vert="horz" wrap="square" lIns="36036" tIns="36036" rIns="36036" bIns="36036" rtlCol="0" anchor="t">
                <a:spAutoFit/>
              </a:bodyPr>
              <a:lstStyle/>
              <a:p>
                <a:pPr marL="90729" indent="-90729">
                  <a:spcBef>
                    <a:spcPts val="0"/>
                  </a:spcBef>
                  <a:buNone/>
                </a:pPr>
                <a:r>
                  <a:rPr lang="en-GB" sz="1000" i="1"/>
                  <a:t>“</a:t>
                </a:r>
                <a:r>
                  <a:rPr lang="en-US" sz="1000" i="1"/>
                  <a:t>Her stools are </a:t>
                </a:r>
                <a:r>
                  <a:rPr lang="en-US" sz="1000" b="1" i="1"/>
                  <a:t>firm and healthy </a:t>
                </a:r>
                <a:r>
                  <a:rPr lang="en-US" sz="1000" i="1"/>
                  <a:t>and there is no more tummy rumbling. Additionally, as the ad stated, it cured the dark discharge in her ears. I </a:t>
                </a:r>
                <a:r>
                  <a:rPr lang="en-US" sz="1000" b="1" i="1"/>
                  <a:t>consider this probiotic a miracle cure </a:t>
                </a:r>
                <a:r>
                  <a:rPr lang="en-US" sz="1000" i="1"/>
                  <a:t>and am grateful to the company that developed it. It’s a </a:t>
                </a:r>
                <a:r>
                  <a:rPr lang="en-US" sz="1000" b="1" i="1"/>
                  <a:t>small price to pay for a happy and healthy </a:t>
                </a:r>
                <a:r>
                  <a:rPr lang="en-US" sz="1000" i="1" err="1"/>
                  <a:t>doxie</a:t>
                </a:r>
                <a:r>
                  <a:rPr lang="en-US" sz="1000" i="1"/>
                  <a:t>.</a:t>
                </a:r>
                <a:endParaRPr lang="en-GB" sz="1000" i="1"/>
              </a:p>
            </p:txBody>
          </p:sp>
        </p:grpSp>
      </p:grpSp>
      <p:sp>
        <p:nvSpPr>
          <p:cNvPr id="52" name="Rectangle 5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9WzVfHy8CnMUuNyY3ZV47NRATYTwhW64CAflCly2QBLVuTcLV8uYeqU9a7Dknlpf68CEgQEpulegRnIJIfkCVIHRZiXFL/RXWG/ztWyetibFvGyIWUvLnyQRdkYygSdhWO0K/DRT610kWpeUKOpezRIzJD/yix+t6mm7HUccfsZNm55+Qoy2lnFvboxGuCXTNJ8KajLo84jQx4y3AO2O3o4jqoF4WKxJqwQVvKzOLoYs55GmYGSWI64DZFAGkFu9C/6x0ksXAEV/nTR0iMg85mxeKJyeoU6YhxiiZSlw2rfzWJUInH7TvsWVq/WXBuBHUBymTSLsZ6x5RhkY1fEm0RJTvP1lf/mhvr3FOZLW5WqkfezYD8tyhYZPjNSsdzjW5nEY9io5vv869iO0fG3Plli6k2uvLWK9NX/jm3WkEY18CQ2W5cT6KG/ODOmCT0CLT096edejtGAtWRon9ydRC2evMXFe0OVzjRFl5KfGcaRErn/sAayVTXu+foK6derJR1wxfTScd34mdirTZv3iAOxoVaadOeF1Rg6AhbDemUtwmaiJcwFAXqR2PMoAqtW9FtQpMYumidWDJk3pPiccRvrtjIjueZVtQieWQlni3WeXevoq6zNUciv3ON62amAmYSncwtb1TQ9L+5lF/n5u8QZ5BXEGdukTz7ZJWMj7uVJohGS1yZQUzY0PHKDIk91hAs+H4wKekgtRQ4Mo8fguLVGQ5yZEIfk0f23WTh6ouQXYXjQ3KsmYJpBsoa5PJy8xOWkOuSsn47ejD7DBVZVsnRhyN0jV9PD1KcQjJkf3x30Z5LYoS8gWZV33hvSWBvZKMzUg5pkrTtcGhzsLOWpIGUWtaQgxvxX7pEkmK+oCBZXpkofX7ldFrbx5qp21fgNPsfzWJQwytyYwJQactSgNhMoLtnNLlLIHcqlnfZt2jmjXJ1u3sdE/0hz4Z1KjQ71ON2qBIl3Pr2r9mrCbe0IDzFOQfmOqp8jemu+4vRBjgzGA+tk63NC/DBbanHjQDE9n1jojTxDCQj/q+GEI62q6EAs5NTzteM2oA7BPnvNiNz3DMEuQ/DsfZjQdBUGEhsihAoJTDt7fV68j2VJL9bRWvvl2ic+9dyfaGccbuFyKR13aXvF1fTzpSwj5USkyJarxfeVwlbcy94rLAnn43RlQpuz5NhmK7BDH1iwmVRHdHYUb8VBSmedf3LgHB1O8dUACEySCCd7hCWC3uJrUr6FoBsfcFuJBshPJ5kGCNIckm31+24+WL2rmcEx5oxuzAl+chcDlUQxZ1WWNF8T7jV8gI+TrnJTZGt0rbuoXy/qW01GLCRqwCM4350mASTB9BKHFug21lmFhyZ0AVc0N1uHngl5DlDhQ8JNDyJ5IwSsmsks8JvddJ3vuh/scu1WM+cGHhAtl/FyIZPtrRZsOwvGxao8Cmgh12gUuhALDsDxy93/uANa91FtqDcV4V9KW6KOhxsAWL8FAzfAffNqyPxiXsuZkQcgeW5X6+YYIHndZi0ce3TfzvdA0NmVaF7dK/7Xj5lIDb85o3I6/gFgg31sroveLwd4utfwV/AnqWryq5PCd96az8NGi1LDJCCb9W4BO+puAxc3ToldqwhVMc3wnb1PFySV0Wc8ErOhuiqqw47lYNek/AP9wBeU6CByfUNzVmCdgWyCVVIn5aE67ObPNh2ySzrUaY2wAaFJ1X187p7KIOar7OOkFyp27ogm1/Oc79LLW9T/pyYEtUWOYAL8AlD0XCw/VGvhUIidz/TqKWze+0eRW4kvUxmHwMDItHWoPhxI82rK9BKRmQBNQTtKpD70+TGvkXLG5PZrgS886fzCUBJWUgq0Jzr10CekjZuqPvPS39lLwutQ5zBb9I3J/urny/g+Yf4ihugxhCmiuS27AdGuyKZhgJSwahXXlr94U/tHaUk9zm4IzUNFgc30Ber74uRur50Cv2kSiI93M/dkES0PTBYX7v7CpOaWJGuw/5GYnuXuEgcAcFONzJyrSbCwSPzD2tWxgHOpomgkR9ns8VgBaShNlQ/P1ZVlVyb92oe7X9kTIGNIt+c7f65kUPr4Moe0pw8Q5aEEppcZ90ddpmO/D2um6IPlLy/n9t6DyJgm/zU2rZg4UJgMZfiE9oPR94eFzvs045KnAN28c+aSSOL4x58sNijHwFyA5Sg+XfaKxffB4ZHyKCAPu2xrEQJ8T/q23ZF6wyC5Az+4h6mYnv+JRJwXya+km/GE2uofhu7Pcs1tG4y7yz7VKaa+SPSAOtS9wzX9VStUkB/haDMwtO1NDPZr3FgwLaun4NRVGCZZg82NacIBWkuk/wkNItWG/oIpb6Nd3FKu8lgAPfhP+/vIZRBd8JbNejU5QWwJaYBwVkZhQZHuQ47yt+OLOM2SSV8hVckfqkVzbUF8GThmPlud/JXXdZGDPkvEzOFebXwPm1avvTQ35FM/9LZiV1MP5sJ7K67G88mQvRpok5vV3cMHTfCU2vQ8fpnZ4hEhpA6IvFmI7QDBlw3/0/Sfy6XcOL5DMMANUpjimLHys8zIlK7qCSUzAfzdkOpa2XOmF547g6Smka0JQpzDUwiMapy/jUsQxjrOZ3Wmgya2p7MYzYRk/IIr1+HtP5Wjd6FDMRjO4iCZ84SHcvoFyoknGUL36uoH8+j0XxlqvefIUuXO8aNgxO56UfCAFmLg8X0ZRyE2jcHfL9paH3bc2LXKyvQ8Dpeu36ubLAfAqfLWEaoPkDIahp4cu12zXDyEuRLzHOG9KtQCLSyfNQcFaz16IJraVe614tDrjTEeFxyrV9PZDz8F6cMhEvLJ211xhPgL5zZ+W2IVEJpE5wC1vRqgacjb7aGZa4Abzg5QHAQXhAOBNIyU2IMvWniszwJfaY/NJlhurY1g/vz+BJ9R1osi3zUTl/oUKYgyiHEyi/ta+yz7wNP5hB2ypA9TBN9O8uoi0jthjGTxPwuGUu26/nfJGfjyYp4a2cdofIajYTeNGqljs2xvXW277U9PWpMpq+xsybJt6IS3UgIm/BqbUm933l4/FslS0F8BtLp5meBW31OWyAhIAk952XYNDfF82ecBLHXuMKpzgWgcHMKYISw9lhxRoRqlxX1iSuQnCQNQUEWOfq7oYLYWG7ccpUiCXRur2tfE7hJ64dYF9ConBJYfHQ/RisB3VrEQ5YnjTVWH0RLZbLXWGTeeXhDagMSn9JbPLWHdffOcytz9opu46qk9sJ6HYLUKJDBU1UDyHRFNh+WsYZUdwiIcEeBj5sxLARY7kw+FaY8B6y4/b3556DiUWb3OPwGrHlanSyiCf8RaaiAiZAgKEJbK2fWtn08Spq/589WSur+hq+bAmO72/05TKNa6MnP/I3F7vz9Zz9ILwQOI9/9kKV/OStOhnIM3M6ZyHoTqRzn/CrlMVXFEsm0Cv1u/n0e/sP9fb5RRnh9YyPFTqwHAho51VdLwLWyth05NU/u+s08maKu9vc73ueZfMXvfYqKvSN8Q02QT8hFHKXi/Rzrg+epmmScHHZxG+mkwCLXyHKrlmYewvDiXYawVJ/J7Wpxcqnqj/XiOFGtuf9kcSQOmvUPpam3kLJ7RLvT73Zzk3iOoDeWOp37eYMI46DAaCSJbVu1e60onJ2njXI2C+7v+X8MFhqZg574LPru0hK7uzjjJn+Fg/gR1Yz4EL+0NXwZCzfCKiKzpkIBSQm48lJ4C45E1C5eo6TwjBUUfdZReIWc5EDF6v4i+l0t4apxN0/OCeYfJIiOLKidhOEOXEq4ycp6akaWXcy9rMBFo+v//SXYZ4GIG3qzV2Vx+LUQoSRnFoA/UO/zVg6DSj+07J2KRkwNHjoPH//KA6V2USVy1J8DAGFcOpiaZW2OSlasYCz2Wfo/CaskO4IFJ2+bFB+sJJcGvLlKnUdpOe46YKwQh6m+0Dp77iBSZa+yaCWziNOdTyQH0DdYbnKpgph+WJ3cRxzRTkBxm4QE0DcakbligeAb89yCC1Ky+IXNitxZjdP/htEqPQr4N3OJfzV0uw4p+hU3tpJ9UZrYqqayULX71+3/Qvr5K7uZcy14xITBUdpP/O/f4B9/I6xFcwxg9N5Z9crs6ulquWx3ISEct1OSl/L1Qch1GPzV4GbLQB4b1chkruPCz02XIbiwus6IS6UXo3JjWOy7V6odMV28p9E4/hcIrtaKknLt6L93QoR7ZuG3Xpeuk4QLeE5Qo2/8FIOwz+2qlRQ37pSyXyiC8R2b55MOvFCrzluMjDX5p0ZioUfoxaT4a4jXO94aL6ii+dsMeFue+SPte4V6vF9HpJhQ+bDDeNiOlEfqIceiPquRjah5TwvjBulD/8q14BSWjKVqoOgZJkagX+DkjnoWAgcwdfDdlpWuZ4DWmLo4oNFgo4O6gqWNoOXjCzYWkdHenU3cToKwswAVWQ9k3hPbrVST/dEkVuPT/KqMD5D23yffJztQBgscKtD2DDhl2bKnOghcRxaYqgqNZbgRMGk7WhjMjf9W6TB5rIDJ3Djo1KxY44U9JNjGeNVVWb9IOFezA3UKGPm0qX+c8vqo4bbTX0xy8C9CcAh0zIAiD27HsZPRQk4WfZSqaduagtJ6ueQzXehmPIa4+jX7GFvKHxDiAcNIFsBJ10cY6fkUURLGJ/M9eHgE9QOkH8NHwml+ck/b+HKMHu38Bf7DmvFK7/5dA6x4ISxtY/WGFwb5IpFoB/iCFqgpdALjEVxYbsN2ClPfpB1kMU3nDEfo0egl4S+WDnux/F5m0KCKEUaeaxXSUqth3rwHzlXX0z3534mFB/ANQRQXkQgQDnzKD5MW+fbZg+EhOcgZF0JFPE5kMQdNlNmcGot9o0SYHeoPwEt+Fb869L4LKzZcpgj27V1ZIqmzHtwLDse8xX8YaEQCjL7mw8Ml7G+MksUFAXB2MpEy0vU9Tl5dySK0XmcUvJrQZ+GV3bcgpciIWK3bTraGPrtpaZAM21nmVoys1JeTLwXgZYpVSUF1p07rNlc56BpGyeKV5YjlbcmwXIFg+OBQ2OJB57oB+ZrHMYPjP8xBaOzJmEme+GkNf5w7WlJPe9IuF8B6MjNvaz11kZU1UiXa1xeiRcswbADp5KMoyh/LRThXhlmv6MuzRMsWYDESDdmFjZU0lCukf1Tov/kQg4t6PftWfy4G+s4kyNtcfC+nH8RLn3NLBLNuLIFvIFCAubo87W7e5piHDV1G66iuCCP4Kd6W1fyX60Qiz6iGzjqY1lw7y1AGlyrhNiXetzBeY8brlv7ZW2Nmc2OyhxuBCbTkiVtSYqqTXGp2Ns0TC7DeOFjmrROomMTmlh0e/4fCfylsZlE2mI6NiZudqKg7GV12uTLnUhru9I/VuSZSYzaLoD0daclVvHL1i03ZY3YIj6tJ+VgvW86L71NKvCvv76hEyjbhWWWVX/2mBMhM5cey8Fgp/vQGCbUr/6emoWu0ecsjil4QbWx1dJYElFkKJCoKtTYDk44mjB8zrLBe/mWjIEri+Y+gMXRG26JRjKO1ARLf1awZivUDuVNgR8DVx4f87Q4rUGcmFlKU7XZEsM3wDj90TJEvKgAg+W+I+pp0qKgWM7ZnJL1+MSuPpnwdi7qI1ikKyjwpaDOpVizM/t60pzd3aVbqNCL8JayoMaglkttp778Ku2V/WzFAcdeVsxX4Wj0wbDi4RONQL+qf5uZUSlDwBF/1auqcejaexTBYFGgk6pXTKRCitqTl//6fmjleTxp/NRChOFGl/mKpuNIocCzeA+0enqb/OBsD8S6DTuTFlZ2C54mnhQn6gbyc1lfMwd01/qb7/AcUnwoC822nXo8lDauOjgpo9OkZmZBbVUc6GaGCO/QOrndswG6ZAmUJABKEvovW/OjVU9X8oridpmhJbT3vwXQe2Ln7J+iw9NhO0e3pstLzUXbPAwY+jjpXHdhB6afWL4xDSKcw7whplSB3HCQoHixv5ZcPjDb/YQhcg+6kQgOFD1lBk2uZOrgoPSilDgbyBE1AvCFDBxzPEnJG4QoaJjRtIe1Pvhyjkg1jvkJwIoqiaCXxmfSoYeYP/pTfCLZENnOW2tMSHp/cGRBkzoFcQiGp+eJxca50lBXunwHpIL0tjiaIuI+5eSKbvNtV74aIAtHcezCWr1g9pgoKXPO0xorxpUaVO7jcVIPVXn73Azvr/y8nqeoiRVjsXbieuclNZDzewelVZ1hgdIG4kY+UmW4gAzFIDran9bVXnkvugtfK4MDiSyztWZ/zmV0ErLES3fNa6F/ROuSfOkUl2rrTEG/dt3YP3XGET/q3TG0qusYH4PQuWHEg/89KuNY6mQh+oP2aWOl3TXCU4t/yqcMPmWFoKErlzExgWfut2R5t0MXs+MmXfoOxijKF9fzWyGa3Cf9+JYEwbVw0uygNlJDf1NIPpLd/Nd4CK+1SYxFhyhPBg5DjVp46h/0tCHkReNNyR9qVKNTXbgc/IaJZYo/A0Aegd7gy7I2UijudMMJi6rVXb18kRFWEvIU9l38VJ6SveHOS/Zs834B4menkjd76ofaoC+4iRk1XAUtpkMQKXiAUAxK1oZLHg6yhRhlqp7bajYvAGaH4ei9JlHRZaN5R1tqkiVTagTIUFkHkGIzoYOE5z4JEyhcviLmu0gf2RJVliJl1dFo5YgwCA1yv17Ia/DVmcHqrHhnFLri2YEHu5QCxKG1t5uggjrztmbGVLyKJTNoYndw4+fF9NeN+5vWNcPrn+0CovqJN9p8lk0XpprxAy6VOiDnZ6r50F5QccQ+iw6jvqPgc3VYpyOIGgNJ0qLaYgY0gTydhMoO4P+F8xJt9pOOslD40OcdD2/4v+DJeTcohQci+6oH7u1F7sKb/0sMV8lLfC5494Yz2ZTEz/5RaUi00QN1GraD+QPHyO9niOI8iSj9GcUmFK1X0mAKa0f/hfmmdPeDmJqzw3DqiJ/HoZmmmqJdN03SwrqMyrXBTfsGFj7tB24zqBIHNi0kIpCJd1qGWX/DhH+nQI9xJ+44UC4Camkd+riif0bdXgR0eGUhIldrinKO7OFwFt7Ni+k6NdgEhn59AGxK/VwHsDYvwtPt+KO7v0ziN2lbAZ4t/0ZO4CMlLKm0NtGwF0Kti9kmbn4m+TxwsAOjrvUiHgOHB76SMY+5oa4ogLdvGtfGz83/A8gf9OuJtotOLxHawuZgqamr0lfeix8G1v+lzatx7Yw+773d0tSHuscTLYZ1GOQ5I1Lm84xo8k6QCi7nDYccOiipytf6ScPRn79pXMCaoJ2Jl16lVOAuuTl8tKOZODqCj/mptob5Yd5CyUYXyaWp9kw3Gx/qLMcDZUraUat0OoAUexoiUVtbYjoYgWDg2IhiG6eHtza9dkVduSBSmgHULT5DphMPcBkOC2kppniEO85+5LpDrRSP5E+39zhCMUIeieSYku7Mda1epBHdbJiNCeqrvaZfOHPvyh8rz9HHDCQMMK8Z1ip3xqtiFxqWl9Ia3CZnId/wZ47DbE7xISqDc9qXrab40eX9QTz4Oy0fvmUw2j6okwL5wMbElmlmy5pB+NNaZVszf4xZMoXeKs+J1HTezRimxqC5yij9f48c3vwTHU6e5Wh5t19jSopr0b4Cgr/OOudndfQ8MbtBpRkgYCcnmMQVCOmExi7jbp/eQpkWrMizmlqlguQzMbsbAV1yH8ntlNBboXzKiwi94I+1Abp93hsU7VOhmOSoSYaptuHG1gjTi/AzsPWCiscXA9S+rXalC11LcSjFvkaG0XR6UWrEPOZ2DXbr//UKqRV/lf7c7S7pzRHXEpA6p09R1FjFda3woG6GFRX0+OvHBLUKF38JoITE0gKoy1ORIecjCFj1SQTPA7ZzV0+XhjRgd0HdR6S0zlj5QSW1JLmblCfjdPBi+za060icuxAQ99wBqdKIYAd8PQEdK82iRioE+BCQpWxSyrIxRdjTphAcgc+ieZ71q83ubGLdrTl9LF8NGjeRTPpeqUrsbZ9Cec9J1p6Zso/GQDyQh5+7ZACNSq93J6y+FoMs1HvXlhtd+K9qsjibwSe/9eByMafsCqIFOWhEEjWZQrVP00VWjYD6kXYZEAMdEXwnSYSLwwIN6pxhQZx8bRafJDS2iOGB5fgcT6UBVO47LmqvFXLfj1rs9gZXWuqVTpLVWPE/tl3nzH7slEyO2U+TIRVl5uDZ3BOkrHIeCq5zJMM0Bge+csxm7hjPhEeshP1yINoEZhv6TLbnSYSgp/D2C/IAOqEZnubpdXdkJZEZuKYqd7pHHAvQY9PswUVX5nMDekb+7QzRyo6Ha+n0WYOAUxzhZexdxz2jDQA+CYBo41fw/10aQksxgNT1/PgB8ll2GjM3rGDzo8Wik/TX4faZBTQ9moSQNivS084Nep5cIJKrVWQGvFm16jXB7dB9qhu+CqToL+x/lEByPtnbtaK8gMgzLurF1711D/Wt+NSxCpZHrNSDQtulBOVKov5J75hWTzahPX00eve+Z/3zppAjjMNdjrxw4223RJ2KQGuNQ0psy3S8mlA/42Vf3UgRuGo3WdYDge9ylI24jXtorRmKqrWTSQ3k39at8rsK1+pkHgeNx9PjDSc7bnMwJg0g1v/gI7ECKlwAnfM6RR2Yr27takQkddPbMG4HgPUS16SGXQPPVaoxkxbpxYlwa1m+yTl5dl6zKdA4amKvDLBmLpLwzwEwC+Tgnt8Z9db3Vj2fCjjeMZfrvszzqmn66kRkp1YC4zWF2gQfb4lasspFGo9ag8/NJPxLjenyTbll2PmPl/GK7nAPUOTJIeC3spHXsyCHDqza0d8zevlKt05Zm2ot0WQbUw/8wDeUxLyRtcY1Y/vWLb3Zy64efdUjsNFZO0vCj7ijDzn1sCztPCJ9xHr3skUX5znbjQeFVqY44P6EKywBRxAi+e0GSCO8pjQSkcYMqyJNApGZ8du2J5AgKotnCDnWMCsKW/nS78LMeed+Fr+DjSiLPZjBlOfrWVOYF0/ZDG6elcWYuA1qxkP6QJufgTcg+dQi9eEckmafOO1qUQAIbGb8tv23uwJ1F9qilzGAjTXTutA+ume1XQTRSWnHUtlzSKUseX0/PkMc+JIuI/lo44Z1Chlaqx187yw6+vKitiEp0qtBozZOw6wmgOtyxnopBzuRpOvVQ7PnIwODzpDmEnT6dKJ+HbEQnkv3g/rReoCx7PscwGCHTVYOlkHk2h78YAuR0H0uWRr7t/rOO8xWe5D/exb3YZ0tVL71thy8QLVSLMAgY25JuEdUS2QKI7mqBwk8ejMCjWo2r6w9rle4yo9gXZRTUzdN9zn84iCm/chVXAHNutmBZUmAinV43dEEzmt6u9m9R+187wsyehIeEzibFpQUrcMdOcLXKfDApQ61aIWfOxtcA826qsi+oGx4NZjUw6j50V+GmfyuGh8L2EN0r5gsuyxNnyeY/PHXuRkIT6OQUwhBGncCODaaaxXs3YEd108ka+g1dkPJuqyOzukgt6ItfUFao9JzhC7ueUUk2ugP4PI1i2r6CMmTVgffik3UmFCLnd/FHaA8EJb0Wfi8RvAPnp1aaanZrcKxdMJvXnRSVOEgbeT9O30iw2tlt9W4i5ng15ga+n44XWl/dA/xs4D7MPxr5bkV4+XTchNfHZdgzB/4AOmLEYH4u2N23NShhg5i7OlIdzlqokgVAy2pNmyQIyP0SahGL0ux7fc2cx9HQbW8juZUKMvO0g/4XkbZDbN5JK5mnbfG6yrTbflapSvz1pFEpnssdOxLfM6DNNZKyger/iN2kZC1AqLF3JFJaP3hzNT94STpd7gImo+Nw364puhqD7wvlCr0zxJQaaSwjK9jxBRmwldOUlyKpXd8jugbachoyv9y3m+8OjwWCw7pY5B3MC9QxA1g2cAibkLvVzhPBLltrGwsbjbUJjWfpU0lx7dX8n1OWa3VQE1s+j8c+ySms1Z7U8tN5CEbqeDveort3wrBdnf+EQ8y+31pNBg2bukEYgzKgPLDrQ2lt5pOiZrBpXOidLmqG67dVYURt9t7GX6bQhM32XdAWIOHMxxjDlF93WvUQehx5QhNV12KmxV9PnMBErPfQV9t4nTrSwblkU9eSDgiN9Rllf6u0ikbVlSpYtDXh82HeXWPZA7Kowh71ZknCnxt+4VLboBBWQbvMnFnjXmlr3nmQxniWBfXMj5KM1ruoEZamD300W956zqBOqZSMu35y1tZXM/QGvnRcbIiibkGWldVJDQCfqtJSW3W1+tAiokp5LEI+bZagadSM1mZF4kOcawUqNz/vB0+Z/ypfWYc1wtFuBEecaKFoVWhlvt+4QiFXWqs8W6ZlAvCu+3Hay11k7JVH9iVrDFLbz1fgsEYtZvIXBuLV0+tGeTLy7rJ/TLntjaZkutjfLCoXobVqtNxULObaeLM9kSO7GHXbc+9GD4Ipcu++8cdmou91XKnV0Dl7ms5o144BhzAz7jsrqzec5xL+2pfuaUMEpYWS0w2F3CF0Vw2rzMjy/n0zWKCywCwDTF2iN3nhtRHfM0YqI4EIWDHsshruh1FgYMnt8AqkGc4hdcw6/Nd8+3VWjn6JfsTXNKlAo7Ca/FlQZRA9FJWMLf6ETWZ5kqI+Vna2Q0B3B7e5/uBxDRi8miCXIHVI+nWcNDfnidhs/IQbnD0E/wCJ+rWP20HR51JDGlnCrSqN5Xr1Jka432z1dqThSRkET8P5ng20z2DZpmt3zQLuEuP/1BjdJZqSW1seCXjNF1r6GLRRPBtr4FNnQTR09QV2Aio1rqB/2h3t6CKmsrSV/szPtUf+c3Df2WXxQgPeEy4DoN5ZLQ9hMsoTwQQtyihT/xF5yrRs86SiH+L1pjZMGt7Wtab1hb2gPAImWZ7FnAQdCTYi1aoM415WGATSvlNxzZYkJrCs6MDqQSZJoYhWeumxKBUKqBfiT0iVzc8YZMS8sWVCoOuTsiNswO0C34/nF5DH5F2xb5pR4lqtjvBjNF0hQ612mrvIlwIbTOF+c6dr/Ftbrg56IxhLwmOnuPZ1NBEVdOCokwFyp+SDMJrVLgjjX4kZewmu4rlGfoh1KFXQONJRyJom6U1CF/SoeKnjs0qEx8xvi2VYHrpgqxtI2ACC1VwVIMwbXJQe3JKYhfo4r6xmC9OPFYeyw3FITONwC0uWBujFPGKlaRjEjts0K36KNEKIebrjrOTHoRyxpx3pp/1Hl1ukDtGHCyeJyZlfnSX1kYZ6QXgpkU+YVc1qrMJs3CNcPasC+3iwczbkWDBlA8YLYWxfVe3ac1kDSgoz0kfewRZOy/XmX8ArVFxpKO6m+77aEgpjs/GAi+rj+1beRkMgQsaV6KpATpVuPiUwG5OS2ufmR4mAXzoFIYkZmC0YPKgpIIWEIwzQaw1Alc56mAHEJhhatnJpk51dhCl6LYc/8ghJSai/N1GT6cKApniF3QQb2puip/CR4CTp8TTjFE5fZTq/WOOCTJAauR0mCMwYHRHD6zyziCwvYhRI/Hh5eWi8FCeVO0jWCDUDGYuzf+L9GFtUFUT8MLgmFu0LmbUEs/0kl0K/8NQJgU2sTGs6x7uxzkeN/9iq//+2BUabIppKWzNy7LqED/NkZOXzZtkWDFKOTQVfLI6+QbRwGM0dxt55h0ORKfhvGWWE8ebgrkXCVMbmsbmgPJIAERnZFg/aXvK5f7CFRNfZIXF3SxxpeLT7XuDUII64Ot+HuaZoRYp+wUmOdkXxtcki+E3anufQotlY3JYfcHm5ZK1bw8HHcBc15LCeV2LLqB2Q2OAasWb1WbN0KsNJxmTf0LwcpKSpJH5hkWUDPC/A5vLx6y7+NaMefw2SLsX+s2CSppPkh3E45WPw8jv9037kwpJjLEyJot8dvjA6ruqVXWQ3b70G9lFFhoOvUc7woYW1NvoVVMiqanJDYpJ7Vh0SpmkSMjAI7oqLXciTUoGvZZzQ+PJHJJBfH5mQl9ezPgFa0oALUzKTr7me8MXL1wvo8haSOuVh5F07etAnn3UofrMn6yQ+L+N8l4bx8CI+7S7O8qjW0W6Tb4Ay2GMrESqN0W9oOIK3Ot7P7KY44aikNJ+jcdnFQ4OcnWaRdSxuHAavo+aC6klvaMaKEFswSrFHlcecMushVFC6t4+f5m6v9/j/uwEvxMpOrefEtF5VP1mKd/C9MfytP8LFmMJBns2PB2t1igKXQrs8TzdmK/S3gTdVtDyheYNMic+XUahsxmk4xQ1nFsqPZ4Kopj2LgXgT/AFIa0Ny0uI+DVnXGxtTt1Ey3P+fTUlYHdYKwIj7CNXoD52J/gxaN25Dzu8Jlq0MwDmFLymWE5HjEDz5fB0Tbz4s6yAdnLfqS+XMel9z4krglcdNa3Y0U6jGt8OftkvoPeYlH/Ev67Xkov3r/ejMw0C9q4gpIxPWD9SX6IDUQE+xzKKcPXLanue3TEzeuM6DMIkCGOFz0xUAfAKcEHbet2LnT6lLyWlG1vWRGi94LoAvN1H5eo6EhrDTOClEvN2M62KNzPtBhkpSC4xeNRy041q/Qpwu68/5hOu8J3BHK1/AIPzSyJIuRU/QNuSNQWlRL5aFRAu+X3fWpwZOgbqW6yo5fyAiN2VmvwdIUXppi+gq+aGmUTMODQpTUuxUfd4jnBB7nlJROgeR5rp4MsStb03sr3cNhfUpLLyyBpe6h5rnAp9Jc5/CVRvoHfPAB/kXrg1sJps0j8ITxhFLUlE8AZkxh/hVexStU/PXgF6hhqrPBq7RsZyYvzqWEb34YbhVaLq2zIclrlttJ+2Bo0fYNK4TID2tvwOOqMvLnmqcDlmBNGlJ9sFj+20HFPUYqeUuRX8sv95qXeBRGsri5tNJMBZ42tNrXHPiU2n+h0+DM0pMvRSveIfIZlELJ/cbjXdeP/Rvy3Y8ocyemPl9jwP/MtBWkDmFwBry83DQYhaaH5LGXaqM4xbPuD8tGVuZAfmRcEhMrJmAmjsSySVZe6FmpX6YIDc5leeYRj5Gb1oTki0BJCg6M0guGvU1Kb4EVD7awIIqqNyGEX0kcsn0y1/kCWZIcm4MpL9hfRCdkjMhWiyn0OUJ+UJqi5H9DJVEGYPCn47hqHqN/1BumJJHqAEI2pzkeDdppDb5OnfBubInTRH+susCvn75bXI1A/EyTXF/WSExB1QzTXXvDEcSNfwbj6Or8O1hSClMiskLkyqpRDRf+W2+rDOjEKO2+DkxrvfslMYFaWlHysMjkrl8bd65K6oPW6sP3gDnKTBzZ7A+dkhpEMrSPRgGm1bWrZLpZFuIl2tkOAYzd6FS3p2zv3ofezhTdIRToa+/R51gGL9Jfs2l5m4TMWFRivoJNomdvePLuE0x1UGFUP0SR6RBVUjZUdVV6lbLlmPrnVcJiGCNI2Aoh8trE0bqZEeMTaCxHmAcqpa93PibX7bTsyvY5m70XeR1rWhLYx1+x18tEEuM7nquQsV6zuIEpNk9GRh6BgQGmLfbN+yyqPLMMwhvxsuVGOsYogdEdkmzwaHx0qrUY4mFMyyqRSEw9G1rdAQr9QnxJ/xOQF9e7az63B3EjfPxpkTR9KogOlf8Ap5NSj5/MSsnvOp4cGb7eTufat6AcxKyBeYzPYwCI7q8Q0TNOhyMWusNciCrhdn74V0di9ohlrZavzJICrsd7/5PxPFfWXfZx0U+DHbmmejqoSi1opgApu0Z0gyyV0jOFINxbxMY+KKp4h5ZJYGFuLMvT9DNaEeM/acaInI/M9rTaK5wrKGNnCQ+9S1GhldJOxnb1wSmoJoSZ034BbgMln+L/oAi/BiApMdZpYmi1wkA/aiy9zI43NM2XjgM+zxDqTb2U4reKn2n4+8VCw1/8CHDfNC8kda945Z809BpXMSv/KEGJey1RBfZ0CdpksREGotLCLGSz3CcUvCBi62FVN8srG+tlxzNS0vcXWlwRQELSTavJ8vzVRgEZdwYCF2Sl7EwY/ebCA6X5Yav5sSU4XlLVSC1Zel3WA1Apf74P2R/FrV2PBS55W5yYRoBMv1o+uRH2OT0B6rFKhmS08uqnWBjaMRbnUuOKzng2XJ83C4qJSrkB8xDnPepY0FSt/9xXfkNreFwNki0YHOhVnTARzrTDMkDsn9Ix47toPy0A4NH5box386QX47e5wS0Fkgd9678BRZ2fSgS6thtELFSZnvfG2atPORJaHGzqjmypo0f4HByqw1JxyYGJva2Il2f1KZz+sXbAK0eA+CictT46sFKMIsgMMCdvUDVjAqE9WHzc7EGkM/oT/InAaj43r3HS/++ODW13qGPOozuC80M7lakksXipf+r9clKd/0EnLzZpVEYqHgel53OIjHqrOx/7LgkacuYx7WTbFTuABUlUnjzdtsqpP9Q85/R/ut7jYEC7WEmUIOwWwWf3XR3yRXkz4LiTR9s3Arc8cenr6DKOzbUkpwZ8AWfBLZf2X8dAMI//VP5DJZXzxHj4bgJN4DDZNXmT3E8RSVLRSFMazb7mMcC1lDLTPTvylpHBx6/bOjdDdD3BSharVUxVGQqDotvTw/v3xSjhaesWlqSbi05vgCanxiGEnZjhgVyfGb+kC+2Omna65m8A0Vt31gg7D0b3M2MxvPgrMxyFdnnGYWHF73HRiOur/wZ2gcRhKmh03zSSo4HE80DxPd54nSjgqsqOHCptzjU6N6hS2BhvXvWDDwSu9Un0bLBlz/g64AA9tsQ9Q6/jt/ih+71zcF9R7CYFJhLa9Fevd2dlF/gh00QCLF8s+Gx+FUFx71OiuGtmmH2UVHHNedGBARR/VEpSd7UOb2HWA3dtaIzWW/JbPIT5vvAYj8NVVF+MDDUVnYbCccGBbzXoeI4im8mm705Buu+4BtC/SCRFqEpHrsG9YW8dqXRd4TwNFLFFYyBgNT8+LoqFLkvvdZdSAWm7I+Fxi9xBhH/DirwbMSutOT1wgWHmxXXfbqOjoq/+ZopyIgA3eMNTWftS0KBdzRHUtHJXZszh05l+jEEcMfEKku919zOKrHj7KVolwf9WRxGG56KkxWrpcK77xFeAiq1EFuD0yCbKBM77+jlJvPXsUE94qXPKPaBSznYbN7B9Yv2Y+JMc6rjnvQtWKTC9WZkkjeUOa58BmTF7mnVTNeo0oUqyYURXqabSxZZ0foFYPsd2VmeudWmc99t5Of1GFAu25P2KcEqD68rK3U42M5gFwbHuG284yvqQ7Om3qg4vwpW4SrbPt5vm80ogmK+mdmxdXKiMX6jneinqmSZeYascHePIP3kF76Od4jA9oh0P5VeGNPrblpuyBoBQwVN67jEPhwIzfILrWTeclM4DrB3EhYf0jrAyqnQRpBR45yjTDVvWuqVKbAw1PYpH4eA8VjKbCuJmoiAGro0+iGjnZIzyPz7iWAUStwh6+CoSkg00jHZ0VTyoK5QrRK8Q6zXrA05LNHIUsdg8InBAthn3PHz2tm+5CmaLyRZawFzdLzsqU1aUHsTdwEtGHZ6e0rtyV/fFe1RxcZeAWNJJak+V74de9pDopoWY90S0CnpPKsG39zfBEL+NtdeCFG/ZULHTdcwIauuaITOM+oHxeviq5ToYoiA8H6FZ5Wvz68fAvm4sNwZ+AcVUdUQ5oNr59jWLAuj1SvzuSNTn+q6/heNYaj7qgMktVqNNQEiK5G1tPKkgjz/TCwkj6mL7/sZUgXsILafjKjc3kXChCzF3qmvUahv+SlnzVEWB300rv9iAhBjDtLgoTUxpTHzCawlFbFkobCYNDRHXJp3Ys9PUWOtKUOmRbs6dxEgwAolLMeGwlexT6NGFvRG8tiqXQmRfWsFVh2z93TmAmpx5Wr1C/MW0ACcL4jWJ48w6rsxRVf+PpI2rOCNXrtNV3GXoz78sQVLWumyVA1tlUFy7WeodR62eWgyT5xcNB17K/VJ4OtqyLC4Geo0SSDGNoClZIeV8EYFndoH5bL5MwfHbJbxMs6nbvLIHROvQz0yls43BEdP/HNwAO+5sy3CffS+CuuEVR897USju0OpuLcmVP3tCX/lSuYcY7J3U24aZ7kMWbzGhY0k2jZSdvCWHIWx804uVcQHYLfeWl6MQzALiRXdm5j2ITg9bPLLOgfMIqAX2JJdfKnZoZr+Sa9CfCOCs0K4pNZ0lrTBxrBRtuuYN6tqOVFxmQeZQi/MU4a+HqJNf4F8B/1WZfNYs4agsqbPHcQHeJKveMqBcyPbarNqCcLWh64XD2ktvuIfQHwsVrG9A1wmdxMsu2uG63diS/27+388QeQPdfru0GFWygg8r+1IxWZMi/wBtSFn45xS4e5ck4c9D9bvXN4kOSwlvSPi7s4iYzzriVeXAC4m/SADUSMALQssOgXvfaO/YJTxbcL0lUoqJgC4jGldh0X7Csvndft3ginx7BKnhKCYqoC76GkBG2CArij+RvPSXZcj4if95aBM+mQ+1GNFGYNNciRGoIwMDaCWOioFeTOMSGOgunX6qEPMqX/pmJJEUVciTiIQSFsLiePLomXklyUrmeSCSQvj4aawFrDu9aXTgt3hnQXhRpmufxeiwTssNdOQ9pqdV+R2liCcvl8mu8WPKpE5F31BB9j/RZyFPJhDVcby6N/LrPfEANB2W4VXc9uJX1YR/kQ+wrXO1ntzV8eFu4+gk2NhyL1ObLj6/epjmumKERh46LfIm8gtIk0xapsmG2Dba4vhVQw0P3g8Zkf/mQKj7bMEpd6tgKGKyndPyXpn11WS3zPS/K7+VioIRhKGUoqEC3HugsWFvx1YExhrlbI0JYYFv0GE97nOlCpcpF7m9WYBHHg0tUz7JeXUE5WLLRBYQi0v/YibdlXopBVICXml66GGoQ/APy3q1RVOCPfVrkrh9ZSq/M0/IhzWeN3Pg55AR7sH+zx0Uf3E6BRkMv8ih8gwLxKeYpMa2WcIWrS21NcyoA4FsV2mCkML5iBjwEMMK/Ni6TaS+O5jSRFlIvrEX1zN3zsixFqWDI3absbQOiUZ8GOWXfbXMRYUUJm0OL7GjsuI4xt/Smuvc/c6fAIFtbrJN4C8Pb+4tuYI23t6l38A3Zr4Ax0oRNDQWmg6lBpN1StcwvAguTz8+9g9hdXHNAd7PLWrDRoZx4+Ocgs1Gg5pSFXJA9Bx9c5/6Tt8n/uW9BaAwxlN0aRLsQZ7ugIrwKpt2eeM3irDhkTWArKt+c1d0rEYf6aELruuWANvw2+DyLs+/x4WvYvTbmIBGh/3hRDYByQanDkfZTZsCS0HSuVB/wjsSDX2BhxhZPxQ1sdnKoGI1wxnOQKCuNfByTHZ26/h8/kH/XqGyJYE7QapOjzhsAdW5qpvAkIlV5gLvkQ6mfhIi1Faf9kVGjTSWg+rthv7FpuaUaQyxbIPohtbvbO2XvZXMbG9E5OrldMGyASxwYylxulCyixR4MONQRxOlSf6yFxI8a+GNXNbMj4EdLA/JZrF0o14f6VekOzBUqumuRVvPzU1kbgCo5AO8yixq6JUAX9SovBw1l0H8/Yi3L5qvTIqxI37YD7w0pXkusTzVjiHchLp5aV+j+fmhuNThpLDamlg2lBFNgEdKbRmcozqdtEgJZAa/YiOgJ18C/wPYUjnpxdjnfLNx3XS1SJqey1dEMa4uCdS2xiKeWx1EyApV7+1++m7dDeqxyt8fY4fu8/+vmJKMTQ8yoWhHfoQH919GRoA8a7pTNIBm4RfoQRd5RTwxWFhH0XAuQUKso3ysc7T0TSN+U9jkCsij6QpiK9zj8IrmtFnIA8mLEaLsevlKXQw9RM3cIma2cEEHuDn/Od+hBFP9MtKbkzYaT+PNuiSAeRBU8hSLk7ebgi8ZRhSJ1L+sTkdMxh0hgOERiPkvrnhljQKFTPz5cDTKX45pl/4NaskecnCX7IbAtIAizYl+K/kSjVdOlI/WYx/5OPtJLSlgSg1nLSIb1okjJASyyqvbOdPV+Zl5oIx6O9C0eiLtN6ggAG5rCau2mtglpNVfNaIqObz9dbE6SC/oyHjOjcNYa25DTY6QnubxB8S5m63UHWMcyba183PmVZgyh0DyuchBtSfB+dw3KUIkX5jWMmIb32Zu11EnhVCyQ/jiIfd4TtZvtug0g+ysBCUHlet4wTdyz6QTFdqRnQOx0179lASek5Y65vdx/+nXJL+zFiBr7w9UU43vQxbggsxnvWpAOFilobULkt2mXLL/KfXEV5ge9++Lnz9kk1Q+PbwNIIG2VxAa3tef0qX9wABpk9s75Xyf3MO6qZGf5jbHdvP+1SVBXAzngKO0exguFCAFS+j36INXTKS7Q+SFWzLmjfwas5mvlBFH463OS7CTLc/v7kVzrOpBbjQXOKEeidpH5sTQvW2pSXKgNn/JnjRRRyXSLrI9BirM+Se477AdN5I8xucnGhVObQIOv14SKhl1bEw+1AlV/hNHXpc17PJRrN7jvwV9/C/awR0LarMUyPb4KeHo8fG/m9Z7fxBN2broQClPfkiigOHE6KEKfVUmjEufFoSVxG8w/KTXytRutGfAnnl7Xodz2UedP65T006ZWiE4PDEMBfmxPY9f3waUlrMchlmw4goUuxjYzW8on0uRGtJa8rH/E8sB+lqQvdDJC9YagDVSNv5J6ap9HqIHZSmyolPBKEJz3bVgAPydjGKmKDvrr5DSoizXoghwTLrsuqLh3JfJxXcBKHyhmqqx3h0hHJ9IDRPcemcm9Mb2DXDygSMO/uOX37QHi/bfnkHb0sLWQQLQGxBXEfbEwbsxch1Ve/+CvxW5FY9SHKLq7ANn4yDUFV++9yavwkM5buTPI09tHmnZw0BHunzElcXnIxOmAac7YO2p1wH16i15nKqH7YgPRV2ASMR9s71Qfns80Dezc6hfaNCxAe0qQTnS0FLgRbbnfdPqkXRWbvaGOmUPZv4RhOV22EGP3oVBQQkwCgVKYy2HJWeyySCxDCzf4HEO4IOWHXRfbKz3/lWNTGqlYv+Swq6gXyq2wN1YbXdtX2sqdlou+9IjhMCSQ+NkuBpZANNXZwxW+EBdJxlUDZOGXAvmMFtbSB79oSMh6+FxDBXaejolVgsAIgBTAO3jeJIKnP3ID+Vyo1/CcHUrbLj/kxYdtObcLjbSFwLM9IsK7IhAVmskOzuMhHQEe0H6Nxi0Yxfzvc+R34jPa7BPzDWpm8MhWXqZKYRjsMtI3Y9G0yrtcK9FDrin1kYFEck56PSxYVjkheHO9XLZ54WGTlE5QVTUtOTmDqb2OkbGFpFwLPZ2KhCl31ZIEpv7+Uc2jXrye6yYyatsAxXfvO+lQUAnUCWDe+IRHVh3kLT23xOZojnmSX3y1Oz94R8D5qBk/vyKScSWlBi0xszNC9Tn9UI6Ga8OO2yjJLLSMvD26vqdNKECvntT8Wm9nVRM7QavcrY/We9gwWETA0rVNTPAgbGRhHWz5DmdHU6IhzFl9vZgE5yzn1dDwQ4ccFB/4GGOhjXDIArF4gBW/v2NCBpZMnwmyhaDfPhYkAgpTkwtb7+4BPm9p0HLOoRm2+p2rv8XeqotctRofm91b28Z9BqiJ3CWwyWeG3GLYldNsRPCXcw7UzrQzIqvjv55FcfYxxWv+TCo+8RsvFhThhn5kbT6epe267dAOlCRczP+Mj3qAVrmfQfZihomjT34wt97kVOMqkj31KWEt1TllpntCdIAA/J7hNAoGDL+DepARVIId2HDs6Wo0qHmGHRLza45BKUPWbl42lM2P4Ntd+GP4NVrPeQiTEXVJHwlcta26TN7UITXfEhlsYns9wzsibX6IQOsVtfE28iJ/remhsz536T1otvTiNtP13dcT7ySJ/7tgPJjdeXxAizZEHIlligYc9CRaSZyC/CPcNIVfT84LI3K+s/Lr4bhpZvchNs+6hdBLnvjXB1hcQmmZBVD5LqJPxdYfTYxm31PW82Wgxn0TmFXb2OxQwTP7wd/dvYUQgtAz2smB4x0UvxgD0zmftSeSdsv1HxQ4tSwChNR97EKXa7r1s+PvtL+CWrF/rkz4ULRqV8izNqMNbn3qHiW0H4wDWG8krOw+Xq+Jazth3lzqhBWqZZHIhV0YpdS2Ih+ew11ziDwn+8Lb2ZAPjVYlWscpvW97ddW2FW3O+5IYXqoH6/7yDHb72hotm0u7Wa6T/m8CyjZo+Y2/2f3Pd7y+nSKlqfUnf7UcupMhzFn9VVaoisfvBUtDzr7EpW9v+GnuxAsHCj+Yq20wyfi0SD6XLNXOQ2bFYZ12JVnikslFET4PihvUOU0FHLq4MrhdJQQm8hcoXhuNYme3BFlO6ocZ95/Q4+eYK4aKJ4y83Zapl08vojuRuBU8OPxB2+SsEMZtKqdFW/7/HEp0ugHUeqrM3SxVU7h1PAChtVKBCEuGd6QiMb0fQI+81b9avA9Kvz4KswtctGNvFP+ADoKAqQbri38MOuOl94f5qsX3Uarbct8A1AQ/Uos3FTu08EKTFWiiFR4vv0cC32g/FHG/XCLc1CcwCjNgVoht+D9xZlX79y41BYY+6trcXV9+Ndtrb+LuSNAKKyBgcpzB4Idi+OAKNffDPzcG0K+1n39GIXSazRFmVl9h6d04XfwfVbl/L4CO6xlqsBEY+kwThBK72kCbihNgkXSOCD3RHYd4N86SLtvKXlFX3QpTXypWnNg8+HqxF0fmrk16jpO5WuITg0cO6aq15Jvt7ynnkW3Mvbxuv1A4LlTA+7dOTlrvACEsxd0TtJc7F4DCJBqMGUY94FVQ7vTmVVZ8JHBJlPLWF/Ud18mikB3DW5m3jjKdqAbxb1gzYjlWozADVXFsAUuOxFVRKJQDA0p8w7hc5UKy8Z4puuXpBqSTOfgQLdb/82Z6qL7YZQp0j0IPEP7GQNFeI9X2/vo4IigFMp3bF5/s2g02tikuNhLtPtxo4M6ZG1HGb5p6GJ8K6QnukwEmAgx8A4s3i1SsuxyC45bloRUWqgmPdxmO2dWM0qHo6n9cP0NjKNn4MDDeZrc6lGrwzrUPy1kARNwP8Uy3MIW35XyGLkKLpoCOW1x8oSIVKUSOT3Vh1HEMt3D3Txy4Q1m8me5Aj/RRco0M3q8bX1UiSjzLoZKwYmq5TiPl5rYz3w14QdyCyk+x1ck8n+DG1YaI4lY29+sGiARRW1Bpli0a9zEfNqakxMOAeQNkcYjTHyUCUZR5RQddyAMxetmBTNiZMDhnL67AT7R7oI8yfS+4zo6xMJh5Dc74Vuk/vh08xy/nm+qSieW/9Vdof72i+wFw9HtuaRQb12j3LrAztrZsLYylKCvlMeMy7OeZ7Tsj6l7WH+McDEGp9wKHtRQ46K6a/g9tIcaEkbOeObHmTBMa6F7rgcf2XWsr5HoJvQvbozTYwuGRUMvmYqHmHM4jvDzgyukxeK467gwFHi94YdUUlJT0UaDJ3tuh1qPbzb7ak40T0g38+5hZkGsW11MUG3x9YD18+QYpj5Z4a7NX7hCSXypg5OV7YdierrbWhPedTZB4y6dioh28O1SGse9tdp4OjtDiklZy+AWCUWOsJvwnhHvnA9bHfiJWG8BCdghDieUjlxNlsGGwPuFHM8WACGLs6+lr8wer5xDRP3sLLqR8VS3qs33kk2w0j17r6aizuI+vJubbOHA2dXRyny0sASE3eyH92Df/7Vr6Uer24x94e8g9I5FmvKbvsi6THUdfq3rTVqZMAYHsREik0wCDJsZrwScPVzzvQfQc64icYbXgff/QENhcnbNR6WXIKZz4q9n5ezre3l64PuAxG9ytEjM4S0KUnG3RoWMs4bJIcNWFdLCm5esr6fTMYROD1TQTwJEoj4Hok3bFiHzrJA7zI4BM9Hskcp1pTWphonL2YlfvKw74VqXRKRqnC/uQy7vlRZ/eYyRvE5QNRseLvbNDqxp/yVVnB5gHDeiLQ+0oV+h6W2o8Z3zMnBAvQ6uYdP8pkCzHGnLo7jngKzNg378cjvpcJqiskbLsU7cEy3oZKqM+F/HEPu+9ijmmIGwuXSgg2JtwaDTrUsBA+s87zRhyXJbBHsXHNrdLA4Mn7XttJtFFulz3ecgV/aJLNB0/n0Z2O/YpCpj1Ia4Ze8OPgIADW9Ot06YIR5z5xe+N2/HqrRtyOz+Mo3xGNk6FTbFqxs5ez2fz73lpJrQOgS5Mtluxp1WqYl51XdHAevHVXv0+8HJeCLk/Ypr+iXHFxrT1cgPZt0tQx9YUu3QZr5jtkiQDFl+/lAtCkRicei9TdUfa/eYLUaaMvsQIwKW69L8m1ujw8WYpMUsmhIwBVEnPjUESd5HSPMHjgXErwhHoo82WpQOB6GwGJ7yl3om9TctQrfgiMthPwSNjQwSExEmEeu/CNw3HzS4AyN7/UftVs75vxmZJjAxS7fl74HH1jQ7Zv7NkzpyXwsfrUzM1QVNAebCotknyx31jAEoOIt+vVF5SAlGtgp4K/l17paSfeHGFFjyB+OqfMgTIxTcXg5r0Qq8tiyd8GlaYy84s8NFsSkFGFIdKJpBP/YHJ7JmWsirxlM39ve3wZzgOH+jCslXgJUHMj49xaAuIEfiMSwmjHnWF5eDxEKEuaYjdz3aFV7gv6BC6ZLoFWr5Yke6b/62rhMkzqHB+nZm2sGIRMkdLoqyNjL3W4TYWwQgaYf2Y9CPVmW/HR814hZgTpVaD30HhA4d45+7emzWIjxUy44N5ZoQ2s34rm0/3Mc2edGc289wIDqdjEMilWJBIdwz6TNiLgKCqxvcapKspy53J0gck28K12fZPgP+ZfYGhbUYIJ3UUSAdjPQt3k57RSXYmekvsQf3KP+5g1gvrdGvJLAPrIhK3qOC1EL+CJfu7DIk6tiBvgcMKwHWLES8qa+aXeb5QUc0R3a8ZvCz5PBj0MjXTg0gE+Q9M3FNJIhnQxwJoOfFq3r3NStudK0YXiwO0sSY9ohmWf/YisUgCVsU4ZZIZhw2jLOoIadqtyvMP0mkee99m4mYmfp4a6cM7T/iyChmTJNwm9MXqooVXptXzb9XW2C3Mozh7gYf01RNdbnBBGdwO7ZfeH69mgplpQD0nslWDPr/P4rSlXZRx71OJ7hsfStDO/jI0PXnLx9tIfRu4BFNUpyRmwW5iDatX3zayRhErdLX78cMnlJlfhjma4n+mrM3DEO5nTW5gD+VJcfTQQ6vlX6YgJrc7awGeFYrT7xIm/YzR2+A2csMMHYvLHMsRuRyIeJT/BPhl1EydXO3n0TR6d2nxffCOrJnu7Wv8DZOBux5GGI3lvSuYCPwXSme3966LpfW9J+iKjW/JoFp3nEyw7MDffvHlZobftXuq0RDTPCOFLIV3wZu/9w/TRjQTsn8oKwyQyASBZlD2MI8ANuevZ+PUml151j2AboomfxP9TsPuTpSxkh/CDgmizwKsWeodsORN2YoSzpncKOmGmdgkQoAZ5kXV2igHonslCjz+ogCdkwZFLEFyAu4xyTRxMKk4q5DH2DSc2WvCcsBDafpXJ5m+p1OQJTUgpzJc2b0Ot6IqhWSHSwpaHX2jomHcddKBwEz+iGXopXVZVlxftw12uZtF36PxQgB/Eh0ne6/pxXtNMS4WLruXJs27Psf7NUkyyE8PpZrTu7xgsode4vib9JintBCiFAg5KIkj2+a7yLzfrFaIMEXvPU/s6GkY7blJ0njfno6jG2L1l5ZZ8GrtocgYTjdpWwfrr81o8dsf1XubrN77Ls2a3vdfkdxio5VQ5x1bmwbYnMY4Bj+aI9Hr0UktuGV926/u2Hxl9ALRdInER42K5Tx5EPKjFhAJCv/C851owWHlgQ5jS3y89vqLynjk04GoK351725/bDht0LcZApk9uhsvq9cp8ypCTQWjj/2xhUvYE63t/PBB9r8oixalRpDfLYQU4CV6wN1QR94Lp4syJxmXFq+asA5yyF5BIuNPJEin+R5xP9+fdXWZPWkYg8r5xMfTVTOBmJ3YJZCoDiKCfDE+6AQ+5z0oyEonrzZM+Xnmj1esu5Chez/OfYZ4aAOLOK3G4HEHMZjac02lR+ukROkEuImMcSJExh21ePJNhUb96NPaxgRgeidJYWuyii39hemm6YkPnARLySgQoL5E2F38MiJpJ4d0I7+wUgMTkCDXWQqHJTUbq3XYiz5bpOFJQ1LLO8DNh/nOQWjgem6D84hJPzVLCLV3nxlmYdsNQ94swAGKutWeGWwQ0d7TWCsPbO77DrtBEQ6IZh9nUqIYnKTyr2lN4CGFpf1agGHkb05QlQXBg9x5RwduL1+Nche1iQmIkIup2rxl5kh/ikKk9gAwlH/yHLrAoCfwHSWGwsZLRIqjiecMrwGemyKk5kyx/FQ7RDw0elxD5yzXnsCpkKSyEtv6UC9Ysz1q3SH49qzcG9dDQ3Hj+USNFFafeXFwsxH6IH/0KnpdRLfjSx219LJs61lcmqjoJdwaJl+CFU6MgkG4y+E1Xx6rj6G+JgipL9ikeZD9QkitPzqp+52XGLRNnIqWwd5IURMYObUMPx0HhB10DPtjZ2v4Ah0I4quYMAjS9IQ/mJGnqM7WECOwpd+0CfXYEekJoe/8+uHQNqqPfQylhAwCT4exgrg7TPu8drVcYMfLCFUN7h0W8fyxqJZ1Pw2e8PzbBHXy79RAH2wfjgr16Io+dvcfd2s+rwyiSg/QTET5mJZ/+cyCn9HeqkpKpy+ER3OpR94LDuR2MIT0HeiyBljK6RzXqOdMQ68BcDFZcUGhYxJi1M6dshAi4zVd0n/8ia0Gl4yVYLHG5B6zLX+j2TZGixMPOlmECD73T9zj8cOXJErA4YabvQVJ23nPBiu2KPkUsM3cOLenVZySYzNw5hiEp5fF6efkL76/E+8pn9wftbfxMYYyE5oy6/htSvlJ2d94OHsv38q2E6v4ZS/eXp8qlmmmY+TpEKIKuxQSYonCSg2r4Qc+5cNsYjMynG/zYdrTpY9COxQCNrhDhWX4cTqxV/5tJDjdRz/Z3oQ+9Jo+9wF0PrjK0gFtIohHLho0PKYfHXwyylLiFWzZSL0V79cupf1b0GE6PUFGHg81EBbh9f/Gm6b6SIAED7BYUIbW0fin5vswRAzia/KpD+/3n431+kIjlQDlgi0EuZaqQQLxUalCDzdj0OIpY0iSBaEwecnsl/4Rusf9CS/PqzsTZ0FSRPdpEDFlSdGl8sCtml0jMere9jyhi6c2Vuotnvm/V5KR0d5mG6gPp/X9k3Folnklld8K9HYMC4TiQVd+OS+wRyBq7d24zFV1xSamOMXUzDAIoBbBRLUcXIR9InNAU+9Pw25V4LW/dX9pLZHYrO5bTuF7i3afBugL6C13DDL/WXw5EYhkjLsCU9yZjiK8GcrIUCYPhSfgK3nPMGo/xVL6uKc1JUQD4cpx9IhOBV4mMCO6acJzaTsKovDWymGaQXDjgNAD2yyOfjBP8suskk2msyPiraKDJPgxx5ObwPFzwaJQY74lSie0OAYa8AtVxzj44iJDEYV3uQTwUxn1Mq5Hn0g41H1CBEHVRtzOUnI4cQ0P8qOruGhouxWj1twbhr2X4l6TAr7QDlXjoMSjSS87j4q5ZgYkjA6bnW1PLNChftroVCdew418Ys/q9xHw8CYkTU3FK4wfMkz3RoZgiHiD5bNQv4umUbJSGxlY2XepL3UNtmFEtaWE9lUkaC52xkYXXdHUTiYVJ+36rWxePl9X2FOuEcXhctG+e6wwHBVBTdUTl134Qdr7nuM3ffNfmyAFccYRDpJMLxKuvVhvOFtvKYCNB/Xkgrpodq4Y3pzUSZ7N8dGvEd05joPek62nHw4rgHUtC1xQN7Qp9omWCBzyEnQ4bQ2uQ/cXGjgb0/q9IN1ajG99zub8pVcocGK7zWF62GpRmavAfeR8PAajtpGvrXkmEISxdodk9g5IZV8p1uVJsGVm1Yt0f9+S3zoUf+cgEKxfZG6Nram51NBqrj3c8kMiDywYmyGROXbsXR43Ov66qdOsI6dkCOXFNES03Bgn1Q7+1xP03alKMX+j5mcBh1B4FIH7dZZquuoj5Tcv1B6ne5W3Npzs14BNL/yKKxQU9F1Ps0hqDCDxMoobBGLrKGNDtwF5m15WCQmxoSBkWiB4e/4U/jRrhaxcy6PmQcvA53Oe3tx0L6p9jZQ55RZSVWZxVAwgLJlQLzFiPVCqjooMMWnabSRbk+V/gU3bGfjYThFPVEJ43B0WeJ3UrO9WGzTECR0+8wmtIcKofJjfUUZ/Pa5uqvRzDitVhhnBIh6vq3XYQmtWoVF0F/2BdjkO8Pv7m+Qc+cwaUZmHYhZj/yEXQVg6zIleTBOLkmo5BM+JhVYJMJFM4t5JpdFrF07sIgfh57+LQwGEoGsNjaTb0DNSdpUoy3dVvUC+mzveH3PQelRvItrAmJFOaRlL9Oj/HVl3mXrGFhqYP0NrcAjJMw0dnMWbLWSkdCDnQAEW0ksPPwCZ9Ll+QNutbK6pZWt0jjw7kZUVdvQ6QKUDPcCPV1eMDCJDsFJw1b2WAXh9HM5ySy0CSKK1PIE8Ea61aIm0rMj7TFf3i0ruxlVmAH6YfuqLmwSy5sjkKb9v47wGOI3ssjTC4BneMBulwv4WpPsEH164hwJgd9y5izUoCeOm+UBEo3fGCS4QUKgDlKweouVIz5J07whG04JViWjERHpIA+2Y0fV1Hktc+rGj2K6xGkSWQaXHr6KwD20h7dj5bAxLpItcX7LMH+Fld7N9XeF6mQNDVWTjRkt00SObpcw+Y+8pEHFeVcr/nUlY9kgLwLwz7eC0eHGdIA3s+SMPAhGNnNhY7ZMVcfDqrMAg5eWHlJiCHRTIfVjNYWrPgTeOmly+N8+NwNrbcjGsHWf4T3AJgAV3ocS+xFXCoLXJ/kvAU86Puv0otlK12kP3pn+BdezO56h6PZ1R9mbT0EilS82cQY8GEsEe+DWwImx+HauEbTn9VkCtKc5m129N5JgXuQ0TcSGFgXYkNWhlukb5t+UhX93VuOA8DoHULBYBAp23DPS9YfP+w3gxlbXgqxrSPxa7py/pyREoL4mS81LMdXaHNQkKef9f3pJ/nNXI0rwRfJJ/KLpuZ1N6RUePpJjy7YqMaFro/CYXDVmv1oXdg8CgoA0iTSz3zIcy0OBKWIciaIMv/+FXeyyJeMRrBX8I7dSnklzZyNUap8ccGbIcvTiuy0//PktxVshNzmUNvyEZBB0PTa1ERwa32CpUz9sweGgaNS9XD4RWybPnsW5Qp6Aqt7+u7e2Ajf25ZRyu0wnvNWm6/OHLV3LNBy5TLSM6+jCjkgZ0TYG8gv7PhQJSotw0926aYkIlm8n43vxcSmsOOFPZ/je7m3Rn0X+FmL6nmM7OqCd4edgBLa+MTnh9vVBKHx8XxWB4LViGWt/ql5vV5i3Ssam3tB/wDEV11gWB0FatSjFLOJskBi3XbMimQmVZwQVxKBGYtdbriYvh8sneIebRFfszPmkRsw+Pgs568QX845jVQqhEkVXlmvTUicyo3Sc2xBKizeJx7yeg7DBg+tduyXOICX5znzRXpp8veuUbtJrkcnGMmD48le8cS3gBrM01kKtmsioWcWAcjQO7GVbL3kYD9fVYoacmSivAlINx+H534gNsDDJAFvoV+mOmkEj8JgExD9T+y+KyHxfpHMAtIxfNziFJkfk+J4wgpBS+nBVeGCawFAVaNvUCVccz/553ex77VtnWIc+n/P+1nV8AjI8so2oMfJjpjVL1389SHVVfOwbhXEO/Yz4kG3yK+85NgJNNRclKdVgvHg+YVsOWWf7Kn9hJIsnkAxWpH5wqLB4u2UfHMPfRbnHz8cqt1T3Bu7uGtG845PUCEy12OU7lUov7YXRBPWGortqJrP2uRlz0WMnfLQ1bl5IbiyKVLI7VCE07YvVkg6Z0jpZ+71mljWOVQVTYdf7SpEYT8Hr7XJ060TPEXowX99erNYhrxdh7DylNwVgrZVt92i4zFXm+WHym2vwR+fj/KUBAsFP1PsLQCzyHxbOQhfd9+vCebnq5ZIlK/NIMu61q7rUAJ53GFhOI7mnP5DqQLG2OHPhbGucpKKfiiF62fgooajexyPD97Z/hol1TGr6PwZsIDXiYXCZ9YPnEYdRNDEsg50mxBanLIqdQnHFqoEem5zz9sIcGRQk1l0fuH25dxQn6miRgLnca98Wd/OEqAwxuZ5VnIcekRr99Fhug+WFuhV0JvqJmO0ddcvHVxN1OKFAaWo4IVJPkwx68ocAvK6bCUBJ5RS4ZNLg6Qy8TtvbuzZOMV8omvxSnwOo8a7h4dY2hiK2svAsY4DZgykQyL2dhx+m2RtQBojufQ88G80YpqL0YjzMiBvIpRdVZlKTF7ULPiWMxJg7Re63HCltZlWQs1M9+3A578W//OgYPoqBE6cPxSclnEQ1/QCUTDN/pT8aG+PQeD3cEK/15/Wm6844OuvKqZHhqrQIooqgHggCgB3y2lyBzz2HyoWdfBWbBE7VMW643nl1qbwwvP3yhvqP+A8FlqgpKU28oW5VVblvxQCgiPCews5GTdIhZemG6X24OKWoMhDQpJpG8I6Hi6zMW4OEVLcQT6tayx29nnOHmafu1B+VVkQhFywKWTHnzSGgTzySkL32keZ3ekBGMr7FowCeV1RjeQxDcDcmHg5MH8KQ8rOIxoVgA8D1TOUpxJvfUuX4UJOGnY2cyYO561x8SBlv6SQHsJJyMiB48I7yfA1ze8T+RZyMGv2dErbJjE7W4bTn3/ijedBq12hW9kR75D/7hWNm1VH1hB88o7jTs++eNM8dJJK8vNIvuWbjTAFUnKbODiPL0RV2tjhxFFk/IMFfj1VH6rlt/bsWusDbfr8jPHYzcLrOmCeH2cjcMdvNqrMJaFv4Ra1qn0ZHvwTctKMK/HzL0yBX8Wp0Xf4ArDRcWMiChjvkoeBHzPcGCwnKP6xas1zU/hEtiM2NO7Pf4DzylDtobJWEG+Ar+s5VTL+YSg0oDOl0/kUBoCz4F0jnjb6yemayE665nG80Tq+K3elKDQmZF/VHOEza2+GjXvnGgx1+1xldQ3CcQvvkITeAGUTwczPx9NC/gYFh7vzxxCOqha8ybY2p44McoCd5W2N9hF5fIGBPNv72xq32vjXoewVM0dH/efMkrE7ZQRxoGWtPLZB+/156pz6HWjs9/d3mkNcKWsWnGLdxR0ZXJaAEyACKicLWHMWvTe6guKiP/4KNJLuLiEeoVbboEHlBMT8gcvqbfy6zWM49APmPEorBGhkbRmsrW4d8IuI/Oj/9u2CBDWjOClEbxH4ohkmeu5+sxhuAYD8ZLm+S1qvApKKp9UDMbgR5bcT4gu0OmPq+WrnFmsGrRBg1FVhmZwlaunldywOnHd1/FDed0ncneunuZMj/onj7c3hBpaEWH37DELD4/7s5zQqQFDTjut1H6Xt7QEBDL2nXnyY/HXxOgdiaG2yxYVaGb3nL/dfV0aIpm3CwkfxLdv8hgiPph+29hZsEGaMmSelHEM3WBhH9S38siF339PKkFH+wkKrKroTZlOoaSt8KbhtRx3gEy0dGIFcIJHmCWHXHu3xJZ2DnMYPHZy3UO/kpnNQpwsH6Xskic0k7Q/Z7KjCJpLRpiKAXq0BYYpdmgbdp4Cgrgk4qFfrApi0EzQ5WS7EKotI3zhcD/LiHlt/ZJhHV5ASe5Y1dQegkDH24Y441fz2C39TQzVe81sDMQW+GYIE9Fd0VpODHkjm6SLJg6AdNrn7oTJZzzPtnh/grTtn31Sn4A+7JkUoJTpNz7uUc2vTN0uzemGRDJwDJVr3O7u3fb+si2aEhjqQNqtYrDZxSK4PvfnHC/QvCx1U7Jm0L6BwSqkI4Ho+fZdsZF/r1YrdyH75Q6VRJ/hgiItGa5TFF9LUXTYE/9GcFGWRzcfpU2QDk7Ecby4xUwdaeLIH6y1Rb0FmDkOucKzD9P3ulPEO7f6Vbojuw7AmuWmqKWtuZXs7FaT2VHZQNFT/rCa3VDtApN750lVLw0e1fU6IMM+YAFwP1Cmqxo19UKH8dYgKd56A/nCmDY1cmaOB3MCvlNe1ur/4CIt1hvsE6baWe2G4/SAT2/YC615JxWe18kQWPsQl0aT9QDMwOLhuffwUlWMHvSR3xFzy/SLZf9FufLDpadjw35GpJ0GHB28TqLRTetRecEuSUtf88Q7DQReClC8RkEvtiOErMfUfSGFNKEZhRkAFHxTGEcchdWsDJPnVca/1P8+wdMLmGwqrwCkHKThuLihCebnpiNUNeJpG4Oec9mvBnUantOLTUg7I1wxGrm2m4EOAdJcZTAso4NOIBGcISpnELYZgTB0/2K/GN16P7n/2DJlg0bUDHfslDF6/9Ep/wS3e+YKMxrxNn6wwmJp8zWx30nWb4MriY3TwpkxR6fe4TURnAG5M6wHlbM+0kFAvF2EfRL1Etq4fbvJ18NqNamN3R6ZhU7rvcoDa3/to7yqzFpa9xIvu6apmbXcn3WnVJqF9CbKIwQg80Cl5LQbtxTldeBOD20J2OS6oe7ieQS3HTNQ4TTDL72tFiSXFKn7/vgX9Ibtp1TDZuSFS8jBAAtP6u22eJ2UPpfAkihFwtr0ydJaG4J14Ggwx3qwSvz04b7Yq5+iU8E6q5Tz+MIvEuV4e8XJvM42a31bhm7QA9dVbxEZdJqEUsWKiUJ4F5N/2vMQqnveKY6OpXS4R6t0Jgnp/CH11XDZ4B8sWtPNSsNlPmF3tYVwJWBeKKxXg5wkYSfhM2juhraY3hfGEinxDazS5fhSh3RCcUsJZGEBCrmOz8xUG/QsPrClAbWR89T5pjHGzI5/c7LM7oqb8v5099qKM3pzfG7AOgB0MI3Cbe/1TGPh5J9v+yqz8fCJROVT5y9+5RvmABSW6I5XoRZqJs9rhr+EwA/hH70UkkX9WHl65T/fl/4Lu7LTZyKXrjs+QS+aTIwE8V3WOY78idvo/jvHRRq/wtnkXSn+G4PI28zZu0zmtN80RzBOP+wFzo/OYAdzPe670heTJRG4h37Hq6dHvLo6zKLlvIthuJ6sQYXMATQUiqP+S2HrvHlIz89AHZTOzt5+HlULGYD91OARyuoqdzcq4fPk6eeJLo10kN8+Lohu0ZuFPddx8C2Pvu5DXfnPalw2OMKfp3eWlihaEM0CX3hobXj+YHe30XSZRFHRPMjpUBjpOpcu6m643dTHnK1vIQLbbR01HY2D3sdKY3btvnRsiX7lHsQPdV+iiVuM8VYTtXwk/PK9SEtWXbsX74Rflu59QJLk9UkJ3gfNymazDeW1e/rMThJV2xKL3a780z0395CWg7vyo7zpBfcRbXJaQ5ka4H5VG/gJgz9KrNmI+wGqmSAzMxBaW+jnYed2zEUup/y3yOCjBtmrOJ9ZjELRYUjUVSJeAr2RGkZzLMx0v3/ZDTqcc0Mh+YOuo6SvoGVdhvqRqt2BaWP40pO2XXC5uPvWufme+68EP/btJMXuK31us7DTGVJ9ha1NICU+NORoyTrWQ7YQZ6POTVadc08s/0RMiavY4UI1oJ0LbFKQhIJS0jxObcZG5kb7SoqapOkfkqZQIdn1Q/swia+q3D0Sjad4r8Z8W7Cvh2H58GS5Dg85siWlQnSYCOCbcDqVssh43F5ZzMY3mgBe7f3UJrBPwF/QpHm/PTgw64lcc4xPgOk2qDyBNrYvnP3tu01PA/bbMSgLsDn/d9c3E7siHbXKSAZGwFSXHCWjQsn0kTb6grmVz3HYcMjaJ510QyG1f+pfmBGwf/z/Wmyghw5+ec9CLmx0a5qZE631c0Omx4zLM4qtNwfqL9SulUUtIsBJgyrdhHjatcKem4mGL186xUxymZw/0Ehh/XnePQmB+o8g0CfmtNzrktfTOz+hbco/Gic6jcQYITR2L9DOa1uoPd1gSRD3AycrowYldUjnmdcbqtoVekQlsIbK/SFTTMWyaTib+ujvtBZ+CQfrFSwLAkx4oXY1mSif24nfjeC8/bRbgwp2sXia/RWrxR10u5d+fuwktQKFmzQl5wuSRfLNSX7KX11Ne4fypzSxOEIA3EyuWHXZZ4f/VVpyD1mQbUrsXf1L9jW8x4m3Rjq/OM19JXrM9bFw/5pOFlc9GzFva8OOHRkVfi791VenBCBAAewCsBLd3Cq2r9Tc42kBpHbaqN9PZUE36bovo+D7O/dxSMluNR0jCV+bV9e5GeqimTajrusBaa0suthFP6xKTv+fM6xgeq1tadMPu0r0XiqAz89rifl+417Vw5YcEVCLGvyBtQ7/HyTaILDffnvBRqs3DOOiigTwh/keT/IzXWBekKNlwmy7bZhDRbPRKJ0FFYWo2WnhQbN5/OK49ztbMHjGQz7yPVdMC70K6zFtlo8+AWwTj3IXEBkSN0hF1M3JhiL+r0hKrQdrYuomKrWoVNXqBOq6Pjkw/7XvD6EVNa4MIUFIlv4ZkgHllWgEPYPupPAsX95eF3JwQRUT/SsAfWGrvLIOSCfWyMJsYFhanEL1JVZF/wpadBcdZPdhW45uXId1cysVn9ya27c7lT9+GjSmemr3+EHDatjXXU6vxOz0Q8WVe0HmewSu/hjjkerRLoE/+OghOATLfAEsCKdD/CpOy8gYlx/ktDJCV9QthHZG18ckgfoJjDetQjNZwRGrsx+4MHjt4DQGmweVYY8/1NH7KMEoaYet3dqKQnjuxxoqTxU9p//MAzKNKv4oKYitYFkKypJNkl2je3PKarkaqdwtAKNhNGYEyp8c7/0yQbXE99latyf3UUMKX0bZlZlqJJhrQ9JJlWEBCjn2HFa4rwj8Q8SVZtvsb12Qzoz1lopPoGs429dagmaEHAgnxppnYGD2di8M8OQu0LhUjrFSfCCubgP8AGS+6FENLiJO0X3r6EZeGeHpwxNeeuGf80oU65Jh+qoyhCly96H2J7AWF+ezvc+tKcwmTo26JJH/Q4vswis5qCMJBB15ezImyTvzKW5GqzSyQD0mvuoYX6fmglx/ERp+cCK4ecCULhGvrr4NRetmQd+ek2Up3CBq5gqQVPH6Vte/3VzpsJApi5o/85BIKF+mrD1mNinIjMYWRnACkCoXbruEURJJn5tuC2zAtFNmyg0bj/6BDwGeh4MlNIz0ZKPNxB/1n6lF6h5AXL6+M0NuLNfJT2D48vpPcQP5virrEp1r4qGQdHykfbVIUwfIUUKtE2eTMLY5/R7xD1hKKRuVi+OQUwzYlHP7i8Wxt/oR68hkgXzfgYqZar67+aIuWe6la55yfrz3IWB4xrDF6NEiF/sckhY3mQxmXxV0Olh9p1MUMeUor/dtkPW20W7ZYs3i5KUqXHy0GDytVD0q5ZtO/oJJY3OX70ktCbJBtEvaNc6bWQQjYo5rWzW6qXHtc2Z8Smixc+WJoUDv95Xapcm5XS9U3lfej1A8l2N94wPsmfPkBTkoVm5UlV9aGZ3UV4bB9fD/VQyW0kwkcm9v0o3ZSrU+d4RP4sSVPQyo7DKAQ9o+3ydKw8bSW+hYOyHUVyU+1uOhpfplJszuja9gU4sZ2BLwjOxgmWFXR8pahjpBlI0VbMeCJhvEPsYp5sWYksYMYkqCiSZpmXGdr5Mpsw4WIZZXw68r5FiX5OfU2iJAO62yicCR2rn6WOSW0pjDI7RW10ij3dXegP5peUxY/44K3dbBt6fMojJ9DkKxVhFx+wnxOyPYaxpksyGNTeZQ5QisUwENoHXf4tzQkw82xVEG2b30LluJMsNk3DjgZygnpmrWKH60Jvh/8qX3Wgt1vGBq1TZLQfB5QTDshUH5su9EYuiyebgxQbPDdoF0ouJN4k7NjUfkhNUlD4pF+yIiN5DtHs0FU27+Rs1yxdxoFamIsDZ7XBEL0Wzhre6IScMWByM+HN1ZLDc7p/4/UhsFBJfNszz+13C5Qs9inGosyfD8REWALqCxNRIZCKgvETpwlLluoNyGDrQbyUhclvgn2Hc70JPh2tlO8Mleq1VjZYTg8hAB6rjzbriyyEaSgv8iGx2H1PSqVORFGY1Lb7kKrrdBckgVoY2gC/iTBzILGX2IvTcyuSH7NUQISI1OCEZJIZ3SZ+IYcr932Uyns91r4heJ+mHw2g1yNWR3euMA6P3nhHNYSwsGsHmkQEtRuB9nukdj8pT1PDJDRx14GCQQ/IYGxVZ8KYuxq3Hvq2ta+0Tf0zWCGISuVkzx4ewI26OFRt6yzIfe4+eR5ynL5DFw6HfRiepdQ6MrsnNzJ//tFBLNf6GImDRJq3UePgM+1lMgYGNazq0gtkr/7487bWyLF/QipB59aewKedDDkxvVeWgeecsxN0++pnDMqHCz5jBej99Flf67TjMOS8AONz24mF85fqLK5IcdrQQttUO1KwuEYEsRD1Fmwwvc0OGMXAOgTibFVGVfGnObvtuOWNr0u20PoalEj+ftB1Ap7IbBos5/8ZoiqP1cxGkVYQdF9LteHNmLZreCFuXRW2C4erERfuZhFzNIqEykSTCU/rIM6mD730QFPBmCY7MD9xt3J7dUsWJr3JVlvLbJyjvVVjcCCBvXYYaFkj8xj9AjuaoqAfofmRl6+LsNQfi/U7PSSbw8b9AZZrAXdyz4PdnqKOTs0uajyxqsatEs5bhS+D8uu8KD0FC6V/64FYn1Xzu2qihn86O6Cb4VEnq+MlNMAMnpAtzicwttw3xMyqXMubT3EJUA76h5FgMdUt4kN9s9YTpJaGHBJfL5SycjicR1cZHIoDNPMJ+QOxDbeCQ3CzyytcZrGQx7Hnf8dC+ZDEMKZKVyajCsD3KjYsVOPCM4tOgP3LddHGJKWp5/+zwX53tgzv/wTtzxSn285PYkkK4ZUCC7GetkRUfN0zaUXaDCI343RH1BisvhhVkFILSR+gDoYz5reqWlOU4PZWGo46acvDxIEk4Wd1wBmG3tSni1Knz8rkcFx6qhGp/Z8Vx60hLXwKig/QZrL3MjN8kc6iGc+gds3a2yr5VmJE7SNy1+iyKgj5YigKExwFCKmhmwaaC0eUPbz4wjPyD2SHWMdll7GQQsebIvH9kmJz+88EbmZ0T7c4PuXK68FYoh9bhx9+yQmF0kHqGOO+WIETbDCdthYwDMAjNTJ+1fljN5HZaTz0SXreBFt5VXxHTB1+cqgBFXM81mCq7Aun5fnVj8jDtz41co6CSezC2VRqDG5u39pFpO8sxx+u3YWz9r0cRkCUClq4MSSP9EsmKbM75uUYf9bmY1mmKgleXoHtJ9MaFVuorZuhx/0bKySrPai4Tv8qHEHbOHM9SAjdRDEPQUD0tm14z8lr2VaIVGUwtXK6MIRqNGHXOjAjlT2ENYIiYlvwEvs3r1uYcC4HDxqkZUIgPuQPd7aPVicKlX4OF/DDkVZ5QF0lAwd5edqWSTfJAphrYq6IWa0SZXDRyQp0SbfsKgQBXA5YUgKazpxusJP/FkSZvOzWEwlgxGJi8R6ojX33S3xy3ASG0iaAg3jqiQMRbIFhGQV3jUPOq32WybtcaWatw+MckHZzxEXX8ovxNgYbHQtmmzlfSC4sqYzQv//0J+AAnWtdWgYhvaAaEDBXZa5RABGK+WM+QZf1nNlpLHHmQg/FHKQJnvyTDGtjIOp7iGM+gum/pwmfejAvt0hx8kFRoxmU4Qy3tMxosZRrfkylHji6fCkWM+sH+HkASWkffIghEwStjfRymclr7IqvypEyZgQTBuVs82VI5gUBrk7ntzcgBOPmK70N2nXvkh915KNRSZtfuU8Rwcu5WFxKk9IV8N9bfJCWsBSSlTJeDOckJoiunJJMrbMD0IIRKg6gP+Femlei5SvWtyEJpudK6KN3ShwhwYzuLAX8vKZTbJcdiXbQ6eBvPrK1N2nTFUNJwQvC0hProcekrmlf2b6x+KD4ncr1xAZywEEa+ciIvFT8wuSvcc6mcsrHP/ZJfJPz9NpfPX9yjojUsUWSgAhf4gpVONs5fRHTi7x4/gr+c4inI8skFdJb0m9yk5vWJrrBbPI0dxwDqNKnPZDcTEugu4aO9ngChnbcp06GzCMwFNbPH5PcD9G/wOa6Znb9X+GhywdFpMD8+HKm0zQKUQFet7HXux/i1GJwxL+aThKyGSW+tBjrPFHEst97uaLAVIKrxCBQUcJWoITPGkLgK5/vjX+RQ18xqN804hyj+EfK5vNvVGhMtUrtPQgyZ2qpsJMxS1c+JKhh4lle8DVsuzBYuKlmiDezb99+FcvK7f2ciQXTh8K6myJ/K+qr/UjADUuju/ZLWR1n4a0Vbk5zme5dKlVm5joSU/eRbsp/3puxUxZeIAA4JPsSM/utRn5l9JRRpPS8Gco1Dymqqq90w3tvBvqT9N8uy39LznDhHaREIbfJLf1clnbiTkRE9HJIIjJYHrScl/KqrkT+u9HqxTdTsNYdqJbTyGrfEKYWbevFWaKQwyTZuPU0cB2+jO9pc5yMAVxAsj42aqOhpH7zULswvuTagJLlxey/tagoetPSLmNusr72VLX1o6GjxKudTCtXA9YkouSP+Uh5sMX+mBI9BsWI2k0u7uDKQIjKpRHxEqHp5GHWYSUcfQePUXEKKXzyCanP6/Yu79zUeyTnZg9cghN5siJmXlIrUo91SCxNpAFinoxKajyDfg36gZ9h1DeFSWKQt5GoSUsR+oomOlKCnsTv7Cfml42E4i/+5jLuWxyvx+MV/ggIMbqkNP8JwlUoQzs02Ncny3dDA5NgWZVhgfzuztdPLRBpeX/GioaZ3Lly7B6D02DXmbNoLF/H4u72DJTSvpZAxiUUrhbYdm1RqC8FU936reulfw9m3RZ3TdsY7Ekx9v/OOCqP6p02lHJP6vgSndmvYxVVQ+btKM4zCxJY3PNdeHL16DREpMNjNi5vQqWGMdLmm9AdtLW+FGwgIr+PTB0S10PVxaUe/lH5byjDuZ99ugPd+nXNm0nzq1Jy14oNS8cTrR8YK9cICLlDtG7adz1bF8ckKZg1Noi4soFc9HyrU7o80M7g+0cS98/A0Y/4mkS3eT7ZcxKvNuUJKQ7vRhUeAHfUxLv8TbXpn4TM9K6XO0gpk121x5WQ/kq37klllk4POLwrD3QNSVUziQnmAO2Rb6/xHNQjB7rxHZCU719WP5+lfPsIMePUgnG9AgE+OjT7vHm42Qe4tyNl0br1cp+wcPUt/CMP5hG2GeGVPfjHptuDa9tNfZCpMenpzR/Q6tBgg9Z1AI8Qppz/x/ZE46uUnDQRPmOZ8XQ+s24q7jEEMqOJ+cRvAZBt3WnQHVdHLWP2GzsGBhNSZATKS6vIMJXjMnnm++aTx+sxh5WAEVEyRXSGFhDOZJXgZbCdrGbUg00kl393Ua1hzvfu2k281Lr5UxMTjG7ZP2rS0ur6bezyioA44xBonB8ZnhvJrGHZuzZ+UDqzJPLuAcjNCjYhg9C98QRzEz3Lu5f5k6qS77teZJkkaFJLOGDQPJtRfGi9fur2V0JdEoyi+MLKZiQAklEDb4sTE9vqJoAvmlyG1haSySF0u3O8YKGdznWsUmVCyg27ryJS+YTeN+ZE/75awWd9hJqxqYL6sjH1hX2ysOpva5m8zrbU68Ah2e1KKzjIrdtqNDY5DLAbmtLFMWUge5tR2B+n61AZgp+Bcp7t4C/Win4B1mqpypO+dohM3Nw8PUNirqjHApf4nhmYGPhLw4N5JEiC8OeEf2VbdqRAIcNJbs3OWKUv6y6UttjbEEP/4GmS6Esu+hyMVYv2fV0P8+kOY8zhvZVOJlUuroCtTH0WUZQb9WnTw6uA1LW1qDjq51RsVduk9LT4YzqlndU4Q4j2lTnun1ELh40u2JljiS5d9RLtBzmXfj1py6We75ngBqNpWg+0L3NWAn1Pp0reimsLIGYpW+KP9tCd7ehAMro7Dv+nQoCJPtxeYnZMNoiFM3zX2R7n77sX9SI4mRhAFLMHL06Dr5Be4iWFpDScA1KTYHkmkNuY4G8TjENQQM2UFk86Gduh+Lv0XVwXjeAM6wUinmW9UaSUgsEIODocJijidXy/xz2+MsMWYrQWLKR/39yAOmBRdzpbN8627TWGcHS2ilpq4h6yAXIm2b8Un8oYktqwdE3JnMAL90xVVbOJgcII3isA1J6Lrx+4Sg6lUGpfiuiIr0Hz/sz5+ujTyqnDf4/RGPaWZWDKaqHwXDVvu0OoDknsm3YeFcmV1kNjzDgFlsuWnqf24HsT02lejhJDuko/ViXIKh4aX6zf0GTn9E09NNrUkiNzJri1nVh8sALghArct8ewCnlp3E8TNlYkcWg1V+GAV5fLbOhkCbd2N2hy8w296/jDf8w5A9VIAAFxvijIY5It+YC5dv7yttFnXNOMbD1WeAEz9ZgVsTDAAplbbd09ZLg/le2ZIgK0RJL2YlwOgfoeVrLXwfwojCqaJz0b1fCUwtddWz5jM6wox082HCyA7qqjc8dh6amM6BXC1NSew48DLIBqAofOLkbV4EDSl/9aq0cfnYuZ7sT8XMKJfH90cnmeVmgZPPuBKbwpB031CpsWnZZfwWxg0OO/HFKOg1kkvPd9llBffFSaXuWornB157lP2O8OXsvdwz4ffNKRaoYhjmk4WNHv+g5XjovlmiFVQJdGK6mnZPFYSJv1MGNsN7bJS8WjyQWpOC/JBt7S57gMRy+KCJCaljSk/wnDDpVx27Hir6X0+HXTmXXtVN6tSLfv0/RKPPSQv70vwJdFdTWPK0um66xtCLEhXfGtjQVsQS9lgFjB4YtYl/X4IwKFftAW5sn51wlVZscK6JhLngrXJ4nJwUAH6czy2b/RUAdcrRMDl3Vx++FZgpDXiPEegdYqt9xMBmLTM704VWgdKuQh5nGcoqq/hPGa8aJfVlgEIv9rnA9HBiuZxlCbiozqrsyeyZ/1sAgU0oiWm0EG3GEgs7RTMeYt9NV9bU67IkcZANrcsG4fcYa6XCklMyjCczp1Egp8gEhWwFFeNwqLbfvMtzSyLAZCoISSD7jNiMX+IoDOJJVR1DTc4ZuY4TbcYKY81vrWKmZ39H0QihiB752V6zZflFSZ9cLnHtEguSPtWIa2F+fXrGdjFja5KmO8uTrgGpo8Q0JBJjw/DYUiW9p+NEJQoDOvCKIMQbjBHWdw0pwc1+n6DqRX4AydxxxfKfXrmP+NvbSckqtTeOGmOMN2MUkC1j0uW9eG5uIRylggbnLvIaujEoHMGXuCP9NEmRggvQnRnmF0qiWDBc12bPu4KPOl/nCYNvYnmhQXlW6Paz1OFyylxhjn50Hi+EosXWJT96u1vMOMi+7sIqkag69BEA/mddQzRGOvIFi4gkDsWSdSWKmaQqzzcLyZgbB2vkNSxg/mre+f6pzqSzmEQC1p26hxhbE2IIRyk8k8OeeCbwWQuiY+pZ7sBYmndQLdliVVrlWtqNPMCO6miZHWuVXplCMVh9zpcs2c/4XMI6NyngR7GqmToRnbxV1UCmFyP9yHI1NBWmNocyZ+QSPSEkflaSMltaw3hHQd+LG9YnuPRz2+QcLC09IksmaL7GqQ8d59BfUNKxEi/nhIn5/3g6xXVIGJjQFb2B6Iw8+mJ40ECA29MRgMhiiC02NnwXNsjiG785hPk28eRVvM0u+7CUkrtDtljmiorLrdC3/AiALDNKSPntR62DXPJOMGqN1HjNa4/A5EgNmGIvrEQXZ7tI8zRU6rVnUVSALHOwdvZ3Hz0KIaL9OpwFjrj6b0dHr0fjsvqyEJrp+qx5wEaAnZToZzu++vx5TVklVcSFLwevHRCugwDhRb1C+bDmrNbzlvCDQlJGubUykfQwQGrJwzKZgDOy9Y5KjJ16W5X1U97+J93GGrrADOuTW5B2BHPeFDSQt4LEX2ZQ5lm+aXJfE/j0MRi/HQuREYkTnUv9oDqFDrOjqyvQQ62cyS41UTFMJXqOcZLbPxk+/4ZYNG9xom3vHeRBqfdqVm+fj2OkOfvZ9BFhqn5rT4/e15xNmwmp+rxNaw+r43fcwF0MwoP4TXi9n0vHTw7vE44zkQlAxLEHKBPe1ZkrGxNPJ1XdsuzEiipiMoOTJLvkoVIBwYB7xi62JsZxXkoXjYSI1sq/GVwSMB/bHL7v188Kz+1UnJ6+V4esxN5J0IKcouZY1PN7y/Dww1sZysuCzoGNX9mRHU6/RDY665GHDFR5EYrFQb4tApxcpPVpkvyDZHHHgZHBkbsTrxzfgyqejWnjnzN5Pvcm/Hj+82/Qmv44bsKhO2194n01r1L5UbrILTtMHRwm8f85ECTu9K1MIWLHPJBuWq5eR7Qxn2+txToWRJ+2Jv/F8TvpseKanI5Azbj+HP3rCe6E8+b9kf9AJWsIdr/Z0yfI5vFEVJjX+YqVl9C8C54g6+uQ3+BujA14QRvQkAA/rZJ6oXHxv512oO3EY9+St9m/bCdrSTxB4eAxrFjS5OTYvLt2/2JTcdjJLkK46LGTs7ScRQlcbSQoZFWKBkxMLe1Hak4P/uuQv2RZUgLft1BNpkeNUEOLXCrE5wKgHVX0OQmIko/L8zA83Gf5Mg6Rqej19v0aj7cGJoUDrom17iGyuVAtDUh0C+fXFCOpmocRNg34AXdXeMjYKHMXJVVa52XX3CjY9Axh23m+wAhe++EwvgoyonB7e3gC9xJ5VxpNty/iQ3zkMtxxWsyqlBX7U2GzrmMhc+yt6/TAWRJ6AdpWsVE3wFu433+Rgizc1AN6ssAYUH30XITw7SfRrHCjrHI+7ARRhrpSkxEGMcEjepmY93gMkFNhC/SIrfEU0/5rSSMFp4Uem5Op3w5kEpfPuZFo3MDMB0Uxvcvi63SecNuKKZ8PVZ4qJDUtU+WXildic/RVMO6hSHqsgUc5vRqG6hB/5IiZRk8yMBc34k2A6MmRM3zNCkLiBCK/5YuEBna5A3e8ygAvJ+sJ8WOfx4UplYEMLX0u8pYmXMFjgZ/fR6wwiihS0bNA+zKjAdO/Z8jbGRaRVadp71m4YkMY+gpuvTRjWOb94DYx2tII7s4hn503G2G8ZDCd1o4OU5VaRaayyFRvtb5PGezrAx7x4mCofgdKb121UBjkJCVfDcbzi0YaHx8HCv6klptml1+wfgZqVRD+fuMC82dis44MsYkn5PALh15ht9tN6ibsXc17gLePcaqIDXf6W50Oa3Sl1GRayd9oq3Yg+4ryQO7VXZZBEZG94ENoXRCOSOSqZ/m+Sw==" title="Mekko Graphics Chart">
            <a:extLst>
              <a:ext uri="{FF2B5EF4-FFF2-40B4-BE49-F238E27FC236}">
                <a16:creationId xmlns:a16="http://schemas.microsoft.com/office/drawing/2014/main" id="{8BA42A52-020D-4CFC-9550-AFC44E7BA4F5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-666902" y="1927813"/>
            <a:ext cx="3782509" cy="3949579"/>
          </a:xfrm>
          <a:prstGeom prst="rect">
            <a:avLst/>
          </a:prstGeom>
          <a:blipFill>
            <a:blip r:embed="rId3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600">
                <a:solidFill>
                  <a:schemeClr val="tx1"/>
                </a:solidFill>
              </a:rPr>
              <a:t>                      </a:t>
            </a:r>
          </a:p>
        </p:txBody>
      </p:sp>
      <p:sp>
        <p:nvSpPr>
          <p:cNvPr id="80" name="btfpCallout300276">
            <a:extLst>
              <a:ext uri="{FF2B5EF4-FFF2-40B4-BE49-F238E27FC236}">
                <a16:creationId xmlns:a16="http://schemas.microsoft.com/office/drawing/2014/main" id="{01A111BE-D17A-4A58-BA5D-9B558548CB21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215834" y="1418293"/>
            <a:ext cx="2017035" cy="468507"/>
          </a:xfrm>
          <a:prstGeom prst="wedgeRectCallout">
            <a:avLst>
              <a:gd name="adj1" fmla="val 44367"/>
              <a:gd name="adj2" fmla="val 79098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73" rIns="91440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GB" sz="1000">
                <a:solidFill>
                  <a:srgbClr val="5C5C5C"/>
                </a:solidFill>
              </a:rPr>
              <a:t>% of positive/ negative mentions out of all mentions of an attribute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8E158CDB-73D2-49F5-B66C-0A6804A15DE4}"/>
              </a:ext>
            </a:extLst>
          </p:cNvPr>
          <p:cNvSpPr txBox="1"/>
          <p:nvPr/>
        </p:nvSpPr>
        <p:spPr bwMode="gray">
          <a:xfrm>
            <a:off x="3193796" y="2169954"/>
            <a:ext cx="34592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000"/>
              <a:t>22%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15450E79-677D-48C3-93CE-3E55BCFBA721}"/>
              </a:ext>
            </a:extLst>
          </p:cNvPr>
          <p:cNvSpPr txBox="1"/>
          <p:nvPr/>
        </p:nvSpPr>
        <p:spPr bwMode="gray">
          <a:xfrm>
            <a:off x="3193796" y="2718386"/>
            <a:ext cx="34592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000"/>
              <a:t>24%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393A5ED-9369-4E95-9DFC-919A713B29FE}"/>
              </a:ext>
            </a:extLst>
          </p:cNvPr>
          <p:cNvSpPr txBox="1"/>
          <p:nvPr/>
        </p:nvSpPr>
        <p:spPr bwMode="gray">
          <a:xfrm>
            <a:off x="3193796" y="3266817"/>
            <a:ext cx="34592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000"/>
              <a:t>49%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490A11A-6EB1-4349-9B7D-8B27E394DCDA}"/>
              </a:ext>
            </a:extLst>
          </p:cNvPr>
          <p:cNvSpPr txBox="1"/>
          <p:nvPr/>
        </p:nvSpPr>
        <p:spPr bwMode="gray">
          <a:xfrm>
            <a:off x="3193796" y="3815248"/>
            <a:ext cx="34592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000"/>
              <a:t>24%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467EFCA1-726C-44D2-A4D4-75F2213F7D07}"/>
              </a:ext>
            </a:extLst>
          </p:cNvPr>
          <p:cNvSpPr txBox="1"/>
          <p:nvPr/>
        </p:nvSpPr>
        <p:spPr bwMode="gray">
          <a:xfrm>
            <a:off x="3193796" y="4363679"/>
            <a:ext cx="34592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000"/>
              <a:t>2%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35C4F158-DD88-44D3-A8CA-8C22F7678EE8}"/>
              </a:ext>
            </a:extLst>
          </p:cNvPr>
          <p:cNvSpPr txBox="1"/>
          <p:nvPr/>
        </p:nvSpPr>
        <p:spPr bwMode="gray">
          <a:xfrm>
            <a:off x="3193796" y="4912110"/>
            <a:ext cx="34592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000"/>
              <a:t>2%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3346F42-C1D2-4742-8B2B-9F82919E4C18}"/>
              </a:ext>
            </a:extLst>
          </p:cNvPr>
          <p:cNvSpPr txBox="1"/>
          <p:nvPr/>
        </p:nvSpPr>
        <p:spPr bwMode="gray">
          <a:xfrm>
            <a:off x="3202761" y="5460543"/>
            <a:ext cx="34592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000"/>
              <a:t>1%</a:t>
            </a:r>
          </a:p>
        </p:txBody>
      </p:sp>
      <p:sp>
        <p:nvSpPr>
          <p:cNvPr id="89" name="btfpCallout300276">
            <a:extLst>
              <a:ext uri="{FF2B5EF4-FFF2-40B4-BE49-F238E27FC236}">
                <a16:creationId xmlns:a16="http://schemas.microsoft.com/office/drawing/2014/main" id="{270A2906-8616-4637-859B-60EC5B655959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2485842" y="1441389"/>
            <a:ext cx="1225882" cy="472368"/>
          </a:xfrm>
          <a:prstGeom prst="wedgeRectCallout">
            <a:avLst>
              <a:gd name="adj1" fmla="val 15530"/>
              <a:gd name="adj2" fmla="val 88223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73" rIns="91440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 algn="ctr">
              <a:spcBef>
                <a:spcPts val="0"/>
              </a:spcBef>
              <a:buNone/>
            </a:pPr>
            <a:r>
              <a:rPr lang="en-GB" sz="900">
                <a:solidFill>
                  <a:srgbClr val="5C5C5C"/>
                </a:solidFill>
              </a:rPr>
              <a:t>Relative importance/ % Target reviews mentioning theme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E571D88-2AEF-4EEB-96A9-ED27ED9A30E9}"/>
              </a:ext>
            </a:extLst>
          </p:cNvPr>
          <p:cNvGrpSpPr/>
          <p:nvPr/>
        </p:nvGrpSpPr>
        <p:grpSpPr>
          <a:xfrm>
            <a:off x="3930792" y="2559001"/>
            <a:ext cx="7926241" cy="701554"/>
            <a:chOff x="3930792" y="2557957"/>
            <a:chExt cx="7926241" cy="701554"/>
          </a:xfrm>
        </p:grpSpPr>
        <p:grpSp>
          <p:nvGrpSpPr>
            <p:cNvPr id="96" name="btfpRowHeaderBox136256">
              <a:extLst>
                <a:ext uri="{FF2B5EF4-FFF2-40B4-BE49-F238E27FC236}">
                  <a16:creationId xmlns:a16="http://schemas.microsoft.com/office/drawing/2014/main" id="{36AA08FD-0045-49F8-B31F-5C3A8D100107}"/>
                </a:ext>
              </a:extLst>
            </p:cNvPr>
            <p:cNvGrpSpPr/>
            <p:nvPr>
              <p:custDataLst>
                <p:tags r:id="rId21"/>
              </p:custDataLst>
            </p:nvPr>
          </p:nvGrpSpPr>
          <p:grpSpPr>
            <a:xfrm>
              <a:off x="3930792" y="2557957"/>
              <a:ext cx="840613" cy="701554"/>
              <a:chOff x="-1182322" y="1726189"/>
              <a:chExt cx="2540000" cy="972979"/>
            </a:xfrm>
          </p:grpSpPr>
          <p:sp>
            <p:nvSpPr>
              <p:cNvPr id="97" name="btfpRowHeaderBoxText136256">
                <a:extLst>
                  <a:ext uri="{FF2B5EF4-FFF2-40B4-BE49-F238E27FC236}">
                    <a16:creationId xmlns:a16="http://schemas.microsoft.com/office/drawing/2014/main" id="{0E3E8FFA-14A9-4D85-8EA5-B109450358E8}"/>
                  </a:ext>
                </a:extLst>
              </p:cNvPr>
              <p:cNvSpPr txBox="1"/>
              <p:nvPr/>
            </p:nvSpPr>
            <p:spPr bwMode="gray">
              <a:xfrm>
                <a:off x="-1182322" y="1726189"/>
                <a:ext cx="2540000" cy="972979"/>
              </a:xfrm>
              <a:prstGeom prst="rect">
                <a:avLst/>
              </a:prstGeom>
              <a:noFill/>
            </p:spPr>
            <p:txBody>
              <a:bodyPr vert="horz" wrap="square" lIns="36036" tIns="36036" rIns="180181" bIns="36036" rtlCol="0" anchor="t">
                <a:noAutofit/>
              </a:bodyPr>
              <a:lstStyle/>
              <a:p>
                <a:pPr marL="0" indent="0">
                  <a:spcBef>
                    <a:spcPts val="0"/>
                  </a:spcBef>
                  <a:buNone/>
                </a:pPr>
                <a:r>
                  <a:rPr lang="en-GB" sz="1000" b="1">
                    <a:solidFill>
                      <a:srgbClr val="83AC9A"/>
                    </a:solidFill>
                  </a:rPr>
                  <a:t>Good taste/ smell</a:t>
                </a:r>
              </a:p>
            </p:txBody>
          </p:sp>
          <p:cxnSp>
            <p:nvCxnSpPr>
              <p:cNvPr id="98" name="btfpRowHeaderBoxLine136256">
                <a:extLst>
                  <a:ext uri="{FF2B5EF4-FFF2-40B4-BE49-F238E27FC236}">
                    <a16:creationId xmlns:a16="http://schemas.microsoft.com/office/drawing/2014/main" id="{38FC1C15-F617-43AD-8183-4BCDAE4DC378}"/>
                  </a:ext>
                </a:extLst>
              </p:cNvPr>
              <p:cNvCxnSpPr/>
              <p:nvPr/>
            </p:nvCxnSpPr>
            <p:spPr bwMode="gray">
              <a:xfrm>
                <a:off x="1357678" y="1726189"/>
                <a:ext cx="0" cy="972979"/>
              </a:xfrm>
              <a:prstGeom prst="line">
                <a:avLst/>
              </a:prstGeom>
              <a:ln w="152400" cap="flat">
                <a:solidFill>
                  <a:srgbClr val="83AC9A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1CF804E7-EBAD-4C7B-9D66-727D335C53C6}"/>
                </a:ext>
              </a:extLst>
            </p:cNvPr>
            <p:cNvGrpSpPr/>
            <p:nvPr/>
          </p:nvGrpSpPr>
          <p:grpSpPr>
            <a:xfrm>
              <a:off x="4890921" y="2557957"/>
              <a:ext cx="6966112" cy="701554"/>
              <a:chOff x="4890921" y="1576649"/>
              <a:chExt cx="6966112" cy="701554"/>
            </a:xfrm>
          </p:grpSpPr>
          <p:sp>
            <p:nvSpPr>
              <p:cNvPr id="100" name="btfpQuoteBox701730">
                <a:extLst>
                  <a:ext uri="{FF2B5EF4-FFF2-40B4-BE49-F238E27FC236}">
                    <a16:creationId xmlns:a16="http://schemas.microsoft.com/office/drawing/2014/main" id="{9E29C9AC-3CA3-431A-A6D9-F68B60CB8046}"/>
                  </a:ext>
                </a:extLst>
              </p:cNvPr>
              <p:cNvSpPr txBox="1"/>
              <p:nvPr>
                <p:custDataLst>
                  <p:tags r:id="rId22"/>
                </p:custDataLst>
              </p:nvPr>
            </p:nvSpPr>
            <p:spPr bwMode="gray">
              <a:xfrm>
                <a:off x="4890921" y="2051539"/>
                <a:ext cx="6966112" cy="226664"/>
              </a:xfrm>
              <a:prstGeom prst="rect">
                <a:avLst/>
              </a:prstGeom>
              <a:noFill/>
            </p:spPr>
            <p:txBody>
              <a:bodyPr vert="horz" wrap="square" lIns="36036" tIns="36036" rIns="36036" bIns="36036" rtlCol="0" anchor="t">
                <a:spAutoFit/>
              </a:bodyPr>
              <a:lstStyle/>
              <a:p>
                <a:pPr marL="90729" indent="-90729">
                  <a:spcBef>
                    <a:spcPts val="0"/>
                  </a:spcBef>
                  <a:buNone/>
                </a:pPr>
                <a:r>
                  <a:rPr lang="en-US" sz="1000" i="1"/>
                  <a:t>“My dog </a:t>
                </a:r>
                <a:r>
                  <a:rPr lang="en-US" sz="1000" b="1" i="1"/>
                  <a:t>eats them like they are treats </a:t>
                </a:r>
                <a:r>
                  <a:rPr lang="en-US" sz="1000" i="1"/>
                  <a:t>so they </a:t>
                </a:r>
                <a:r>
                  <a:rPr lang="en-US" sz="1000" b="1" i="1"/>
                  <a:t>must taste good</a:t>
                </a:r>
                <a:r>
                  <a:rPr lang="en-US" sz="1000" i="1"/>
                  <a:t>. Will not buy again </a:t>
                </a:r>
                <a:r>
                  <a:rPr lang="en-US" sz="1000" i="1" err="1"/>
                  <a:t>bc</a:t>
                </a:r>
                <a:r>
                  <a:rPr lang="en-US" sz="1000" i="1"/>
                  <a:t> it only last 10 days.”</a:t>
                </a:r>
                <a:endParaRPr lang="en-GB" sz="1000" i="1"/>
              </a:p>
            </p:txBody>
          </p:sp>
          <p:sp>
            <p:nvSpPr>
              <p:cNvPr id="101" name="btfpQuoteBox701730">
                <a:extLst>
                  <a:ext uri="{FF2B5EF4-FFF2-40B4-BE49-F238E27FC236}">
                    <a16:creationId xmlns:a16="http://schemas.microsoft.com/office/drawing/2014/main" id="{478DABA4-0332-4767-B45F-512C70BAA9D1}"/>
                  </a:ext>
                </a:extLst>
              </p:cNvPr>
              <p:cNvSpPr txBox="1"/>
              <p:nvPr>
                <p:custDataLst>
                  <p:tags r:id="rId23"/>
                </p:custDataLst>
              </p:nvPr>
            </p:nvSpPr>
            <p:spPr bwMode="gray">
              <a:xfrm>
                <a:off x="4890921" y="1576649"/>
                <a:ext cx="6966112" cy="226664"/>
              </a:xfrm>
              <a:prstGeom prst="rect">
                <a:avLst/>
              </a:prstGeom>
              <a:noFill/>
            </p:spPr>
            <p:txBody>
              <a:bodyPr vert="horz" wrap="square" lIns="36036" tIns="36036" rIns="36036" bIns="36036" rtlCol="0" anchor="t">
                <a:spAutoFit/>
              </a:bodyPr>
              <a:lstStyle/>
              <a:p>
                <a:pPr marL="90729" indent="-90729">
                  <a:spcBef>
                    <a:spcPts val="0"/>
                  </a:spcBef>
                  <a:buNone/>
                </a:pPr>
                <a:r>
                  <a:rPr lang="en-US" sz="1000" i="1"/>
                  <a:t>“</a:t>
                </a:r>
                <a:r>
                  <a:rPr lang="en-US" sz="1000" b="1" i="1"/>
                  <a:t>Delicious favor. </a:t>
                </a:r>
                <a:r>
                  <a:rPr lang="en-US" sz="1000" i="1"/>
                  <a:t>He loves it, every day after his food in the morning he </a:t>
                </a:r>
                <a:r>
                  <a:rPr lang="en-US" sz="1000" b="1" i="1"/>
                  <a:t>asked me for his treats.</a:t>
                </a:r>
                <a:r>
                  <a:rPr lang="en-US" sz="1000" i="1"/>
                  <a:t>”</a:t>
                </a:r>
                <a:endParaRPr lang="en-GB" sz="1000" i="1"/>
              </a:p>
            </p:txBody>
          </p:sp>
          <p:sp>
            <p:nvSpPr>
              <p:cNvPr id="103" name="btfpQuoteBox701730">
                <a:extLst>
                  <a:ext uri="{FF2B5EF4-FFF2-40B4-BE49-F238E27FC236}">
                    <a16:creationId xmlns:a16="http://schemas.microsoft.com/office/drawing/2014/main" id="{1886C426-E96F-4486-9759-9342BF5220D0}"/>
                  </a:ext>
                </a:extLst>
              </p:cNvPr>
              <p:cNvSpPr txBox="1"/>
              <p:nvPr>
                <p:custDataLst>
                  <p:tags r:id="rId24"/>
                </p:custDataLst>
              </p:nvPr>
            </p:nvSpPr>
            <p:spPr bwMode="gray">
              <a:xfrm>
                <a:off x="4890921" y="1814094"/>
                <a:ext cx="6966112" cy="226664"/>
              </a:xfrm>
              <a:prstGeom prst="rect">
                <a:avLst/>
              </a:prstGeom>
              <a:noFill/>
            </p:spPr>
            <p:txBody>
              <a:bodyPr vert="horz" wrap="square" lIns="36036" tIns="36036" rIns="36036" bIns="36036" rtlCol="0" anchor="t">
                <a:spAutoFit/>
              </a:bodyPr>
              <a:lstStyle/>
              <a:p>
                <a:pPr marL="90729" indent="-90729">
                  <a:spcBef>
                    <a:spcPts val="0"/>
                  </a:spcBef>
                  <a:buNone/>
                </a:pPr>
                <a:r>
                  <a:rPr lang="en-US" sz="1000" i="1"/>
                  <a:t>“</a:t>
                </a:r>
                <a:r>
                  <a:rPr lang="en-US" sz="1000" b="1" i="1"/>
                  <a:t>Irresistible flavor </a:t>
                </a:r>
                <a:r>
                  <a:rPr lang="en-US" sz="1000" i="1"/>
                  <a:t>&amp; good for your dog's digestion. | My Pom loves these, </a:t>
                </a:r>
                <a:r>
                  <a:rPr lang="en-US" sz="1000" b="1" i="1"/>
                  <a:t>thinks they are treats</a:t>
                </a:r>
                <a:r>
                  <a:rPr lang="en-US" sz="1000" i="1"/>
                  <a:t>!”</a:t>
                </a:r>
                <a:endParaRPr lang="en-GB" sz="1000" i="1"/>
              </a:p>
            </p:txBody>
          </p: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A10B3AE-44D2-4BF6-8542-37C4B7565990}"/>
              </a:ext>
            </a:extLst>
          </p:cNvPr>
          <p:cNvGrpSpPr/>
          <p:nvPr/>
        </p:nvGrpSpPr>
        <p:grpSpPr>
          <a:xfrm>
            <a:off x="3930792" y="3311265"/>
            <a:ext cx="7926241" cy="1571321"/>
            <a:chOff x="3930792" y="3337215"/>
            <a:chExt cx="7926241" cy="1571321"/>
          </a:xfrm>
        </p:grpSpPr>
        <p:grpSp>
          <p:nvGrpSpPr>
            <p:cNvPr id="104" name="btfpRowHeaderBox136256">
              <a:extLst>
                <a:ext uri="{FF2B5EF4-FFF2-40B4-BE49-F238E27FC236}">
                  <a16:creationId xmlns:a16="http://schemas.microsoft.com/office/drawing/2014/main" id="{A5F631DC-82E9-41C2-83EE-4F2C993EC150}"/>
                </a:ext>
              </a:extLst>
            </p:cNvPr>
            <p:cNvGrpSpPr/>
            <p:nvPr>
              <p:custDataLst>
                <p:tags r:id="rId16"/>
              </p:custDataLst>
            </p:nvPr>
          </p:nvGrpSpPr>
          <p:grpSpPr>
            <a:xfrm>
              <a:off x="3930792" y="3338492"/>
              <a:ext cx="840613" cy="1570044"/>
              <a:chOff x="-1182322" y="1726189"/>
              <a:chExt cx="2540000" cy="972979"/>
            </a:xfrm>
          </p:grpSpPr>
          <p:sp>
            <p:nvSpPr>
              <p:cNvPr id="105" name="btfpRowHeaderBoxText136256">
                <a:extLst>
                  <a:ext uri="{FF2B5EF4-FFF2-40B4-BE49-F238E27FC236}">
                    <a16:creationId xmlns:a16="http://schemas.microsoft.com/office/drawing/2014/main" id="{48843EBA-87E7-4233-BDE5-0CF9A3E3E75C}"/>
                  </a:ext>
                </a:extLst>
              </p:cNvPr>
              <p:cNvSpPr txBox="1"/>
              <p:nvPr/>
            </p:nvSpPr>
            <p:spPr bwMode="gray">
              <a:xfrm>
                <a:off x="-1182322" y="1726189"/>
                <a:ext cx="2540000" cy="972979"/>
              </a:xfrm>
              <a:prstGeom prst="rect">
                <a:avLst/>
              </a:prstGeom>
              <a:noFill/>
            </p:spPr>
            <p:txBody>
              <a:bodyPr vert="horz" wrap="square" lIns="36036" tIns="36036" rIns="180181" bIns="36036" rtlCol="0" anchor="t">
                <a:noAutofit/>
              </a:bodyPr>
              <a:lstStyle/>
              <a:p>
                <a:pPr marL="0" indent="0">
                  <a:spcBef>
                    <a:spcPts val="0"/>
                  </a:spcBef>
                  <a:buNone/>
                </a:pPr>
                <a:r>
                  <a:rPr lang="en-GB" sz="1000" b="1">
                    <a:solidFill>
                      <a:srgbClr val="46647B"/>
                    </a:solidFill>
                  </a:rPr>
                  <a:t>Mixed sentiment on efficacy</a:t>
                </a:r>
              </a:p>
            </p:txBody>
          </p:sp>
          <p:cxnSp>
            <p:nvCxnSpPr>
              <p:cNvPr id="106" name="btfpRowHeaderBoxLine136256">
                <a:extLst>
                  <a:ext uri="{FF2B5EF4-FFF2-40B4-BE49-F238E27FC236}">
                    <a16:creationId xmlns:a16="http://schemas.microsoft.com/office/drawing/2014/main" id="{A9C31116-D16B-452D-B8E9-5B159ABAD561}"/>
                  </a:ext>
                </a:extLst>
              </p:cNvPr>
              <p:cNvCxnSpPr/>
              <p:nvPr/>
            </p:nvCxnSpPr>
            <p:spPr bwMode="gray">
              <a:xfrm>
                <a:off x="1357678" y="1726189"/>
                <a:ext cx="0" cy="972979"/>
              </a:xfrm>
              <a:prstGeom prst="line">
                <a:avLst/>
              </a:prstGeom>
              <a:ln w="152400" cap="flat">
                <a:solidFill>
                  <a:srgbClr val="46647B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7DA16A2-FC51-4DB1-B377-8DEA7979B086}"/>
                </a:ext>
              </a:extLst>
            </p:cNvPr>
            <p:cNvGrpSpPr/>
            <p:nvPr/>
          </p:nvGrpSpPr>
          <p:grpSpPr>
            <a:xfrm>
              <a:off x="4890921" y="3337215"/>
              <a:ext cx="6966112" cy="1570044"/>
              <a:chOff x="4890921" y="3337215"/>
              <a:chExt cx="6966112" cy="1570044"/>
            </a:xfrm>
          </p:grpSpPr>
          <p:sp>
            <p:nvSpPr>
              <p:cNvPr id="111" name="btfpQuoteBox701730">
                <a:extLst>
                  <a:ext uri="{FF2B5EF4-FFF2-40B4-BE49-F238E27FC236}">
                    <a16:creationId xmlns:a16="http://schemas.microsoft.com/office/drawing/2014/main" id="{E1D40397-56B8-430D-953A-88CA3BC83448}"/>
                  </a:ext>
                </a:extLst>
              </p:cNvPr>
              <p:cNvSpPr txBox="1"/>
              <p:nvPr>
                <p:custDataLst>
                  <p:tags r:id="rId17"/>
                </p:custDataLst>
              </p:nvPr>
            </p:nvSpPr>
            <p:spPr bwMode="gray">
              <a:xfrm>
                <a:off x="4890921" y="3337215"/>
                <a:ext cx="6966112" cy="380552"/>
              </a:xfrm>
              <a:prstGeom prst="rect">
                <a:avLst/>
              </a:prstGeom>
              <a:noFill/>
            </p:spPr>
            <p:txBody>
              <a:bodyPr vert="horz" wrap="square" lIns="36036" tIns="36036" rIns="36036" bIns="36036" rtlCol="0" anchor="t">
                <a:spAutoFit/>
              </a:bodyPr>
              <a:lstStyle/>
              <a:p>
                <a:pPr marL="90729" indent="-90729">
                  <a:spcBef>
                    <a:spcPts val="0"/>
                  </a:spcBef>
                  <a:buNone/>
                </a:pPr>
                <a:r>
                  <a:rPr lang="en-US" sz="1000" i="1"/>
                  <a:t>“S</a:t>
                </a:r>
                <a:r>
                  <a:rPr lang="en-US" sz="1000" b="1" i="1"/>
                  <a:t>topped digging and scratching</a:t>
                </a:r>
                <a:r>
                  <a:rPr lang="en-US" sz="1000" i="1"/>
                  <a:t> at himself and seems a lot happier. He loves the flavor and doesn't spit the chew out. This stuff is amazing</a:t>
                </a:r>
                <a:r>
                  <a:rPr lang="en-US" sz="1000" b="1" i="1"/>
                  <a:t>. If it continues to work I will be buying more</a:t>
                </a:r>
                <a:r>
                  <a:rPr lang="en-US" sz="1000" i="1"/>
                  <a:t>.”</a:t>
                </a:r>
              </a:p>
            </p:txBody>
          </p:sp>
          <p:sp>
            <p:nvSpPr>
              <p:cNvPr id="112" name="btfpQuoteBox701730">
                <a:extLst>
                  <a:ext uri="{FF2B5EF4-FFF2-40B4-BE49-F238E27FC236}">
                    <a16:creationId xmlns:a16="http://schemas.microsoft.com/office/drawing/2014/main" id="{D7C6F11B-B1D9-40D6-908B-D8970A5BE0CB}"/>
                  </a:ext>
                </a:extLst>
              </p:cNvPr>
              <p:cNvSpPr txBox="1"/>
              <p:nvPr>
                <p:custDataLst>
                  <p:tags r:id="rId18"/>
                </p:custDataLst>
              </p:nvPr>
            </p:nvSpPr>
            <p:spPr bwMode="gray">
              <a:xfrm>
                <a:off x="4890921" y="3733712"/>
                <a:ext cx="6966112" cy="380552"/>
              </a:xfrm>
              <a:prstGeom prst="rect">
                <a:avLst/>
              </a:prstGeom>
              <a:noFill/>
            </p:spPr>
            <p:txBody>
              <a:bodyPr vert="horz" wrap="square" lIns="36036" tIns="36036" rIns="36036" bIns="36036" rtlCol="0" anchor="t">
                <a:spAutoFit/>
              </a:bodyPr>
              <a:lstStyle/>
              <a:p>
                <a:pPr marL="90729" indent="-90729">
                  <a:spcBef>
                    <a:spcPts val="0"/>
                  </a:spcBef>
                  <a:buNone/>
                </a:pPr>
                <a:r>
                  <a:rPr lang="en-GB" sz="1000" i="1"/>
                  <a:t>“</a:t>
                </a:r>
                <a:r>
                  <a:rPr lang="en-GB" sz="1000" b="1" i="1"/>
                  <a:t>After only three pills </a:t>
                </a:r>
                <a:r>
                  <a:rPr lang="en-GB" sz="1000" i="1"/>
                  <a:t>she has made a </a:t>
                </a:r>
                <a:r>
                  <a:rPr lang="en-GB" sz="1000" b="1" i="1"/>
                  <a:t>complete transition</a:t>
                </a:r>
                <a:r>
                  <a:rPr lang="en-GB" sz="1000" i="1"/>
                  <a:t>. The itching is so minimal now it's barely noticeable. There is a </a:t>
                </a:r>
                <a:r>
                  <a:rPr lang="en-GB" sz="1000" b="1" i="1"/>
                  <a:t>noticeable difference that her prescribed medication has never done</a:t>
                </a:r>
                <a:r>
                  <a:rPr lang="en-GB" sz="1000" i="1"/>
                  <a:t>.”</a:t>
                </a:r>
              </a:p>
            </p:txBody>
          </p:sp>
          <p:sp>
            <p:nvSpPr>
              <p:cNvPr id="113" name="btfpQuoteBox701730">
                <a:extLst>
                  <a:ext uri="{FF2B5EF4-FFF2-40B4-BE49-F238E27FC236}">
                    <a16:creationId xmlns:a16="http://schemas.microsoft.com/office/drawing/2014/main" id="{EE370B43-3BF1-4C64-8CC9-5385F8F3AB9F}"/>
                  </a:ext>
                </a:extLst>
              </p:cNvPr>
              <p:cNvSpPr txBox="1"/>
              <p:nvPr>
                <p:custDataLst>
                  <p:tags r:id="rId19"/>
                </p:custDataLst>
              </p:nvPr>
            </p:nvSpPr>
            <p:spPr bwMode="gray">
              <a:xfrm>
                <a:off x="4890921" y="4130209"/>
                <a:ext cx="6966112" cy="226664"/>
              </a:xfrm>
              <a:prstGeom prst="rect">
                <a:avLst/>
              </a:prstGeom>
              <a:noFill/>
            </p:spPr>
            <p:txBody>
              <a:bodyPr vert="horz" wrap="square" lIns="36036" tIns="36036" rIns="36036" bIns="36036" rtlCol="0" anchor="t">
                <a:spAutoFit/>
              </a:bodyPr>
              <a:lstStyle/>
              <a:p>
                <a:pPr marL="90729" indent="-90729">
                  <a:spcBef>
                    <a:spcPts val="0"/>
                  </a:spcBef>
                  <a:buNone/>
                </a:pPr>
                <a:r>
                  <a:rPr lang="en-GB" sz="1000" i="1"/>
                  <a:t>“</a:t>
                </a:r>
                <a:r>
                  <a:rPr lang="en-US" sz="1000" b="1" i="1"/>
                  <a:t>Did not work for us</a:t>
                </a:r>
                <a:r>
                  <a:rPr lang="en-US" sz="1000" i="1"/>
                  <a:t>. | Our dog likes the chew but we have </a:t>
                </a:r>
                <a:r>
                  <a:rPr lang="en-US" sz="1000" b="1" i="1"/>
                  <a:t>not seen any signs of the itching letting up </a:t>
                </a:r>
                <a:r>
                  <a:rPr lang="en-US" sz="1000" i="1"/>
                  <a:t>at all.”</a:t>
                </a:r>
                <a:endParaRPr lang="en-GB" sz="1000" i="1"/>
              </a:p>
            </p:txBody>
          </p:sp>
          <p:sp>
            <p:nvSpPr>
              <p:cNvPr id="114" name="btfpQuoteBox701730">
                <a:extLst>
                  <a:ext uri="{FF2B5EF4-FFF2-40B4-BE49-F238E27FC236}">
                    <a16:creationId xmlns:a16="http://schemas.microsoft.com/office/drawing/2014/main" id="{CEF545C9-44CD-46C9-9EE3-026AE064A8F9}"/>
                  </a:ext>
                </a:extLst>
              </p:cNvPr>
              <p:cNvSpPr txBox="1"/>
              <p:nvPr>
                <p:custDataLst>
                  <p:tags r:id="rId20"/>
                </p:custDataLst>
              </p:nvPr>
            </p:nvSpPr>
            <p:spPr bwMode="gray">
              <a:xfrm>
                <a:off x="4890921" y="4372818"/>
                <a:ext cx="6966112" cy="534441"/>
              </a:xfrm>
              <a:prstGeom prst="rect">
                <a:avLst/>
              </a:prstGeom>
              <a:noFill/>
            </p:spPr>
            <p:txBody>
              <a:bodyPr vert="horz" wrap="square" lIns="36036" tIns="36036" rIns="36036" bIns="36036" rtlCol="0" anchor="t">
                <a:spAutoFit/>
              </a:bodyPr>
              <a:lstStyle/>
              <a:p>
                <a:pPr marL="90729" indent="-90729">
                  <a:spcBef>
                    <a:spcPts val="0"/>
                  </a:spcBef>
                  <a:buNone/>
                </a:pPr>
                <a:r>
                  <a:rPr lang="en-US" sz="1000" i="1"/>
                  <a:t>“</a:t>
                </a:r>
                <a:r>
                  <a:rPr lang="en-US" sz="1000" b="1" i="1"/>
                  <a:t>Didn't see the promised relief </a:t>
                </a:r>
                <a:r>
                  <a:rPr lang="en-US" sz="1000" i="1"/>
                  <a:t>| I bought this expensive product only by the promise that the itching &amp; scratching would stop once the dogs gets the prebiotic their gut needs and didn't happen. </a:t>
                </a:r>
                <a:r>
                  <a:rPr lang="en-US" sz="1000" b="1" i="1"/>
                  <a:t>Just the opposite: her scratching got worse</a:t>
                </a:r>
                <a:r>
                  <a:rPr lang="en-US" sz="1000" i="1"/>
                  <a:t>. After gave it a shot, I'm not going to waste almost $40 a month for a </a:t>
                </a:r>
                <a:r>
                  <a:rPr lang="en-US" sz="1000" b="1" i="1"/>
                  <a:t>product that doesn't work</a:t>
                </a:r>
                <a:r>
                  <a:rPr lang="en-US" sz="1000" i="1"/>
                  <a:t>. Disappointed!:</a:t>
                </a:r>
                <a:endParaRPr lang="en-GB" sz="1000" i="1"/>
              </a:p>
            </p:txBody>
          </p: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0F49A3-8D46-4649-97F6-0FA1D8F74062}"/>
              </a:ext>
            </a:extLst>
          </p:cNvPr>
          <p:cNvGrpSpPr/>
          <p:nvPr/>
        </p:nvGrpSpPr>
        <p:grpSpPr>
          <a:xfrm>
            <a:off x="3930792" y="4933295"/>
            <a:ext cx="7926241" cy="1350757"/>
            <a:chOff x="3930792" y="4971395"/>
            <a:chExt cx="7926241" cy="1350757"/>
          </a:xfrm>
        </p:grpSpPr>
        <p:grpSp>
          <p:nvGrpSpPr>
            <p:cNvPr id="115" name="btfpRowHeaderBox136256">
              <a:extLst>
                <a:ext uri="{FF2B5EF4-FFF2-40B4-BE49-F238E27FC236}">
                  <a16:creationId xmlns:a16="http://schemas.microsoft.com/office/drawing/2014/main" id="{EEEAB1E6-6FEE-4193-9F19-F5C268CD8BD9}"/>
                </a:ext>
              </a:extLst>
            </p:cNvPr>
            <p:cNvGrpSpPr/>
            <p:nvPr>
              <p:custDataLst>
                <p:tags r:id="rId11"/>
              </p:custDataLst>
            </p:nvPr>
          </p:nvGrpSpPr>
          <p:grpSpPr>
            <a:xfrm>
              <a:off x="3930792" y="4972672"/>
              <a:ext cx="840613" cy="1349480"/>
              <a:chOff x="-1182322" y="1726189"/>
              <a:chExt cx="2540000" cy="972979"/>
            </a:xfrm>
          </p:grpSpPr>
          <p:sp>
            <p:nvSpPr>
              <p:cNvPr id="116" name="btfpRowHeaderBoxText136256">
                <a:extLst>
                  <a:ext uri="{FF2B5EF4-FFF2-40B4-BE49-F238E27FC236}">
                    <a16:creationId xmlns:a16="http://schemas.microsoft.com/office/drawing/2014/main" id="{71F5CDCE-5F94-411A-89B7-672D1D09585B}"/>
                  </a:ext>
                </a:extLst>
              </p:cNvPr>
              <p:cNvSpPr txBox="1"/>
              <p:nvPr/>
            </p:nvSpPr>
            <p:spPr bwMode="gray">
              <a:xfrm>
                <a:off x="-1182322" y="1726189"/>
                <a:ext cx="2540000" cy="972979"/>
              </a:xfrm>
              <a:prstGeom prst="rect">
                <a:avLst/>
              </a:prstGeom>
              <a:noFill/>
            </p:spPr>
            <p:txBody>
              <a:bodyPr vert="horz" wrap="square" lIns="36036" tIns="36036" rIns="180181" bIns="36036" rtlCol="0" anchor="t">
                <a:noAutofit/>
              </a:bodyPr>
              <a:lstStyle/>
              <a:p>
                <a:pPr marL="0" indent="0">
                  <a:spcBef>
                    <a:spcPts val="0"/>
                  </a:spcBef>
                  <a:buNone/>
                </a:pPr>
                <a:r>
                  <a:rPr lang="en-GB" sz="1000" b="1">
                    <a:solidFill>
                      <a:srgbClr val="990000"/>
                    </a:solidFill>
                  </a:rPr>
                  <a:t>Not value for money</a:t>
                </a:r>
              </a:p>
            </p:txBody>
          </p:sp>
          <p:cxnSp>
            <p:nvCxnSpPr>
              <p:cNvPr id="117" name="btfpRowHeaderBoxLine136256">
                <a:extLst>
                  <a:ext uri="{FF2B5EF4-FFF2-40B4-BE49-F238E27FC236}">
                    <a16:creationId xmlns:a16="http://schemas.microsoft.com/office/drawing/2014/main" id="{F3AA8E8F-6D83-49C7-AD54-6B3B6A807B1C}"/>
                  </a:ext>
                </a:extLst>
              </p:cNvPr>
              <p:cNvCxnSpPr/>
              <p:nvPr/>
            </p:nvCxnSpPr>
            <p:spPr bwMode="gray">
              <a:xfrm>
                <a:off x="1357678" y="1726189"/>
                <a:ext cx="0" cy="972979"/>
              </a:xfrm>
              <a:prstGeom prst="line">
                <a:avLst/>
              </a:prstGeom>
              <a:ln w="152400" cap="flat">
                <a:solidFill>
                  <a:srgbClr val="990000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9559934B-F5FD-4F48-AC3B-7A803D0A7AB5}"/>
                </a:ext>
              </a:extLst>
            </p:cNvPr>
            <p:cNvGrpSpPr/>
            <p:nvPr/>
          </p:nvGrpSpPr>
          <p:grpSpPr>
            <a:xfrm>
              <a:off x="4890921" y="4971395"/>
              <a:ext cx="6966112" cy="1349480"/>
              <a:chOff x="4890921" y="3337215"/>
              <a:chExt cx="6966112" cy="1349480"/>
            </a:xfrm>
          </p:grpSpPr>
          <p:sp>
            <p:nvSpPr>
              <p:cNvPr id="119" name="btfpQuoteBox701730">
                <a:extLst>
                  <a:ext uri="{FF2B5EF4-FFF2-40B4-BE49-F238E27FC236}">
                    <a16:creationId xmlns:a16="http://schemas.microsoft.com/office/drawing/2014/main" id="{1C1F7220-413C-47CD-BAFC-67E28600686E}"/>
                  </a:ext>
                </a:extLst>
              </p:cNvPr>
              <p:cNvSpPr txBox="1"/>
              <p:nvPr>
                <p:custDataLst>
                  <p:tags r:id="rId12"/>
                </p:custDataLst>
              </p:nvPr>
            </p:nvSpPr>
            <p:spPr bwMode="gray">
              <a:xfrm>
                <a:off x="4890921" y="3337215"/>
                <a:ext cx="6966112" cy="380552"/>
              </a:xfrm>
              <a:prstGeom prst="rect">
                <a:avLst/>
              </a:prstGeom>
              <a:noFill/>
            </p:spPr>
            <p:txBody>
              <a:bodyPr vert="horz" wrap="square" lIns="36036" tIns="36036" rIns="36036" bIns="36036" rtlCol="0" anchor="t">
                <a:spAutoFit/>
              </a:bodyPr>
              <a:lstStyle/>
              <a:p>
                <a:pPr marL="90729" indent="-90729">
                  <a:spcBef>
                    <a:spcPts val="0"/>
                  </a:spcBef>
                  <a:buNone/>
                </a:pPr>
                <a:r>
                  <a:rPr lang="en-GB" sz="1000" i="1"/>
                  <a:t>“Disappointed in this product. </a:t>
                </a:r>
                <a:r>
                  <a:rPr lang="en-GB" sz="1000" b="1" i="1"/>
                  <a:t>Not worth the money and very expensive</a:t>
                </a:r>
                <a:r>
                  <a:rPr lang="en-GB" sz="1000" i="1"/>
                  <a:t> for a 55lb dog. It recommends 3 chews per day so </a:t>
                </a:r>
                <a:r>
                  <a:rPr lang="en-GB" sz="1000" b="1" i="1"/>
                  <a:t>a $40+ canister only lasted a couple weeks</a:t>
                </a:r>
                <a:r>
                  <a:rPr lang="en-GB" sz="1000" i="1"/>
                  <a:t>.”</a:t>
                </a:r>
              </a:p>
            </p:txBody>
          </p:sp>
          <p:sp>
            <p:nvSpPr>
              <p:cNvPr id="120" name="btfpQuoteBox701730">
                <a:extLst>
                  <a:ext uri="{FF2B5EF4-FFF2-40B4-BE49-F238E27FC236}">
                    <a16:creationId xmlns:a16="http://schemas.microsoft.com/office/drawing/2014/main" id="{5CAD3FF4-0EAB-462F-9105-B722138F41EC}"/>
                  </a:ext>
                </a:extLst>
              </p:cNvPr>
              <p:cNvSpPr txBox="1"/>
              <p:nvPr>
                <p:custDataLst>
                  <p:tags r:id="rId13"/>
                </p:custDataLst>
              </p:nvPr>
            </p:nvSpPr>
            <p:spPr bwMode="gray">
              <a:xfrm>
                <a:off x="4890921" y="3711487"/>
                <a:ext cx="6966112" cy="226664"/>
              </a:xfrm>
              <a:prstGeom prst="rect">
                <a:avLst/>
              </a:prstGeom>
              <a:noFill/>
            </p:spPr>
            <p:txBody>
              <a:bodyPr vert="horz" wrap="square" lIns="36036" tIns="36036" rIns="36036" bIns="36036" rtlCol="0" anchor="t">
                <a:spAutoFit/>
              </a:bodyPr>
              <a:lstStyle/>
              <a:p>
                <a:pPr marL="90729" indent="-90729">
                  <a:spcBef>
                    <a:spcPts val="0"/>
                  </a:spcBef>
                  <a:buNone/>
                </a:pPr>
                <a:r>
                  <a:rPr lang="en-GB" sz="1000" i="1"/>
                  <a:t>“</a:t>
                </a:r>
                <a:r>
                  <a:rPr lang="en-GB" sz="1000" b="1" i="1"/>
                  <a:t>B</a:t>
                </a:r>
                <a:r>
                  <a:rPr lang="en-US" sz="1000" b="1" i="1"/>
                  <a:t>it pricey </a:t>
                </a:r>
                <a:r>
                  <a:rPr lang="en-US" sz="1000" i="1"/>
                  <a:t>as he needs 2 chews a day and there are 30 chews in a bottle; we are </a:t>
                </a:r>
                <a:r>
                  <a:rPr lang="en-US" sz="1000" b="1" i="1"/>
                  <a:t>spending $66 per month</a:t>
                </a:r>
                <a:r>
                  <a:rPr lang="en-US" sz="1000" i="1"/>
                  <a:t>.”</a:t>
                </a:r>
              </a:p>
            </p:txBody>
          </p:sp>
          <p:sp>
            <p:nvSpPr>
              <p:cNvPr id="121" name="btfpQuoteBox701730">
                <a:extLst>
                  <a:ext uri="{FF2B5EF4-FFF2-40B4-BE49-F238E27FC236}">
                    <a16:creationId xmlns:a16="http://schemas.microsoft.com/office/drawing/2014/main" id="{2B7AECCA-9111-4530-8112-45C77A031211}"/>
                  </a:ext>
                </a:extLst>
              </p:cNvPr>
              <p:cNvSpPr txBox="1"/>
              <p:nvPr>
                <p:custDataLst>
                  <p:tags r:id="rId14"/>
                </p:custDataLst>
              </p:nvPr>
            </p:nvSpPr>
            <p:spPr bwMode="gray">
              <a:xfrm>
                <a:off x="4890921" y="3931871"/>
                <a:ext cx="6966112" cy="380552"/>
              </a:xfrm>
              <a:prstGeom prst="rect">
                <a:avLst/>
              </a:prstGeom>
              <a:noFill/>
            </p:spPr>
            <p:txBody>
              <a:bodyPr vert="horz" wrap="square" lIns="36036" tIns="36036" rIns="36036" bIns="36036" rtlCol="0" anchor="t">
                <a:spAutoFit/>
              </a:bodyPr>
              <a:lstStyle/>
              <a:p>
                <a:pPr marL="90729" indent="-90729">
                  <a:spcBef>
                    <a:spcPts val="0"/>
                  </a:spcBef>
                  <a:buNone/>
                </a:pPr>
                <a:r>
                  <a:rPr lang="en-GB" sz="1000" i="1"/>
                  <a:t>“</a:t>
                </a:r>
                <a:r>
                  <a:rPr lang="en-GB" sz="1000" b="1" i="1"/>
                  <a:t>D</a:t>
                </a:r>
                <a:r>
                  <a:rPr lang="en-US" sz="1000" b="1" i="1"/>
                  <a:t>o not think this product is a good value</a:t>
                </a:r>
                <a:r>
                  <a:rPr lang="en-US" sz="1000" i="1"/>
                  <a:t>… has 30 chews in it for $36.95. The </a:t>
                </a:r>
                <a:r>
                  <a:rPr lang="en-US" sz="1000" b="1" i="1"/>
                  <a:t>jar is very small </a:t>
                </a:r>
                <a:r>
                  <a:rPr lang="en-US" sz="1000" i="1"/>
                  <a:t>4.2oz…  I think </a:t>
                </a:r>
                <a:r>
                  <a:rPr lang="en-US" sz="1000" i="1" err="1"/>
                  <a:t>i</a:t>
                </a:r>
                <a:r>
                  <a:rPr lang="en-US" sz="1000" i="1"/>
                  <a:t> will look for more cost effective product</a:t>
                </a:r>
                <a:r>
                  <a:rPr lang="en-US" sz="1000" b="1" i="1"/>
                  <a:t> </a:t>
                </a:r>
                <a:r>
                  <a:rPr lang="en-US" sz="1000" i="1"/>
                  <a:t>or just get the ingredients and make them myself. </a:t>
                </a:r>
                <a:r>
                  <a:rPr lang="en-US" sz="1000" i="1" err="1"/>
                  <a:t>Im</a:t>
                </a:r>
                <a:r>
                  <a:rPr lang="en-US" sz="1000" i="1"/>
                  <a:t> sure it </a:t>
                </a:r>
                <a:r>
                  <a:rPr lang="en-US" sz="1000" b="1" i="1"/>
                  <a:t>wont cost 1.23/ piece</a:t>
                </a:r>
                <a:r>
                  <a:rPr lang="en-US" sz="1000" i="1"/>
                  <a:t>”</a:t>
                </a:r>
                <a:endParaRPr lang="en-GB" sz="1000" i="1"/>
              </a:p>
            </p:txBody>
          </p:sp>
          <p:sp>
            <p:nvSpPr>
              <p:cNvPr id="122" name="btfpQuoteBox701730">
                <a:extLst>
                  <a:ext uri="{FF2B5EF4-FFF2-40B4-BE49-F238E27FC236}">
                    <a16:creationId xmlns:a16="http://schemas.microsoft.com/office/drawing/2014/main" id="{B2B2B2D6-E46F-4AE2-A344-797B9683C342}"/>
                  </a:ext>
                </a:extLst>
              </p:cNvPr>
              <p:cNvSpPr txBox="1"/>
              <p:nvPr>
                <p:custDataLst>
                  <p:tags r:id="rId15"/>
                </p:custDataLst>
              </p:nvPr>
            </p:nvSpPr>
            <p:spPr bwMode="gray">
              <a:xfrm>
                <a:off x="4890921" y="4306143"/>
                <a:ext cx="6966112" cy="380552"/>
              </a:xfrm>
              <a:prstGeom prst="rect">
                <a:avLst/>
              </a:prstGeom>
              <a:noFill/>
            </p:spPr>
            <p:txBody>
              <a:bodyPr vert="horz" wrap="square" lIns="36036" tIns="36036" rIns="36036" bIns="36036" rtlCol="0" anchor="t">
                <a:spAutoFit/>
              </a:bodyPr>
              <a:lstStyle/>
              <a:p>
                <a:pPr marL="90729" indent="-90729">
                  <a:spcBef>
                    <a:spcPts val="0"/>
                  </a:spcBef>
                  <a:buNone/>
                </a:pPr>
                <a:r>
                  <a:rPr lang="en-GB" sz="1000" i="1"/>
                  <a:t>“Can not see if this works as 3 chews a day only supplied me with 10 days. </a:t>
                </a:r>
                <a:r>
                  <a:rPr lang="en-GB" sz="1000" b="1" i="1"/>
                  <a:t>$38 is outrageous. They need to make this more affordable for large dogs.</a:t>
                </a:r>
                <a:r>
                  <a:rPr lang="en-GB" sz="1000" i="1"/>
                  <a:t>”</a:t>
                </a:r>
              </a:p>
            </p:txBody>
          </p:sp>
        </p:grpSp>
      </p:grpSp>
      <p:grpSp>
        <p:nvGrpSpPr>
          <p:cNvPr id="73" name="btfpStatusSticker187283">
            <a:extLst>
              <a:ext uri="{FF2B5EF4-FFF2-40B4-BE49-F238E27FC236}">
                <a16:creationId xmlns:a16="http://schemas.microsoft.com/office/drawing/2014/main" id="{6FA6119D-D40F-4C7A-B24D-0128DF55387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10787146" y="955344"/>
            <a:ext cx="1074654" cy="235611"/>
            <a:chOff x="10787146" y="955344"/>
            <a:chExt cx="1074654" cy="235611"/>
          </a:xfrm>
        </p:grpSpPr>
        <p:sp>
          <p:nvSpPr>
            <p:cNvPr id="74" name="btfpStatusStickerText187283">
              <a:extLst>
                <a:ext uri="{FF2B5EF4-FFF2-40B4-BE49-F238E27FC236}">
                  <a16:creationId xmlns:a16="http://schemas.microsoft.com/office/drawing/2014/main" id="{0C2061F5-7EA1-4DC8-8D92-A0B15F3122AE}"/>
                </a:ext>
              </a:extLst>
            </p:cNvPr>
            <p:cNvSpPr txBox="1"/>
            <p:nvPr/>
          </p:nvSpPr>
          <p:spPr bwMode="gray">
            <a:xfrm>
              <a:off x="10787146" y="955344"/>
              <a:ext cx="107465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Backup</a:t>
              </a:r>
            </a:p>
          </p:txBody>
        </p:sp>
        <p:cxnSp>
          <p:nvCxnSpPr>
            <p:cNvPr id="75" name="btfpStatusStickerLine187283">
              <a:extLst>
                <a:ext uri="{FF2B5EF4-FFF2-40B4-BE49-F238E27FC236}">
                  <a16:creationId xmlns:a16="http://schemas.microsoft.com/office/drawing/2014/main" id="{5F8678EC-A6BC-4012-892C-FF4C94702AF9}"/>
                </a:ext>
              </a:extLst>
            </p:cNvPr>
            <p:cNvCxnSpPr/>
            <p:nvPr/>
          </p:nvCxnSpPr>
          <p:spPr bwMode="gray">
            <a:xfrm rot="720000">
              <a:off x="10787146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0" name="CommentBox">
            <a:extLst>
              <a:ext uri="{FF2B5EF4-FFF2-40B4-BE49-F238E27FC236}">
                <a16:creationId xmlns:a16="http://schemas.microsoft.com/office/drawing/2014/main" id="{3DAC0187-5848-43C5-A197-B23A69A90583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5728447" y="6347012"/>
            <a:ext cx="6463553" cy="504147"/>
          </a:xfrm>
          <a:prstGeom prst="wedgeRoundRectCallout">
            <a:avLst>
              <a:gd name="adj1" fmla="val -40000"/>
              <a:gd name="adj2" fmla="val 40000"/>
              <a:gd name="adj3" fmla="val 16667"/>
            </a:avLst>
          </a:prstGeom>
          <a:solidFill>
            <a:srgbClr val="46647B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900" err="1">
                <a:solidFill>
                  <a:schemeClr val="bg1"/>
                </a:solidFill>
                <a:latin typeface="Verdana" panose="020B0604030504040204" pitchFamily="34" charset="0"/>
              </a:rPr>
              <a:t>Webdata</a:t>
            </a:r>
            <a:r>
              <a:rPr lang="en-US" sz="900">
                <a:solidFill>
                  <a:schemeClr val="bg1"/>
                </a:solidFill>
                <a:latin typeface="Verdana" panose="020B0604030504040204" pitchFamily="34" charset="0"/>
              </a:rPr>
              <a:t> </a:t>
            </a:r>
            <a:r>
              <a:rPr lang="en-US" sz="900" err="1">
                <a:solidFill>
                  <a:schemeClr val="bg1"/>
                </a:solidFill>
                <a:latin typeface="Verdana" panose="020B0604030504040204" pitchFamily="34" charset="0"/>
              </a:rPr>
              <a:t>CoE</a:t>
            </a:r>
            <a:r>
              <a:rPr lang="en-US" sz="900">
                <a:solidFill>
                  <a:schemeClr val="bg1"/>
                </a:solidFill>
                <a:latin typeface="Verdana" panose="020B0604030504040204" pitchFamily="34" charset="0"/>
              </a:rPr>
              <a:t> (</a:t>
            </a:r>
            <a:r>
              <a:rPr lang="en-US" sz="900">
                <a:solidFill>
                  <a:schemeClr val="bg1"/>
                </a:solidFill>
                <a:latin typeface="Verdana" panose="020B0604030504040204" pitchFamily="34" charset="0"/>
                <a:hlinkClick r:id="rId3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bdata@bain.com</a:t>
            </a:r>
            <a:r>
              <a:rPr lang="en-US" sz="900">
                <a:solidFill>
                  <a:srgbClr val="FFFFFF"/>
                </a:solidFill>
                <a:latin typeface="Verdana" panose="020B0604030504040204" pitchFamily="34" charset="0"/>
              </a:rPr>
              <a:t>) supports with the data scrap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900" b="1">
                <a:solidFill>
                  <a:srgbClr val="FFFFFF"/>
                </a:solidFill>
                <a:latin typeface="Verdana" panose="020B0604030504040204" pitchFamily="34" charset="0"/>
              </a:rPr>
              <a:t>Turnaround time: </a:t>
            </a:r>
            <a:r>
              <a:rPr lang="en-US" sz="900">
                <a:solidFill>
                  <a:srgbClr val="FFFFFF"/>
                </a:solidFill>
                <a:latin typeface="Verdana" panose="020B0604030504040204" pitchFamily="34" charset="0"/>
              </a:rPr>
              <a:t>~1-2 days for the data; after scrape ~1-2 days for BCN analysis (exact timelines as per scope)</a:t>
            </a:r>
          </a:p>
        </p:txBody>
      </p:sp>
      <p:grpSp>
        <p:nvGrpSpPr>
          <p:cNvPr id="76" name="btfpRunningAgenda2Level283164">
            <a:extLst>
              <a:ext uri="{FF2B5EF4-FFF2-40B4-BE49-F238E27FC236}">
                <a16:creationId xmlns:a16="http://schemas.microsoft.com/office/drawing/2014/main" id="{4AB608FE-8E87-43EF-8AF9-B8D24F975844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0" y="944429"/>
            <a:ext cx="7595831" cy="257442"/>
            <a:chOff x="0" y="944429"/>
            <a:chExt cx="7861944" cy="257442"/>
          </a:xfrm>
        </p:grpSpPr>
        <p:sp>
          <p:nvSpPr>
            <p:cNvPr id="91" name="btfpRunningAgenda2LevelBarLeft283164">
              <a:extLst>
                <a:ext uri="{FF2B5EF4-FFF2-40B4-BE49-F238E27FC236}">
                  <a16:creationId xmlns:a16="http://schemas.microsoft.com/office/drawing/2014/main" id="{DDA6C84F-AECF-49D8-8328-B21E072E752F}"/>
                </a:ext>
              </a:extLst>
            </p:cNvPr>
            <p:cNvSpPr/>
            <p:nvPr/>
          </p:nvSpPr>
          <p:spPr bwMode="gray">
            <a:xfrm>
              <a:off x="0" y="944429"/>
              <a:ext cx="3758697" cy="257442"/>
            </a:xfrm>
            <a:custGeom>
              <a:avLst/>
              <a:gdLst>
                <a:gd name="connsiteX0" fmla="*/ 3351608 w 4901562"/>
                <a:gd name="connsiteY0" fmla="*/ 0 h 257442"/>
                <a:gd name="connsiteX1" fmla="*/ 4901562 w 4901562"/>
                <a:gd name="connsiteY1" fmla="*/ 0 h 257442"/>
                <a:gd name="connsiteX2" fmla="*/ 4846841 w 4901562"/>
                <a:gd name="connsiteY2" fmla="*/ 257442 h 257442"/>
                <a:gd name="connsiteX3" fmla="*/ 0 w 4901562"/>
                <a:gd name="connsiteY3" fmla="*/ 257442 h 257442"/>
                <a:gd name="connsiteX0" fmla="*/ 3351608 w 4846841"/>
                <a:gd name="connsiteY0" fmla="*/ 0 h 257442"/>
                <a:gd name="connsiteX1" fmla="*/ 3294971 w 4846841"/>
                <a:gd name="connsiteY1" fmla="*/ 257442 h 257442"/>
                <a:gd name="connsiteX2" fmla="*/ 4846841 w 4846841"/>
                <a:gd name="connsiteY2" fmla="*/ 257442 h 257442"/>
                <a:gd name="connsiteX3" fmla="*/ 0 w 4846841"/>
                <a:gd name="connsiteY3" fmla="*/ 257442 h 257442"/>
                <a:gd name="connsiteX0" fmla="*/ 3351608 w 3351608"/>
                <a:gd name="connsiteY0" fmla="*/ 0 h 257442"/>
                <a:gd name="connsiteX1" fmla="*/ 3294971 w 3351608"/>
                <a:gd name="connsiteY1" fmla="*/ 257442 h 257442"/>
                <a:gd name="connsiteX2" fmla="*/ 1 w 3351608"/>
                <a:gd name="connsiteY2" fmla="*/ 257442 h 257442"/>
                <a:gd name="connsiteX3" fmla="*/ 0 w 3351608"/>
                <a:gd name="connsiteY3" fmla="*/ 257442 h 257442"/>
                <a:gd name="connsiteX0" fmla="*/ 3351607 w 3351607"/>
                <a:gd name="connsiteY0" fmla="*/ 0 h 257442"/>
                <a:gd name="connsiteX1" fmla="*/ 3294970 w 3351607"/>
                <a:gd name="connsiteY1" fmla="*/ 257442 h 257442"/>
                <a:gd name="connsiteX2" fmla="*/ 0 w 3351607"/>
                <a:gd name="connsiteY2" fmla="*/ 257442 h 257442"/>
                <a:gd name="connsiteX3" fmla="*/ 0 w 3351607"/>
                <a:gd name="connsiteY3" fmla="*/ 0 h 257442"/>
                <a:gd name="connsiteX0" fmla="*/ 3203942 w 3294970"/>
                <a:gd name="connsiteY0" fmla="*/ 0 h 257442"/>
                <a:gd name="connsiteX1" fmla="*/ 3294970 w 3294970"/>
                <a:gd name="connsiteY1" fmla="*/ 257442 h 257442"/>
                <a:gd name="connsiteX2" fmla="*/ 0 w 3294970"/>
                <a:gd name="connsiteY2" fmla="*/ 257442 h 257442"/>
                <a:gd name="connsiteX3" fmla="*/ 0 w 3294970"/>
                <a:gd name="connsiteY3" fmla="*/ 0 h 257442"/>
                <a:gd name="connsiteX0" fmla="*/ 3203942 w 3203942"/>
                <a:gd name="connsiteY0" fmla="*/ 0 h 257442"/>
                <a:gd name="connsiteX1" fmla="*/ 3147304 w 3203942"/>
                <a:gd name="connsiteY1" fmla="*/ 257442 h 257442"/>
                <a:gd name="connsiteX2" fmla="*/ 0 w 3203942"/>
                <a:gd name="connsiteY2" fmla="*/ 257442 h 257442"/>
                <a:gd name="connsiteX3" fmla="*/ 0 w 3203942"/>
                <a:gd name="connsiteY3" fmla="*/ 0 h 257442"/>
                <a:gd name="connsiteX0" fmla="*/ 3203942 w 3203942"/>
                <a:gd name="connsiteY0" fmla="*/ 0 h 257442"/>
                <a:gd name="connsiteX1" fmla="*/ 3147304 w 3203942"/>
                <a:gd name="connsiteY1" fmla="*/ 257442 h 257442"/>
                <a:gd name="connsiteX2" fmla="*/ 1 w 3203942"/>
                <a:gd name="connsiteY2" fmla="*/ 257442 h 257442"/>
                <a:gd name="connsiteX3" fmla="*/ 0 w 3203942"/>
                <a:gd name="connsiteY3" fmla="*/ 0 h 257442"/>
                <a:gd name="connsiteX0" fmla="*/ 3203941 w 3203941"/>
                <a:gd name="connsiteY0" fmla="*/ 0 h 257442"/>
                <a:gd name="connsiteX1" fmla="*/ 3147303 w 3203941"/>
                <a:gd name="connsiteY1" fmla="*/ 257442 h 257442"/>
                <a:gd name="connsiteX2" fmla="*/ 0 w 3203941"/>
                <a:gd name="connsiteY2" fmla="*/ 257442 h 257442"/>
                <a:gd name="connsiteX3" fmla="*/ 0 w 3203941"/>
                <a:gd name="connsiteY3" fmla="*/ 0 h 257442"/>
                <a:gd name="connsiteX0" fmla="*/ 3351607 w 3351607"/>
                <a:gd name="connsiteY0" fmla="*/ 0 h 257442"/>
                <a:gd name="connsiteX1" fmla="*/ 3147303 w 3351607"/>
                <a:gd name="connsiteY1" fmla="*/ 257442 h 257442"/>
                <a:gd name="connsiteX2" fmla="*/ 0 w 3351607"/>
                <a:gd name="connsiteY2" fmla="*/ 257442 h 257442"/>
                <a:gd name="connsiteX3" fmla="*/ 0 w 3351607"/>
                <a:gd name="connsiteY3" fmla="*/ 0 h 257442"/>
                <a:gd name="connsiteX0" fmla="*/ 3351607 w 3351607"/>
                <a:gd name="connsiteY0" fmla="*/ 0 h 257442"/>
                <a:gd name="connsiteX1" fmla="*/ 3294969 w 3351607"/>
                <a:gd name="connsiteY1" fmla="*/ 257442 h 257442"/>
                <a:gd name="connsiteX2" fmla="*/ 0 w 3351607"/>
                <a:gd name="connsiteY2" fmla="*/ 257442 h 257442"/>
                <a:gd name="connsiteX3" fmla="*/ 0 w 3351607"/>
                <a:gd name="connsiteY3" fmla="*/ 0 h 257442"/>
                <a:gd name="connsiteX0" fmla="*/ 3351608 w 3351608"/>
                <a:gd name="connsiteY0" fmla="*/ 0 h 257442"/>
                <a:gd name="connsiteX1" fmla="*/ 3294970 w 3351608"/>
                <a:gd name="connsiteY1" fmla="*/ 257442 h 257442"/>
                <a:gd name="connsiteX2" fmla="*/ 0 w 3351608"/>
                <a:gd name="connsiteY2" fmla="*/ 257442 h 257442"/>
                <a:gd name="connsiteX3" fmla="*/ 1 w 3351608"/>
                <a:gd name="connsiteY3" fmla="*/ 0 h 257442"/>
                <a:gd name="connsiteX0" fmla="*/ 3351608 w 3351608"/>
                <a:gd name="connsiteY0" fmla="*/ 0 h 257442"/>
                <a:gd name="connsiteX1" fmla="*/ 3294970 w 3351608"/>
                <a:gd name="connsiteY1" fmla="*/ 257442 h 257442"/>
                <a:gd name="connsiteX2" fmla="*/ 0 w 3351608"/>
                <a:gd name="connsiteY2" fmla="*/ 257442 h 257442"/>
                <a:gd name="connsiteX3" fmla="*/ 0 w 3351608"/>
                <a:gd name="connsiteY3" fmla="*/ 0 h 257442"/>
                <a:gd name="connsiteX0" fmla="*/ 3504251 w 3504251"/>
                <a:gd name="connsiteY0" fmla="*/ 0 h 257442"/>
                <a:gd name="connsiteX1" fmla="*/ 3294970 w 3504251"/>
                <a:gd name="connsiteY1" fmla="*/ 257442 h 257442"/>
                <a:gd name="connsiteX2" fmla="*/ 0 w 3504251"/>
                <a:gd name="connsiteY2" fmla="*/ 257442 h 257442"/>
                <a:gd name="connsiteX3" fmla="*/ 0 w 3504251"/>
                <a:gd name="connsiteY3" fmla="*/ 0 h 257442"/>
                <a:gd name="connsiteX0" fmla="*/ 3504251 w 3504251"/>
                <a:gd name="connsiteY0" fmla="*/ 0 h 257442"/>
                <a:gd name="connsiteX1" fmla="*/ 3447613 w 3504251"/>
                <a:gd name="connsiteY1" fmla="*/ 257442 h 257442"/>
                <a:gd name="connsiteX2" fmla="*/ 0 w 3504251"/>
                <a:gd name="connsiteY2" fmla="*/ 257442 h 257442"/>
                <a:gd name="connsiteX3" fmla="*/ 0 w 3504251"/>
                <a:gd name="connsiteY3" fmla="*/ 0 h 257442"/>
                <a:gd name="connsiteX0" fmla="*/ 3504251 w 3504251"/>
                <a:gd name="connsiteY0" fmla="*/ 0 h 257442"/>
                <a:gd name="connsiteX1" fmla="*/ 3447613 w 3504251"/>
                <a:gd name="connsiteY1" fmla="*/ 257442 h 257442"/>
                <a:gd name="connsiteX2" fmla="*/ 0 w 3504251"/>
                <a:gd name="connsiteY2" fmla="*/ 257442 h 257442"/>
                <a:gd name="connsiteX3" fmla="*/ 0 w 3504251"/>
                <a:gd name="connsiteY3" fmla="*/ 0 h 257442"/>
                <a:gd name="connsiteX0" fmla="*/ 3504251 w 3504251"/>
                <a:gd name="connsiteY0" fmla="*/ 0 h 257442"/>
                <a:gd name="connsiteX1" fmla="*/ 3447613 w 3504251"/>
                <a:gd name="connsiteY1" fmla="*/ 257442 h 257442"/>
                <a:gd name="connsiteX2" fmla="*/ 0 w 3504251"/>
                <a:gd name="connsiteY2" fmla="*/ 257442 h 257442"/>
                <a:gd name="connsiteX3" fmla="*/ 0 w 3504251"/>
                <a:gd name="connsiteY3" fmla="*/ 0 h 257442"/>
                <a:gd name="connsiteX0" fmla="*/ 3673022 w 3673022"/>
                <a:gd name="connsiteY0" fmla="*/ 0 h 257442"/>
                <a:gd name="connsiteX1" fmla="*/ 3447613 w 3673022"/>
                <a:gd name="connsiteY1" fmla="*/ 257442 h 257442"/>
                <a:gd name="connsiteX2" fmla="*/ 0 w 3673022"/>
                <a:gd name="connsiteY2" fmla="*/ 257442 h 257442"/>
                <a:gd name="connsiteX3" fmla="*/ 0 w 3673022"/>
                <a:gd name="connsiteY3" fmla="*/ 0 h 257442"/>
                <a:gd name="connsiteX0" fmla="*/ 3673022 w 3673022"/>
                <a:gd name="connsiteY0" fmla="*/ 0 h 257442"/>
                <a:gd name="connsiteX1" fmla="*/ 3616384 w 3673022"/>
                <a:gd name="connsiteY1" fmla="*/ 257442 h 257442"/>
                <a:gd name="connsiteX2" fmla="*/ 0 w 3673022"/>
                <a:gd name="connsiteY2" fmla="*/ 257442 h 257442"/>
                <a:gd name="connsiteX3" fmla="*/ 0 w 3673022"/>
                <a:gd name="connsiteY3" fmla="*/ 0 h 257442"/>
                <a:gd name="connsiteX0" fmla="*/ 3673022 w 3673022"/>
                <a:gd name="connsiteY0" fmla="*/ 0 h 257442"/>
                <a:gd name="connsiteX1" fmla="*/ 3616384 w 3673022"/>
                <a:gd name="connsiteY1" fmla="*/ 257442 h 257442"/>
                <a:gd name="connsiteX2" fmla="*/ 0 w 3673022"/>
                <a:gd name="connsiteY2" fmla="*/ 257442 h 257442"/>
                <a:gd name="connsiteX3" fmla="*/ 0 w 3673022"/>
                <a:gd name="connsiteY3" fmla="*/ 0 h 257442"/>
                <a:gd name="connsiteX0" fmla="*/ 3673022 w 3673022"/>
                <a:gd name="connsiteY0" fmla="*/ 0 h 257442"/>
                <a:gd name="connsiteX1" fmla="*/ 3616384 w 3673022"/>
                <a:gd name="connsiteY1" fmla="*/ 257442 h 257442"/>
                <a:gd name="connsiteX2" fmla="*/ 0 w 3673022"/>
                <a:gd name="connsiteY2" fmla="*/ 257442 h 257442"/>
                <a:gd name="connsiteX3" fmla="*/ 0 w 3673022"/>
                <a:gd name="connsiteY3" fmla="*/ 0 h 257442"/>
                <a:gd name="connsiteX0" fmla="*/ 2651573 w 3616384"/>
                <a:gd name="connsiteY0" fmla="*/ 0 h 257442"/>
                <a:gd name="connsiteX1" fmla="*/ 3616384 w 3616384"/>
                <a:gd name="connsiteY1" fmla="*/ 257442 h 257442"/>
                <a:gd name="connsiteX2" fmla="*/ 0 w 3616384"/>
                <a:gd name="connsiteY2" fmla="*/ 257442 h 257442"/>
                <a:gd name="connsiteX3" fmla="*/ 0 w 3616384"/>
                <a:gd name="connsiteY3" fmla="*/ 0 h 257442"/>
                <a:gd name="connsiteX0" fmla="*/ 2651573 w 2651573"/>
                <a:gd name="connsiteY0" fmla="*/ 0 h 257442"/>
                <a:gd name="connsiteX1" fmla="*/ 2594936 w 2651573"/>
                <a:gd name="connsiteY1" fmla="*/ 257442 h 257442"/>
                <a:gd name="connsiteX2" fmla="*/ 0 w 2651573"/>
                <a:gd name="connsiteY2" fmla="*/ 257442 h 257442"/>
                <a:gd name="connsiteX3" fmla="*/ 0 w 2651573"/>
                <a:gd name="connsiteY3" fmla="*/ 0 h 257442"/>
                <a:gd name="connsiteX0" fmla="*/ 2651573 w 2651573"/>
                <a:gd name="connsiteY0" fmla="*/ 0 h 257442"/>
                <a:gd name="connsiteX1" fmla="*/ 2594936 w 2651573"/>
                <a:gd name="connsiteY1" fmla="*/ 257442 h 257442"/>
                <a:gd name="connsiteX2" fmla="*/ 1 w 2651573"/>
                <a:gd name="connsiteY2" fmla="*/ 257442 h 257442"/>
                <a:gd name="connsiteX3" fmla="*/ 0 w 2651573"/>
                <a:gd name="connsiteY3" fmla="*/ 0 h 257442"/>
                <a:gd name="connsiteX0" fmla="*/ 2651572 w 2651572"/>
                <a:gd name="connsiteY0" fmla="*/ 0 h 257442"/>
                <a:gd name="connsiteX1" fmla="*/ 2594935 w 2651572"/>
                <a:gd name="connsiteY1" fmla="*/ 257442 h 257442"/>
                <a:gd name="connsiteX2" fmla="*/ 0 w 2651572"/>
                <a:gd name="connsiteY2" fmla="*/ 257442 h 257442"/>
                <a:gd name="connsiteX3" fmla="*/ 0 w 2651572"/>
                <a:gd name="connsiteY3" fmla="*/ 0 h 257442"/>
                <a:gd name="connsiteX0" fmla="*/ 2764397 w 2764397"/>
                <a:gd name="connsiteY0" fmla="*/ 0 h 257442"/>
                <a:gd name="connsiteX1" fmla="*/ 2594935 w 2764397"/>
                <a:gd name="connsiteY1" fmla="*/ 257442 h 257442"/>
                <a:gd name="connsiteX2" fmla="*/ 0 w 2764397"/>
                <a:gd name="connsiteY2" fmla="*/ 257442 h 257442"/>
                <a:gd name="connsiteX3" fmla="*/ 0 w 2764397"/>
                <a:gd name="connsiteY3" fmla="*/ 0 h 257442"/>
                <a:gd name="connsiteX0" fmla="*/ 2764397 w 2764397"/>
                <a:gd name="connsiteY0" fmla="*/ 0 h 257442"/>
                <a:gd name="connsiteX1" fmla="*/ 2707759 w 2764397"/>
                <a:gd name="connsiteY1" fmla="*/ 257442 h 257442"/>
                <a:gd name="connsiteX2" fmla="*/ 0 w 2764397"/>
                <a:gd name="connsiteY2" fmla="*/ 257442 h 257442"/>
                <a:gd name="connsiteX3" fmla="*/ 0 w 2764397"/>
                <a:gd name="connsiteY3" fmla="*/ 0 h 257442"/>
                <a:gd name="connsiteX0" fmla="*/ 2764397 w 2764397"/>
                <a:gd name="connsiteY0" fmla="*/ 0 h 257442"/>
                <a:gd name="connsiteX1" fmla="*/ 2707759 w 2764397"/>
                <a:gd name="connsiteY1" fmla="*/ 257442 h 257442"/>
                <a:gd name="connsiteX2" fmla="*/ 0 w 2764397"/>
                <a:gd name="connsiteY2" fmla="*/ 257442 h 257442"/>
                <a:gd name="connsiteX3" fmla="*/ 0 w 2764397"/>
                <a:gd name="connsiteY3" fmla="*/ 0 h 257442"/>
                <a:gd name="connsiteX0" fmla="*/ 2764397 w 2764397"/>
                <a:gd name="connsiteY0" fmla="*/ 0 h 257442"/>
                <a:gd name="connsiteX1" fmla="*/ 2707759 w 2764397"/>
                <a:gd name="connsiteY1" fmla="*/ 257442 h 257442"/>
                <a:gd name="connsiteX2" fmla="*/ 0 w 2764397"/>
                <a:gd name="connsiteY2" fmla="*/ 257442 h 257442"/>
                <a:gd name="connsiteX3" fmla="*/ 0 w 2764397"/>
                <a:gd name="connsiteY3" fmla="*/ 0 h 257442"/>
                <a:gd name="connsiteX0" fmla="*/ 2912063 w 2912063"/>
                <a:gd name="connsiteY0" fmla="*/ 0 h 257442"/>
                <a:gd name="connsiteX1" fmla="*/ 2707759 w 2912063"/>
                <a:gd name="connsiteY1" fmla="*/ 257442 h 257442"/>
                <a:gd name="connsiteX2" fmla="*/ 0 w 2912063"/>
                <a:gd name="connsiteY2" fmla="*/ 257442 h 257442"/>
                <a:gd name="connsiteX3" fmla="*/ 0 w 2912063"/>
                <a:gd name="connsiteY3" fmla="*/ 0 h 257442"/>
                <a:gd name="connsiteX0" fmla="*/ 2912063 w 2912063"/>
                <a:gd name="connsiteY0" fmla="*/ 0 h 257442"/>
                <a:gd name="connsiteX1" fmla="*/ 2855425 w 2912063"/>
                <a:gd name="connsiteY1" fmla="*/ 257442 h 257442"/>
                <a:gd name="connsiteX2" fmla="*/ 0 w 2912063"/>
                <a:gd name="connsiteY2" fmla="*/ 257442 h 257442"/>
                <a:gd name="connsiteX3" fmla="*/ 0 w 2912063"/>
                <a:gd name="connsiteY3" fmla="*/ 0 h 257442"/>
                <a:gd name="connsiteX0" fmla="*/ 2912063 w 2912063"/>
                <a:gd name="connsiteY0" fmla="*/ 0 h 257442"/>
                <a:gd name="connsiteX1" fmla="*/ 2855425 w 2912063"/>
                <a:gd name="connsiteY1" fmla="*/ 257442 h 257442"/>
                <a:gd name="connsiteX2" fmla="*/ 0 w 2912063"/>
                <a:gd name="connsiteY2" fmla="*/ 257442 h 257442"/>
                <a:gd name="connsiteX3" fmla="*/ 0 w 2912063"/>
                <a:gd name="connsiteY3" fmla="*/ 0 h 257442"/>
                <a:gd name="connsiteX0" fmla="*/ 2912063 w 2912063"/>
                <a:gd name="connsiteY0" fmla="*/ 0 h 257442"/>
                <a:gd name="connsiteX1" fmla="*/ 2855425 w 2912063"/>
                <a:gd name="connsiteY1" fmla="*/ 257442 h 257442"/>
                <a:gd name="connsiteX2" fmla="*/ 0 w 2912063"/>
                <a:gd name="connsiteY2" fmla="*/ 257442 h 257442"/>
                <a:gd name="connsiteX3" fmla="*/ 0 w 2912063"/>
                <a:gd name="connsiteY3" fmla="*/ 0 h 257442"/>
                <a:gd name="connsiteX0" fmla="*/ 3010683 w 3010683"/>
                <a:gd name="connsiteY0" fmla="*/ 0 h 257442"/>
                <a:gd name="connsiteX1" fmla="*/ 2855425 w 3010683"/>
                <a:gd name="connsiteY1" fmla="*/ 257442 h 257442"/>
                <a:gd name="connsiteX2" fmla="*/ 0 w 3010683"/>
                <a:gd name="connsiteY2" fmla="*/ 257442 h 257442"/>
                <a:gd name="connsiteX3" fmla="*/ 0 w 3010683"/>
                <a:gd name="connsiteY3" fmla="*/ 0 h 257442"/>
                <a:gd name="connsiteX0" fmla="*/ 3010683 w 3010683"/>
                <a:gd name="connsiteY0" fmla="*/ 0 h 257442"/>
                <a:gd name="connsiteX1" fmla="*/ 2954045 w 3010683"/>
                <a:gd name="connsiteY1" fmla="*/ 257442 h 257442"/>
                <a:gd name="connsiteX2" fmla="*/ 0 w 3010683"/>
                <a:gd name="connsiteY2" fmla="*/ 257442 h 257442"/>
                <a:gd name="connsiteX3" fmla="*/ 0 w 3010683"/>
                <a:gd name="connsiteY3" fmla="*/ 0 h 257442"/>
                <a:gd name="connsiteX0" fmla="*/ 3010683 w 3010683"/>
                <a:gd name="connsiteY0" fmla="*/ 0 h 257442"/>
                <a:gd name="connsiteX1" fmla="*/ 2954045 w 3010683"/>
                <a:gd name="connsiteY1" fmla="*/ 257442 h 257442"/>
                <a:gd name="connsiteX2" fmla="*/ 0 w 3010683"/>
                <a:gd name="connsiteY2" fmla="*/ 257442 h 257442"/>
                <a:gd name="connsiteX3" fmla="*/ 0 w 3010683"/>
                <a:gd name="connsiteY3" fmla="*/ 0 h 257442"/>
                <a:gd name="connsiteX0" fmla="*/ 3010683 w 3010683"/>
                <a:gd name="connsiteY0" fmla="*/ 0 h 257442"/>
                <a:gd name="connsiteX1" fmla="*/ 2954045 w 3010683"/>
                <a:gd name="connsiteY1" fmla="*/ 257442 h 257442"/>
                <a:gd name="connsiteX2" fmla="*/ 0 w 3010683"/>
                <a:gd name="connsiteY2" fmla="*/ 257442 h 257442"/>
                <a:gd name="connsiteX3" fmla="*/ 0 w 3010683"/>
                <a:gd name="connsiteY3" fmla="*/ 0 h 257442"/>
                <a:gd name="connsiteX0" fmla="*/ 3218543 w 3218543"/>
                <a:gd name="connsiteY0" fmla="*/ 0 h 257442"/>
                <a:gd name="connsiteX1" fmla="*/ 2954045 w 3218543"/>
                <a:gd name="connsiteY1" fmla="*/ 257442 h 257442"/>
                <a:gd name="connsiteX2" fmla="*/ 0 w 3218543"/>
                <a:gd name="connsiteY2" fmla="*/ 257442 h 257442"/>
                <a:gd name="connsiteX3" fmla="*/ 0 w 3218543"/>
                <a:gd name="connsiteY3" fmla="*/ 0 h 257442"/>
                <a:gd name="connsiteX0" fmla="*/ 3218543 w 3218543"/>
                <a:gd name="connsiteY0" fmla="*/ 0 h 257442"/>
                <a:gd name="connsiteX1" fmla="*/ 3161905 w 3218543"/>
                <a:gd name="connsiteY1" fmla="*/ 257442 h 257442"/>
                <a:gd name="connsiteX2" fmla="*/ 0 w 3218543"/>
                <a:gd name="connsiteY2" fmla="*/ 257442 h 257442"/>
                <a:gd name="connsiteX3" fmla="*/ 0 w 3218543"/>
                <a:gd name="connsiteY3" fmla="*/ 0 h 257442"/>
                <a:gd name="connsiteX0" fmla="*/ 3218543 w 3218543"/>
                <a:gd name="connsiteY0" fmla="*/ 0 h 257442"/>
                <a:gd name="connsiteX1" fmla="*/ 3161905 w 3218543"/>
                <a:gd name="connsiteY1" fmla="*/ 257442 h 257442"/>
                <a:gd name="connsiteX2" fmla="*/ 0 w 3218543"/>
                <a:gd name="connsiteY2" fmla="*/ 257442 h 257442"/>
                <a:gd name="connsiteX3" fmla="*/ 0 w 3218543"/>
                <a:gd name="connsiteY3" fmla="*/ 0 h 257442"/>
                <a:gd name="connsiteX0" fmla="*/ 3218543 w 3218543"/>
                <a:gd name="connsiteY0" fmla="*/ 0 h 257442"/>
                <a:gd name="connsiteX1" fmla="*/ 3161905 w 3218543"/>
                <a:gd name="connsiteY1" fmla="*/ 257442 h 257442"/>
                <a:gd name="connsiteX2" fmla="*/ 0 w 3218543"/>
                <a:gd name="connsiteY2" fmla="*/ 257442 h 257442"/>
                <a:gd name="connsiteX3" fmla="*/ 0 w 3218543"/>
                <a:gd name="connsiteY3" fmla="*/ 0 h 257442"/>
                <a:gd name="connsiteX0" fmla="*/ 3393220 w 3393220"/>
                <a:gd name="connsiteY0" fmla="*/ 0 h 257442"/>
                <a:gd name="connsiteX1" fmla="*/ 3161905 w 3393220"/>
                <a:gd name="connsiteY1" fmla="*/ 257442 h 257442"/>
                <a:gd name="connsiteX2" fmla="*/ 0 w 3393220"/>
                <a:gd name="connsiteY2" fmla="*/ 257442 h 257442"/>
                <a:gd name="connsiteX3" fmla="*/ 0 w 3393220"/>
                <a:gd name="connsiteY3" fmla="*/ 0 h 257442"/>
                <a:gd name="connsiteX0" fmla="*/ 3393220 w 3393220"/>
                <a:gd name="connsiteY0" fmla="*/ 0 h 257442"/>
                <a:gd name="connsiteX1" fmla="*/ 3336582 w 3393220"/>
                <a:gd name="connsiteY1" fmla="*/ 257442 h 257442"/>
                <a:gd name="connsiteX2" fmla="*/ 0 w 3393220"/>
                <a:gd name="connsiteY2" fmla="*/ 257442 h 257442"/>
                <a:gd name="connsiteX3" fmla="*/ 0 w 3393220"/>
                <a:gd name="connsiteY3" fmla="*/ 0 h 257442"/>
                <a:gd name="connsiteX0" fmla="*/ 3393220 w 3393220"/>
                <a:gd name="connsiteY0" fmla="*/ 0 h 257442"/>
                <a:gd name="connsiteX1" fmla="*/ 3336582 w 3393220"/>
                <a:gd name="connsiteY1" fmla="*/ 257442 h 257442"/>
                <a:gd name="connsiteX2" fmla="*/ 0 w 3393220"/>
                <a:gd name="connsiteY2" fmla="*/ 257442 h 257442"/>
                <a:gd name="connsiteX3" fmla="*/ 0 w 3393220"/>
                <a:gd name="connsiteY3" fmla="*/ 0 h 257442"/>
                <a:gd name="connsiteX0" fmla="*/ 3393220 w 3393220"/>
                <a:gd name="connsiteY0" fmla="*/ 0 h 257442"/>
                <a:gd name="connsiteX1" fmla="*/ 3336582 w 3393220"/>
                <a:gd name="connsiteY1" fmla="*/ 257442 h 257442"/>
                <a:gd name="connsiteX2" fmla="*/ 0 w 3393220"/>
                <a:gd name="connsiteY2" fmla="*/ 257442 h 257442"/>
                <a:gd name="connsiteX3" fmla="*/ 0 w 3393220"/>
                <a:gd name="connsiteY3" fmla="*/ 0 h 257442"/>
                <a:gd name="connsiteX0" fmla="*/ 3559137 w 3559137"/>
                <a:gd name="connsiteY0" fmla="*/ 0 h 257442"/>
                <a:gd name="connsiteX1" fmla="*/ 3336582 w 3559137"/>
                <a:gd name="connsiteY1" fmla="*/ 257442 h 257442"/>
                <a:gd name="connsiteX2" fmla="*/ 0 w 3559137"/>
                <a:gd name="connsiteY2" fmla="*/ 257442 h 257442"/>
                <a:gd name="connsiteX3" fmla="*/ 0 w 3559137"/>
                <a:gd name="connsiteY3" fmla="*/ 0 h 257442"/>
                <a:gd name="connsiteX0" fmla="*/ 3559137 w 3559137"/>
                <a:gd name="connsiteY0" fmla="*/ 0 h 257442"/>
                <a:gd name="connsiteX1" fmla="*/ 3502498 w 3559137"/>
                <a:gd name="connsiteY1" fmla="*/ 257442 h 257442"/>
                <a:gd name="connsiteX2" fmla="*/ 0 w 3559137"/>
                <a:gd name="connsiteY2" fmla="*/ 257442 h 257442"/>
                <a:gd name="connsiteX3" fmla="*/ 0 w 3559137"/>
                <a:gd name="connsiteY3" fmla="*/ 0 h 257442"/>
                <a:gd name="connsiteX0" fmla="*/ 3559138 w 3559138"/>
                <a:gd name="connsiteY0" fmla="*/ 0 h 257442"/>
                <a:gd name="connsiteX1" fmla="*/ 3502499 w 3559138"/>
                <a:gd name="connsiteY1" fmla="*/ 257442 h 257442"/>
                <a:gd name="connsiteX2" fmla="*/ 0 w 3559138"/>
                <a:gd name="connsiteY2" fmla="*/ 257442 h 257442"/>
                <a:gd name="connsiteX3" fmla="*/ 1 w 3559138"/>
                <a:gd name="connsiteY3" fmla="*/ 0 h 257442"/>
                <a:gd name="connsiteX0" fmla="*/ 3559138 w 3559138"/>
                <a:gd name="connsiteY0" fmla="*/ 0 h 257442"/>
                <a:gd name="connsiteX1" fmla="*/ 3502499 w 3559138"/>
                <a:gd name="connsiteY1" fmla="*/ 257442 h 257442"/>
                <a:gd name="connsiteX2" fmla="*/ 0 w 3559138"/>
                <a:gd name="connsiteY2" fmla="*/ 257442 h 257442"/>
                <a:gd name="connsiteX3" fmla="*/ 1 w 3559138"/>
                <a:gd name="connsiteY3" fmla="*/ 0 h 257442"/>
                <a:gd name="connsiteX0" fmla="*/ 3733350 w 3733350"/>
                <a:gd name="connsiteY0" fmla="*/ 0 h 257442"/>
                <a:gd name="connsiteX1" fmla="*/ 3502499 w 3733350"/>
                <a:gd name="connsiteY1" fmla="*/ 257442 h 257442"/>
                <a:gd name="connsiteX2" fmla="*/ 0 w 3733350"/>
                <a:gd name="connsiteY2" fmla="*/ 257442 h 257442"/>
                <a:gd name="connsiteX3" fmla="*/ 1 w 3733350"/>
                <a:gd name="connsiteY3" fmla="*/ 0 h 257442"/>
                <a:gd name="connsiteX0" fmla="*/ 3733350 w 3733350"/>
                <a:gd name="connsiteY0" fmla="*/ 0 h 257442"/>
                <a:gd name="connsiteX1" fmla="*/ 3676711 w 3733350"/>
                <a:gd name="connsiteY1" fmla="*/ 257442 h 257442"/>
                <a:gd name="connsiteX2" fmla="*/ 0 w 3733350"/>
                <a:gd name="connsiteY2" fmla="*/ 257442 h 257442"/>
                <a:gd name="connsiteX3" fmla="*/ 1 w 3733350"/>
                <a:gd name="connsiteY3" fmla="*/ 0 h 257442"/>
                <a:gd name="connsiteX0" fmla="*/ 3733350 w 3733350"/>
                <a:gd name="connsiteY0" fmla="*/ 0 h 257442"/>
                <a:gd name="connsiteX1" fmla="*/ 3676711 w 3733350"/>
                <a:gd name="connsiteY1" fmla="*/ 257442 h 257442"/>
                <a:gd name="connsiteX2" fmla="*/ 0 w 3733350"/>
                <a:gd name="connsiteY2" fmla="*/ 257442 h 257442"/>
                <a:gd name="connsiteX3" fmla="*/ 1 w 3733350"/>
                <a:gd name="connsiteY3" fmla="*/ 0 h 257442"/>
                <a:gd name="connsiteX0" fmla="*/ 3733350 w 3733350"/>
                <a:gd name="connsiteY0" fmla="*/ 0 h 257442"/>
                <a:gd name="connsiteX1" fmla="*/ 3676711 w 3733350"/>
                <a:gd name="connsiteY1" fmla="*/ 257442 h 257442"/>
                <a:gd name="connsiteX2" fmla="*/ 0 w 3733350"/>
                <a:gd name="connsiteY2" fmla="*/ 257442 h 257442"/>
                <a:gd name="connsiteX3" fmla="*/ 0 w 3733350"/>
                <a:gd name="connsiteY3" fmla="*/ 0 h 257442"/>
                <a:gd name="connsiteX0" fmla="*/ 3899265 w 3899265"/>
                <a:gd name="connsiteY0" fmla="*/ 0 h 257442"/>
                <a:gd name="connsiteX1" fmla="*/ 3676711 w 3899265"/>
                <a:gd name="connsiteY1" fmla="*/ 257442 h 257442"/>
                <a:gd name="connsiteX2" fmla="*/ 0 w 3899265"/>
                <a:gd name="connsiteY2" fmla="*/ 257442 h 257442"/>
                <a:gd name="connsiteX3" fmla="*/ 0 w 3899265"/>
                <a:gd name="connsiteY3" fmla="*/ 0 h 257442"/>
                <a:gd name="connsiteX0" fmla="*/ 3899265 w 3899265"/>
                <a:gd name="connsiteY0" fmla="*/ 0 h 257442"/>
                <a:gd name="connsiteX1" fmla="*/ 3842627 w 3899265"/>
                <a:gd name="connsiteY1" fmla="*/ 257442 h 257442"/>
                <a:gd name="connsiteX2" fmla="*/ 0 w 3899265"/>
                <a:gd name="connsiteY2" fmla="*/ 257442 h 257442"/>
                <a:gd name="connsiteX3" fmla="*/ 0 w 3899265"/>
                <a:gd name="connsiteY3" fmla="*/ 0 h 257442"/>
                <a:gd name="connsiteX0" fmla="*/ 3899265 w 3899265"/>
                <a:gd name="connsiteY0" fmla="*/ 0 h 257442"/>
                <a:gd name="connsiteX1" fmla="*/ 3842627 w 3899265"/>
                <a:gd name="connsiteY1" fmla="*/ 257442 h 257442"/>
                <a:gd name="connsiteX2" fmla="*/ 0 w 3899265"/>
                <a:gd name="connsiteY2" fmla="*/ 257442 h 257442"/>
                <a:gd name="connsiteX3" fmla="*/ 0 w 3899265"/>
                <a:gd name="connsiteY3" fmla="*/ 0 h 257442"/>
                <a:gd name="connsiteX0" fmla="*/ 3899265 w 3899265"/>
                <a:gd name="connsiteY0" fmla="*/ 0 h 257442"/>
                <a:gd name="connsiteX1" fmla="*/ 3842627 w 3899265"/>
                <a:gd name="connsiteY1" fmla="*/ 257442 h 257442"/>
                <a:gd name="connsiteX2" fmla="*/ 0 w 3899265"/>
                <a:gd name="connsiteY2" fmla="*/ 257442 h 257442"/>
                <a:gd name="connsiteX3" fmla="*/ 0 w 3899265"/>
                <a:gd name="connsiteY3" fmla="*/ 0 h 257442"/>
                <a:gd name="connsiteX0" fmla="*/ 3997885 w 3997885"/>
                <a:gd name="connsiteY0" fmla="*/ 0 h 257442"/>
                <a:gd name="connsiteX1" fmla="*/ 3842627 w 3997885"/>
                <a:gd name="connsiteY1" fmla="*/ 257442 h 257442"/>
                <a:gd name="connsiteX2" fmla="*/ 0 w 3997885"/>
                <a:gd name="connsiteY2" fmla="*/ 257442 h 257442"/>
                <a:gd name="connsiteX3" fmla="*/ 0 w 3997885"/>
                <a:gd name="connsiteY3" fmla="*/ 0 h 257442"/>
                <a:gd name="connsiteX0" fmla="*/ 3997885 w 3997885"/>
                <a:gd name="connsiteY0" fmla="*/ 0 h 257442"/>
                <a:gd name="connsiteX1" fmla="*/ 3941247 w 3997885"/>
                <a:gd name="connsiteY1" fmla="*/ 257442 h 257442"/>
                <a:gd name="connsiteX2" fmla="*/ 0 w 3997885"/>
                <a:gd name="connsiteY2" fmla="*/ 257442 h 257442"/>
                <a:gd name="connsiteX3" fmla="*/ 0 w 3997885"/>
                <a:gd name="connsiteY3" fmla="*/ 0 h 257442"/>
                <a:gd name="connsiteX0" fmla="*/ 3997885 w 3997885"/>
                <a:gd name="connsiteY0" fmla="*/ 0 h 257442"/>
                <a:gd name="connsiteX1" fmla="*/ 3941247 w 3997885"/>
                <a:gd name="connsiteY1" fmla="*/ 257442 h 257442"/>
                <a:gd name="connsiteX2" fmla="*/ 0 w 3997885"/>
                <a:gd name="connsiteY2" fmla="*/ 257442 h 257442"/>
                <a:gd name="connsiteX3" fmla="*/ 0 w 3997885"/>
                <a:gd name="connsiteY3" fmla="*/ 0 h 257442"/>
                <a:gd name="connsiteX0" fmla="*/ 3997885 w 3997885"/>
                <a:gd name="connsiteY0" fmla="*/ 0 h 257442"/>
                <a:gd name="connsiteX1" fmla="*/ 3941247 w 3997885"/>
                <a:gd name="connsiteY1" fmla="*/ 257442 h 257442"/>
                <a:gd name="connsiteX2" fmla="*/ 0 w 3997885"/>
                <a:gd name="connsiteY2" fmla="*/ 257442 h 257442"/>
                <a:gd name="connsiteX3" fmla="*/ 0 w 3997885"/>
                <a:gd name="connsiteY3" fmla="*/ 0 h 257442"/>
                <a:gd name="connsiteX0" fmla="*/ 3673022 w 3941247"/>
                <a:gd name="connsiteY0" fmla="*/ 0 h 257442"/>
                <a:gd name="connsiteX1" fmla="*/ 3941247 w 3941247"/>
                <a:gd name="connsiteY1" fmla="*/ 257442 h 257442"/>
                <a:gd name="connsiteX2" fmla="*/ 0 w 3941247"/>
                <a:gd name="connsiteY2" fmla="*/ 257442 h 257442"/>
                <a:gd name="connsiteX3" fmla="*/ 0 w 3941247"/>
                <a:gd name="connsiteY3" fmla="*/ 0 h 257442"/>
                <a:gd name="connsiteX0" fmla="*/ 3673022 w 3673022"/>
                <a:gd name="connsiteY0" fmla="*/ 0 h 257442"/>
                <a:gd name="connsiteX1" fmla="*/ 3616384 w 3673022"/>
                <a:gd name="connsiteY1" fmla="*/ 257442 h 257442"/>
                <a:gd name="connsiteX2" fmla="*/ 0 w 3673022"/>
                <a:gd name="connsiteY2" fmla="*/ 257442 h 257442"/>
                <a:gd name="connsiteX3" fmla="*/ 0 w 3673022"/>
                <a:gd name="connsiteY3" fmla="*/ 0 h 257442"/>
                <a:gd name="connsiteX0" fmla="*/ 3673022 w 3673022"/>
                <a:gd name="connsiteY0" fmla="*/ 0 h 257442"/>
                <a:gd name="connsiteX1" fmla="*/ 3616384 w 3673022"/>
                <a:gd name="connsiteY1" fmla="*/ 257442 h 257442"/>
                <a:gd name="connsiteX2" fmla="*/ 0 w 3673022"/>
                <a:gd name="connsiteY2" fmla="*/ 257442 h 257442"/>
                <a:gd name="connsiteX3" fmla="*/ 0 w 3673022"/>
                <a:gd name="connsiteY3" fmla="*/ 0 h 257442"/>
                <a:gd name="connsiteX0" fmla="*/ 3673022 w 3673022"/>
                <a:gd name="connsiteY0" fmla="*/ 0 h 257442"/>
                <a:gd name="connsiteX1" fmla="*/ 3616384 w 3673022"/>
                <a:gd name="connsiteY1" fmla="*/ 257442 h 257442"/>
                <a:gd name="connsiteX2" fmla="*/ 0 w 3673022"/>
                <a:gd name="connsiteY2" fmla="*/ 257442 h 257442"/>
                <a:gd name="connsiteX3" fmla="*/ 0 w 3673022"/>
                <a:gd name="connsiteY3" fmla="*/ 0 h 257442"/>
                <a:gd name="connsiteX0" fmla="*/ 4012088 w 4012088"/>
                <a:gd name="connsiteY0" fmla="*/ 0 h 257442"/>
                <a:gd name="connsiteX1" fmla="*/ 3616384 w 4012088"/>
                <a:gd name="connsiteY1" fmla="*/ 257442 h 257442"/>
                <a:gd name="connsiteX2" fmla="*/ 0 w 4012088"/>
                <a:gd name="connsiteY2" fmla="*/ 257442 h 257442"/>
                <a:gd name="connsiteX3" fmla="*/ 0 w 4012088"/>
                <a:gd name="connsiteY3" fmla="*/ 0 h 257442"/>
                <a:gd name="connsiteX0" fmla="*/ 4012088 w 4012088"/>
                <a:gd name="connsiteY0" fmla="*/ 0 h 257442"/>
                <a:gd name="connsiteX1" fmla="*/ 3955450 w 4012088"/>
                <a:gd name="connsiteY1" fmla="*/ 257442 h 257442"/>
                <a:gd name="connsiteX2" fmla="*/ 0 w 4012088"/>
                <a:gd name="connsiteY2" fmla="*/ 257442 h 257442"/>
                <a:gd name="connsiteX3" fmla="*/ 0 w 4012088"/>
                <a:gd name="connsiteY3" fmla="*/ 0 h 257442"/>
                <a:gd name="connsiteX0" fmla="*/ 4012088 w 4012088"/>
                <a:gd name="connsiteY0" fmla="*/ 0 h 257442"/>
                <a:gd name="connsiteX1" fmla="*/ 3955450 w 4012088"/>
                <a:gd name="connsiteY1" fmla="*/ 257442 h 257442"/>
                <a:gd name="connsiteX2" fmla="*/ 0 w 4012088"/>
                <a:gd name="connsiteY2" fmla="*/ 257442 h 257442"/>
                <a:gd name="connsiteX3" fmla="*/ 0 w 4012088"/>
                <a:gd name="connsiteY3" fmla="*/ 0 h 257442"/>
                <a:gd name="connsiteX0" fmla="*/ 4012088 w 4012088"/>
                <a:gd name="connsiteY0" fmla="*/ 0 h 257442"/>
                <a:gd name="connsiteX1" fmla="*/ 3955450 w 4012088"/>
                <a:gd name="connsiteY1" fmla="*/ 257442 h 257442"/>
                <a:gd name="connsiteX2" fmla="*/ 0 w 4012088"/>
                <a:gd name="connsiteY2" fmla="*/ 257442 h 257442"/>
                <a:gd name="connsiteX3" fmla="*/ 0 w 4012088"/>
                <a:gd name="connsiteY3" fmla="*/ 0 h 257442"/>
                <a:gd name="connsiteX0" fmla="*/ 984113 w 3955450"/>
                <a:gd name="connsiteY0" fmla="*/ 0 h 257442"/>
                <a:gd name="connsiteX1" fmla="*/ 3955450 w 3955450"/>
                <a:gd name="connsiteY1" fmla="*/ 257442 h 257442"/>
                <a:gd name="connsiteX2" fmla="*/ 0 w 3955450"/>
                <a:gd name="connsiteY2" fmla="*/ 257442 h 257442"/>
                <a:gd name="connsiteX3" fmla="*/ 0 w 3955450"/>
                <a:gd name="connsiteY3" fmla="*/ 0 h 257442"/>
                <a:gd name="connsiteX0" fmla="*/ 984113 w 984113"/>
                <a:gd name="connsiteY0" fmla="*/ 0 h 257442"/>
                <a:gd name="connsiteX1" fmla="*/ 927475 w 984113"/>
                <a:gd name="connsiteY1" fmla="*/ 257442 h 257442"/>
                <a:gd name="connsiteX2" fmla="*/ 0 w 984113"/>
                <a:gd name="connsiteY2" fmla="*/ 257442 h 257442"/>
                <a:gd name="connsiteX3" fmla="*/ 0 w 984113"/>
                <a:gd name="connsiteY3" fmla="*/ 0 h 257442"/>
                <a:gd name="connsiteX0" fmla="*/ 984113 w 984113"/>
                <a:gd name="connsiteY0" fmla="*/ 0 h 257442"/>
                <a:gd name="connsiteX1" fmla="*/ 927475 w 984113"/>
                <a:gd name="connsiteY1" fmla="*/ 257442 h 257442"/>
                <a:gd name="connsiteX2" fmla="*/ 1 w 984113"/>
                <a:gd name="connsiteY2" fmla="*/ 257442 h 257442"/>
                <a:gd name="connsiteX3" fmla="*/ 0 w 984113"/>
                <a:gd name="connsiteY3" fmla="*/ 0 h 257442"/>
                <a:gd name="connsiteX0" fmla="*/ 984112 w 984112"/>
                <a:gd name="connsiteY0" fmla="*/ 0 h 257442"/>
                <a:gd name="connsiteX1" fmla="*/ 927474 w 984112"/>
                <a:gd name="connsiteY1" fmla="*/ 257442 h 257442"/>
                <a:gd name="connsiteX2" fmla="*/ 0 w 984112"/>
                <a:gd name="connsiteY2" fmla="*/ 257442 h 257442"/>
                <a:gd name="connsiteX3" fmla="*/ 0 w 984112"/>
                <a:gd name="connsiteY3" fmla="*/ 0 h 257442"/>
                <a:gd name="connsiteX0" fmla="*/ 1158324 w 1158324"/>
                <a:gd name="connsiteY0" fmla="*/ 0 h 257442"/>
                <a:gd name="connsiteX1" fmla="*/ 927474 w 1158324"/>
                <a:gd name="connsiteY1" fmla="*/ 257442 h 257442"/>
                <a:gd name="connsiteX2" fmla="*/ 0 w 1158324"/>
                <a:gd name="connsiteY2" fmla="*/ 257442 h 257442"/>
                <a:gd name="connsiteX3" fmla="*/ 0 w 1158324"/>
                <a:gd name="connsiteY3" fmla="*/ 0 h 257442"/>
                <a:gd name="connsiteX0" fmla="*/ 1158324 w 1158324"/>
                <a:gd name="connsiteY0" fmla="*/ 0 h 257442"/>
                <a:gd name="connsiteX1" fmla="*/ 1101686 w 1158324"/>
                <a:gd name="connsiteY1" fmla="*/ 257442 h 257442"/>
                <a:gd name="connsiteX2" fmla="*/ 0 w 1158324"/>
                <a:gd name="connsiteY2" fmla="*/ 257442 h 257442"/>
                <a:gd name="connsiteX3" fmla="*/ 0 w 1158324"/>
                <a:gd name="connsiteY3" fmla="*/ 0 h 257442"/>
                <a:gd name="connsiteX0" fmla="*/ 1158325 w 1158325"/>
                <a:gd name="connsiteY0" fmla="*/ 0 h 257442"/>
                <a:gd name="connsiteX1" fmla="*/ 1101687 w 1158325"/>
                <a:gd name="connsiteY1" fmla="*/ 257442 h 257442"/>
                <a:gd name="connsiteX2" fmla="*/ 0 w 1158325"/>
                <a:gd name="connsiteY2" fmla="*/ 257442 h 257442"/>
                <a:gd name="connsiteX3" fmla="*/ 1 w 1158325"/>
                <a:gd name="connsiteY3" fmla="*/ 0 h 257442"/>
                <a:gd name="connsiteX0" fmla="*/ 1158325 w 1158325"/>
                <a:gd name="connsiteY0" fmla="*/ 0 h 257442"/>
                <a:gd name="connsiteX1" fmla="*/ 1101687 w 1158325"/>
                <a:gd name="connsiteY1" fmla="*/ 257442 h 257442"/>
                <a:gd name="connsiteX2" fmla="*/ 0 w 1158325"/>
                <a:gd name="connsiteY2" fmla="*/ 257442 h 257442"/>
                <a:gd name="connsiteX3" fmla="*/ 0 w 1158325"/>
                <a:gd name="connsiteY3" fmla="*/ 0 h 257442"/>
                <a:gd name="connsiteX0" fmla="*/ 1324241 w 1324241"/>
                <a:gd name="connsiteY0" fmla="*/ 0 h 257442"/>
                <a:gd name="connsiteX1" fmla="*/ 1101687 w 1324241"/>
                <a:gd name="connsiteY1" fmla="*/ 257442 h 257442"/>
                <a:gd name="connsiteX2" fmla="*/ 0 w 1324241"/>
                <a:gd name="connsiteY2" fmla="*/ 257442 h 257442"/>
                <a:gd name="connsiteX3" fmla="*/ 0 w 1324241"/>
                <a:gd name="connsiteY3" fmla="*/ 0 h 257442"/>
                <a:gd name="connsiteX0" fmla="*/ 1324241 w 1324241"/>
                <a:gd name="connsiteY0" fmla="*/ 0 h 257442"/>
                <a:gd name="connsiteX1" fmla="*/ 1267603 w 1324241"/>
                <a:gd name="connsiteY1" fmla="*/ 257442 h 257442"/>
                <a:gd name="connsiteX2" fmla="*/ 0 w 1324241"/>
                <a:gd name="connsiteY2" fmla="*/ 257442 h 257442"/>
                <a:gd name="connsiteX3" fmla="*/ 0 w 1324241"/>
                <a:gd name="connsiteY3" fmla="*/ 0 h 257442"/>
                <a:gd name="connsiteX0" fmla="*/ 1324241 w 1324241"/>
                <a:gd name="connsiteY0" fmla="*/ 0 h 257442"/>
                <a:gd name="connsiteX1" fmla="*/ 1267603 w 1324241"/>
                <a:gd name="connsiteY1" fmla="*/ 257442 h 257442"/>
                <a:gd name="connsiteX2" fmla="*/ 0 w 1324241"/>
                <a:gd name="connsiteY2" fmla="*/ 257442 h 257442"/>
                <a:gd name="connsiteX3" fmla="*/ 0 w 1324241"/>
                <a:gd name="connsiteY3" fmla="*/ 0 h 257442"/>
                <a:gd name="connsiteX0" fmla="*/ 1324241 w 1324241"/>
                <a:gd name="connsiteY0" fmla="*/ 0 h 257442"/>
                <a:gd name="connsiteX1" fmla="*/ 1267603 w 1324241"/>
                <a:gd name="connsiteY1" fmla="*/ 257442 h 257442"/>
                <a:gd name="connsiteX2" fmla="*/ 0 w 1324241"/>
                <a:gd name="connsiteY2" fmla="*/ 257442 h 257442"/>
                <a:gd name="connsiteX3" fmla="*/ 0 w 1324241"/>
                <a:gd name="connsiteY3" fmla="*/ 0 h 257442"/>
                <a:gd name="connsiteX0" fmla="*/ 1481862 w 1481862"/>
                <a:gd name="connsiteY0" fmla="*/ 0 h 257442"/>
                <a:gd name="connsiteX1" fmla="*/ 1267603 w 1481862"/>
                <a:gd name="connsiteY1" fmla="*/ 257442 h 257442"/>
                <a:gd name="connsiteX2" fmla="*/ 0 w 1481862"/>
                <a:gd name="connsiteY2" fmla="*/ 257442 h 257442"/>
                <a:gd name="connsiteX3" fmla="*/ 0 w 1481862"/>
                <a:gd name="connsiteY3" fmla="*/ 0 h 257442"/>
                <a:gd name="connsiteX0" fmla="*/ 1481862 w 1481862"/>
                <a:gd name="connsiteY0" fmla="*/ 0 h 257442"/>
                <a:gd name="connsiteX1" fmla="*/ 1425224 w 1481862"/>
                <a:gd name="connsiteY1" fmla="*/ 257442 h 257442"/>
                <a:gd name="connsiteX2" fmla="*/ 0 w 1481862"/>
                <a:gd name="connsiteY2" fmla="*/ 257442 h 257442"/>
                <a:gd name="connsiteX3" fmla="*/ 0 w 1481862"/>
                <a:gd name="connsiteY3" fmla="*/ 0 h 257442"/>
                <a:gd name="connsiteX0" fmla="*/ 1481862 w 1481862"/>
                <a:gd name="connsiteY0" fmla="*/ 0 h 257442"/>
                <a:gd name="connsiteX1" fmla="*/ 1425224 w 1481862"/>
                <a:gd name="connsiteY1" fmla="*/ 257442 h 257442"/>
                <a:gd name="connsiteX2" fmla="*/ 0 w 1481862"/>
                <a:gd name="connsiteY2" fmla="*/ 257442 h 257442"/>
                <a:gd name="connsiteX3" fmla="*/ 0 w 1481862"/>
                <a:gd name="connsiteY3" fmla="*/ 0 h 257442"/>
                <a:gd name="connsiteX0" fmla="*/ 1481862 w 1481862"/>
                <a:gd name="connsiteY0" fmla="*/ 0 h 257442"/>
                <a:gd name="connsiteX1" fmla="*/ 1425224 w 1481862"/>
                <a:gd name="connsiteY1" fmla="*/ 257442 h 257442"/>
                <a:gd name="connsiteX2" fmla="*/ 0 w 1481862"/>
                <a:gd name="connsiteY2" fmla="*/ 257442 h 257442"/>
                <a:gd name="connsiteX3" fmla="*/ 0 w 1481862"/>
                <a:gd name="connsiteY3" fmla="*/ 0 h 257442"/>
                <a:gd name="connsiteX0" fmla="*/ 1663175 w 1663175"/>
                <a:gd name="connsiteY0" fmla="*/ 0 h 257442"/>
                <a:gd name="connsiteX1" fmla="*/ 1425224 w 1663175"/>
                <a:gd name="connsiteY1" fmla="*/ 257442 h 257442"/>
                <a:gd name="connsiteX2" fmla="*/ 0 w 1663175"/>
                <a:gd name="connsiteY2" fmla="*/ 257442 h 257442"/>
                <a:gd name="connsiteX3" fmla="*/ 0 w 1663175"/>
                <a:gd name="connsiteY3" fmla="*/ 0 h 257442"/>
                <a:gd name="connsiteX0" fmla="*/ 1663175 w 1663175"/>
                <a:gd name="connsiteY0" fmla="*/ 0 h 257442"/>
                <a:gd name="connsiteX1" fmla="*/ 1606537 w 1663175"/>
                <a:gd name="connsiteY1" fmla="*/ 257442 h 257442"/>
                <a:gd name="connsiteX2" fmla="*/ 0 w 1663175"/>
                <a:gd name="connsiteY2" fmla="*/ 257442 h 257442"/>
                <a:gd name="connsiteX3" fmla="*/ 0 w 1663175"/>
                <a:gd name="connsiteY3" fmla="*/ 0 h 257442"/>
                <a:gd name="connsiteX0" fmla="*/ 1663175 w 1663175"/>
                <a:gd name="connsiteY0" fmla="*/ 0 h 257442"/>
                <a:gd name="connsiteX1" fmla="*/ 1606537 w 1663175"/>
                <a:gd name="connsiteY1" fmla="*/ 257442 h 257442"/>
                <a:gd name="connsiteX2" fmla="*/ 0 w 1663175"/>
                <a:gd name="connsiteY2" fmla="*/ 257442 h 257442"/>
                <a:gd name="connsiteX3" fmla="*/ 0 w 1663175"/>
                <a:gd name="connsiteY3" fmla="*/ 0 h 257442"/>
                <a:gd name="connsiteX0" fmla="*/ 1663175 w 1663175"/>
                <a:gd name="connsiteY0" fmla="*/ 0 h 257442"/>
                <a:gd name="connsiteX1" fmla="*/ 1606537 w 1663175"/>
                <a:gd name="connsiteY1" fmla="*/ 257442 h 257442"/>
                <a:gd name="connsiteX2" fmla="*/ 0 w 1663175"/>
                <a:gd name="connsiteY2" fmla="*/ 257442 h 257442"/>
                <a:gd name="connsiteX3" fmla="*/ 0 w 1663175"/>
                <a:gd name="connsiteY3" fmla="*/ 0 h 257442"/>
                <a:gd name="connsiteX0" fmla="*/ 1855639 w 1855639"/>
                <a:gd name="connsiteY0" fmla="*/ 0 h 257442"/>
                <a:gd name="connsiteX1" fmla="*/ 1606537 w 1855639"/>
                <a:gd name="connsiteY1" fmla="*/ 257442 h 257442"/>
                <a:gd name="connsiteX2" fmla="*/ 0 w 1855639"/>
                <a:gd name="connsiteY2" fmla="*/ 257442 h 257442"/>
                <a:gd name="connsiteX3" fmla="*/ 0 w 1855639"/>
                <a:gd name="connsiteY3" fmla="*/ 0 h 257442"/>
                <a:gd name="connsiteX0" fmla="*/ 1855639 w 1855639"/>
                <a:gd name="connsiteY0" fmla="*/ 0 h 257442"/>
                <a:gd name="connsiteX1" fmla="*/ 1799001 w 1855639"/>
                <a:gd name="connsiteY1" fmla="*/ 257442 h 257442"/>
                <a:gd name="connsiteX2" fmla="*/ 0 w 1855639"/>
                <a:gd name="connsiteY2" fmla="*/ 257442 h 257442"/>
                <a:gd name="connsiteX3" fmla="*/ 0 w 1855639"/>
                <a:gd name="connsiteY3" fmla="*/ 0 h 257442"/>
                <a:gd name="connsiteX0" fmla="*/ 1855639 w 1855639"/>
                <a:gd name="connsiteY0" fmla="*/ 0 h 257442"/>
                <a:gd name="connsiteX1" fmla="*/ 1799001 w 1855639"/>
                <a:gd name="connsiteY1" fmla="*/ 257442 h 257442"/>
                <a:gd name="connsiteX2" fmla="*/ 0 w 1855639"/>
                <a:gd name="connsiteY2" fmla="*/ 257442 h 257442"/>
                <a:gd name="connsiteX3" fmla="*/ 0 w 1855639"/>
                <a:gd name="connsiteY3" fmla="*/ 0 h 257442"/>
                <a:gd name="connsiteX0" fmla="*/ 1855639 w 1855639"/>
                <a:gd name="connsiteY0" fmla="*/ 0 h 257442"/>
                <a:gd name="connsiteX1" fmla="*/ 1799001 w 1855639"/>
                <a:gd name="connsiteY1" fmla="*/ 257442 h 257442"/>
                <a:gd name="connsiteX2" fmla="*/ 0 w 1855639"/>
                <a:gd name="connsiteY2" fmla="*/ 257442 h 257442"/>
                <a:gd name="connsiteX3" fmla="*/ 0 w 1855639"/>
                <a:gd name="connsiteY3" fmla="*/ 0 h 257442"/>
                <a:gd name="connsiteX0" fmla="*/ 2021555 w 2021555"/>
                <a:gd name="connsiteY0" fmla="*/ 0 h 257442"/>
                <a:gd name="connsiteX1" fmla="*/ 1799001 w 2021555"/>
                <a:gd name="connsiteY1" fmla="*/ 257442 h 257442"/>
                <a:gd name="connsiteX2" fmla="*/ 0 w 2021555"/>
                <a:gd name="connsiteY2" fmla="*/ 257442 h 257442"/>
                <a:gd name="connsiteX3" fmla="*/ 0 w 2021555"/>
                <a:gd name="connsiteY3" fmla="*/ 0 h 257442"/>
                <a:gd name="connsiteX0" fmla="*/ 2021555 w 2021555"/>
                <a:gd name="connsiteY0" fmla="*/ 0 h 257442"/>
                <a:gd name="connsiteX1" fmla="*/ 1964917 w 2021555"/>
                <a:gd name="connsiteY1" fmla="*/ 257442 h 257442"/>
                <a:gd name="connsiteX2" fmla="*/ 0 w 2021555"/>
                <a:gd name="connsiteY2" fmla="*/ 257442 h 257442"/>
                <a:gd name="connsiteX3" fmla="*/ 0 w 2021555"/>
                <a:gd name="connsiteY3" fmla="*/ 0 h 257442"/>
                <a:gd name="connsiteX0" fmla="*/ 2021555 w 2021555"/>
                <a:gd name="connsiteY0" fmla="*/ 0 h 257442"/>
                <a:gd name="connsiteX1" fmla="*/ 1964917 w 2021555"/>
                <a:gd name="connsiteY1" fmla="*/ 257442 h 257442"/>
                <a:gd name="connsiteX2" fmla="*/ 0 w 2021555"/>
                <a:gd name="connsiteY2" fmla="*/ 257442 h 257442"/>
                <a:gd name="connsiteX3" fmla="*/ 0 w 2021555"/>
                <a:gd name="connsiteY3" fmla="*/ 0 h 257442"/>
                <a:gd name="connsiteX0" fmla="*/ 2021555 w 2021555"/>
                <a:gd name="connsiteY0" fmla="*/ 0 h 257442"/>
                <a:gd name="connsiteX1" fmla="*/ 1964917 w 2021555"/>
                <a:gd name="connsiteY1" fmla="*/ 257442 h 257442"/>
                <a:gd name="connsiteX2" fmla="*/ 0 w 2021555"/>
                <a:gd name="connsiteY2" fmla="*/ 257442 h 257442"/>
                <a:gd name="connsiteX3" fmla="*/ 0 w 2021555"/>
                <a:gd name="connsiteY3" fmla="*/ 0 h 257442"/>
                <a:gd name="connsiteX0" fmla="*/ 2179175 w 2179175"/>
                <a:gd name="connsiteY0" fmla="*/ 0 h 257442"/>
                <a:gd name="connsiteX1" fmla="*/ 1964917 w 2179175"/>
                <a:gd name="connsiteY1" fmla="*/ 257442 h 257442"/>
                <a:gd name="connsiteX2" fmla="*/ 0 w 2179175"/>
                <a:gd name="connsiteY2" fmla="*/ 257442 h 257442"/>
                <a:gd name="connsiteX3" fmla="*/ 0 w 2179175"/>
                <a:gd name="connsiteY3" fmla="*/ 0 h 257442"/>
                <a:gd name="connsiteX0" fmla="*/ 2179175 w 2179175"/>
                <a:gd name="connsiteY0" fmla="*/ 0 h 257442"/>
                <a:gd name="connsiteX1" fmla="*/ 2122536 w 2179175"/>
                <a:gd name="connsiteY1" fmla="*/ 257442 h 257442"/>
                <a:gd name="connsiteX2" fmla="*/ 0 w 2179175"/>
                <a:gd name="connsiteY2" fmla="*/ 257442 h 257442"/>
                <a:gd name="connsiteX3" fmla="*/ 0 w 2179175"/>
                <a:gd name="connsiteY3" fmla="*/ 0 h 257442"/>
                <a:gd name="connsiteX0" fmla="*/ 2179176 w 2179176"/>
                <a:gd name="connsiteY0" fmla="*/ 0 h 257442"/>
                <a:gd name="connsiteX1" fmla="*/ 2122537 w 2179176"/>
                <a:gd name="connsiteY1" fmla="*/ 257442 h 257442"/>
                <a:gd name="connsiteX2" fmla="*/ 0 w 2179176"/>
                <a:gd name="connsiteY2" fmla="*/ 257442 h 257442"/>
                <a:gd name="connsiteX3" fmla="*/ 1 w 2179176"/>
                <a:gd name="connsiteY3" fmla="*/ 0 h 257442"/>
                <a:gd name="connsiteX0" fmla="*/ 2179176 w 2179176"/>
                <a:gd name="connsiteY0" fmla="*/ 0 h 257442"/>
                <a:gd name="connsiteX1" fmla="*/ 2122537 w 2179176"/>
                <a:gd name="connsiteY1" fmla="*/ 257442 h 257442"/>
                <a:gd name="connsiteX2" fmla="*/ 0 w 2179176"/>
                <a:gd name="connsiteY2" fmla="*/ 257442 h 257442"/>
                <a:gd name="connsiteX3" fmla="*/ 1 w 2179176"/>
                <a:gd name="connsiteY3" fmla="*/ 0 h 257442"/>
                <a:gd name="connsiteX0" fmla="*/ 2353388 w 2353388"/>
                <a:gd name="connsiteY0" fmla="*/ 0 h 257442"/>
                <a:gd name="connsiteX1" fmla="*/ 2122537 w 2353388"/>
                <a:gd name="connsiteY1" fmla="*/ 257442 h 257442"/>
                <a:gd name="connsiteX2" fmla="*/ 0 w 2353388"/>
                <a:gd name="connsiteY2" fmla="*/ 257442 h 257442"/>
                <a:gd name="connsiteX3" fmla="*/ 1 w 2353388"/>
                <a:gd name="connsiteY3" fmla="*/ 0 h 257442"/>
                <a:gd name="connsiteX0" fmla="*/ 2353388 w 2353388"/>
                <a:gd name="connsiteY0" fmla="*/ 0 h 257442"/>
                <a:gd name="connsiteX1" fmla="*/ 2296749 w 2353388"/>
                <a:gd name="connsiteY1" fmla="*/ 257442 h 257442"/>
                <a:gd name="connsiteX2" fmla="*/ 0 w 2353388"/>
                <a:gd name="connsiteY2" fmla="*/ 257442 h 257442"/>
                <a:gd name="connsiteX3" fmla="*/ 1 w 2353388"/>
                <a:gd name="connsiteY3" fmla="*/ 0 h 257442"/>
                <a:gd name="connsiteX0" fmla="*/ 2353388 w 2353388"/>
                <a:gd name="connsiteY0" fmla="*/ 0 h 257442"/>
                <a:gd name="connsiteX1" fmla="*/ 2296749 w 2353388"/>
                <a:gd name="connsiteY1" fmla="*/ 257442 h 257442"/>
                <a:gd name="connsiteX2" fmla="*/ 0 w 2353388"/>
                <a:gd name="connsiteY2" fmla="*/ 257442 h 257442"/>
                <a:gd name="connsiteX3" fmla="*/ 1 w 2353388"/>
                <a:gd name="connsiteY3" fmla="*/ 0 h 257442"/>
                <a:gd name="connsiteX0" fmla="*/ 2353388 w 2353388"/>
                <a:gd name="connsiteY0" fmla="*/ 0 h 257442"/>
                <a:gd name="connsiteX1" fmla="*/ 2296749 w 2353388"/>
                <a:gd name="connsiteY1" fmla="*/ 257442 h 257442"/>
                <a:gd name="connsiteX2" fmla="*/ 0 w 2353388"/>
                <a:gd name="connsiteY2" fmla="*/ 257442 h 257442"/>
                <a:gd name="connsiteX3" fmla="*/ 0 w 2353388"/>
                <a:gd name="connsiteY3" fmla="*/ 0 h 257442"/>
                <a:gd name="connsiteX0" fmla="*/ 2457914 w 2457914"/>
                <a:gd name="connsiteY0" fmla="*/ 0 h 257442"/>
                <a:gd name="connsiteX1" fmla="*/ 2296749 w 2457914"/>
                <a:gd name="connsiteY1" fmla="*/ 257442 h 257442"/>
                <a:gd name="connsiteX2" fmla="*/ 0 w 2457914"/>
                <a:gd name="connsiteY2" fmla="*/ 257442 h 257442"/>
                <a:gd name="connsiteX3" fmla="*/ 0 w 2457914"/>
                <a:gd name="connsiteY3" fmla="*/ 0 h 257442"/>
                <a:gd name="connsiteX0" fmla="*/ 2457914 w 2457914"/>
                <a:gd name="connsiteY0" fmla="*/ 0 h 257442"/>
                <a:gd name="connsiteX1" fmla="*/ 2401276 w 2457914"/>
                <a:gd name="connsiteY1" fmla="*/ 257442 h 257442"/>
                <a:gd name="connsiteX2" fmla="*/ 0 w 2457914"/>
                <a:gd name="connsiteY2" fmla="*/ 257442 h 257442"/>
                <a:gd name="connsiteX3" fmla="*/ 0 w 2457914"/>
                <a:gd name="connsiteY3" fmla="*/ 0 h 257442"/>
                <a:gd name="connsiteX0" fmla="*/ 2457914 w 2457914"/>
                <a:gd name="connsiteY0" fmla="*/ 0 h 257442"/>
                <a:gd name="connsiteX1" fmla="*/ 2401276 w 2457914"/>
                <a:gd name="connsiteY1" fmla="*/ 257442 h 257442"/>
                <a:gd name="connsiteX2" fmla="*/ 0 w 2457914"/>
                <a:gd name="connsiteY2" fmla="*/ 257442 h 257442"/>
                <a:gd name="connsiteX3" fmla="*/ 0 w 2457914"/>
                <a:gd name="connsiteY3" fmla="*/ 0 h 257442"/>
                <a:gd name="connsiteX0" fmla="*/ 2457914 w 2457914"/>
                <a:gd name="connsiteY0" fmla="*/ 0 h 257442"/>
                <a:gd name="connsiteX1" fmla="*/ 2401276 w 2457914"/>
                <a:gd name="connsiteY1" fmla="*/ 257442 h 257442"/>
                <a:gd name="connsiteX2" fmla="*/ 0 w 2457914"/>
                <a:gd name="connsiteY2" fmla="*/ 257442 h 257442"/>
                <a:gd name="connsiteX3" fmla="*/ 0 w 2457914"/>
                <a:gd name="connsiteY3" fmla="*/ 0 h 257442"/>
                <a:gd name="connsiteX0" fmla="*/ 2623830 w 2623830"/>
                <a:gd name="connsiteY0" fmla="*/ 0 h 257442"/>
                <a:gd name="connsiteX1" fmla="*/ 2401276 w 2623830"/>
                <a:gd name="connsiteY1" fmla="*/ 257442 h 257442"/>
                <a:gd name="connsiteX2" fmla="*/ 0 w 2623830"/>
                <a:gd name="connsiteY2" fmla="*/ 257442 h 257442"/>
                <a:gd name="connsiteX3" fmla="*/ 0 w 2623830"/>
                <a:gd name="connsiteY3" fmla="*/ 0 h 257442"/>
                <a:gd name="connsiteX0" fmla="*/ 2623830 w 2623830"/>
                <a:gd name="connsiteY0" fmla="*/ 0 h 257442"/>
                <a:gd name="connsiteX1" fmla="*/ 2567192 w 2623830"/>
                <a:gd name="connsiteY1" fmla="*/ 257442 h 257442"/>
                <a:gd name="connsiteX2" fmla="*/ 0 w 2623830"/>
                <a:gd name="connsiteY2" fmla="*/ 257442 h 257442"/>
                <a:gd name="connsiteX3" fmla="*/ 0 w 2623830"/>
                <a:gd name="connsiteY3" fmla="*/ 0 h 257442"/>
                <a:gd name="connsiteX0" fmla="*/ 2623830 w 2623830"/>
                <a:gd name="connsiteY0" fmla="*/ 0 h 257442"/>
                <a:gd name="connsiteX1" fmla="*/ 2567192 w 2623830"/>
                <a:gd name="connsiteY1" fmla="*/ 257442 h 257442"/>
                <a:gd name="connsiteX2" fmla="*/ 0 w 2623830"/>
                <a:gd name="connsiteY2" fmla="*/ 257442 h 257442"/>
                <a:gd name="connsiteX3" fmla="*/ 0 w 2623830"/>
                <a:gd name="connsiteY3" fmla="*/ 0 h 257442"/>
                <a:gd name="connsiteX0" fmla="*/ 2623830 w 2623830"/>
                <a:gd name="connsiteY0" fmla="*/ 0 h 257442"/>
                <a:gd name="connsiteX1" fmla="*/ 2567192 w 2623830"/>
                <a:gd name="connsiteY1" fmla="*/ 257442 h 257442"/>
                <a:gd name="connsiteX2" fmla="*/ 0 w 2623830"/>
                <a:gd name="connsiteY2" fmla="*/ 257442 h 257442"/>
                <a:gd name="connsiteX3" fmla="*/ 0 w 2623830"/>
                <a:gd name="connsiteY3" fmla="*/ 0 h 257442"/>
                <a:gd name="connsiteX0" fmla="*/ 984112 w 2567192"/>
                <a:gd name="connsiteY0" fmla="*/ 0 h 257442"/>
                <a:gd name="connsiteX1" fmla="*/ 2567192 w 2567192"/>
                <a:gd name="connsiteY1" fmla="*/ 257442 h 257442"/>
                <a:gd name="connsiteX2" fmla="*/ 0 w 2567192"/>
                <a:gd name="connsiteY2" fmla="*/ 257442 h 257442"/>
                <a:gd name="connsiteX3" fmla="*/ 0 w 2567192"/>
                <a:gd name="connsiteY3" fmla="*/ 0 h 257442"/>
                <a:gd name="connsiteX0" fmla="*/ 984112 w 984112"/>
                <a:gd name="connsiteY0" fmla="*/ 0 h 257442"/>
                <a:gd name="connsiteX1" fmla="*/ 927475 w 984112"/>
                <a:gd name="connsiteY1" fmla="*/ 257442 h 257442"/>
                <a:gd name="connsiteX2" fmla="*/ 0 w 984112"/>
                <a:gd name="connsiteY2" fmla="*/ 257442 h 257442"/>
                <a:gd name="connsiteX3" fmla="*/ 0 w 984112"/>
                <a:gd name="connsiteY3" fmla="*/ 0 h 257442"/>
                <a:gd name="connsiteX0" fmla="*/ 984112 w 984112"/>
                <a:gd name="connsiteY0" fmla="*/ 0 h 257442"/>
                <a:gd name="connsiteX1" fmla="*/ 927475 w 984112"/>
                <a:gd name="connsiteY1" fmla="*/ 257442 h 257442"/>
                <a:gd name="connsiteX2" fmla="*/ 1 w 984112"/>
                <a:gd name="connsiteY2" fmla="*/ 257442 h 257442"/>
                <a:gd name="connsiteX3" fmla="*/ 0 w 984112"/>
                <a:gd name="connsiteY3" fmla="*/ 0 h 257442"/>
                <a:gd name="connsiteX0" fmla="*/ 984111 w 984111"/>
                <a:gd name="connsiteY0" fmla="*/ 0 h 257442"/>
                <a:gd name="connsiteX1" fmla="*/ 927474 w 984111"/>
                <a:gd name="connsiteY1" fmla="*/ 257442 h 257442"/>
                <a:gd name="connsiteX2" fmla="*/ 0 w 984111"/>
                <a:gd name="connsiteY2" fmla="*/ 257442 h 257442"/>
                <a:gd name="connsiteX3" fmla="*/ 0 w 984111"/>
                <a:gd name="connsiteY3" fmla="*/ 0 h 257442"/>
                <a:gd name="connsiteX0" fmla="*/ 1158323 w 1158323"/>
                <a:gd name="connsiteY0" fmla="*/ 0 h 257442"/>
                <a:gd name="connsiteX1" fmla="*/ 927474 w 1158323"/>
                <a:gd name="connsiteY1" fmla="*/ 257442 h 257442"/>
                <a:gd name="connsiteX2" fmla="*/ 0 w 1158323"/>
                <a:gd name="connsiteY2" fmla="*/ 257442 h 257442"/>
                <a:gd name="connsiteX3" fmla="*/ 0 w 1158323"/>
                <a:gd name="connsiteY3" fmla="*/ 0 h 257442"/>
                <a:gd name="connsiteX0" fmla="*/ 1158323 w 1158323"/>
                <a:gd name="connsiteY0" fmla="*/ 0 h 257442"/>
                <a:gd name="connsiteX1" fmla="*/ 1101685 w 1158323"/>
                <a:gd name="connsiteY1" fmla="*/ 257442 h 257442"/>
                <a:gd name="connsiteX2" fmla="*/ 0 w 1158323"/>
                <a:gd name="connsiteY2" fmla="*/ 257442 h 257442"/>
                <a:gd name="connsiteX3" fmla="*/ 0 w 1158323"/>
                <a:gd name="connsiteY3" fmla="*/ 0 h 257442"/>
                <a:gd name="connsiteX0" fmla="*/ 1158324 w 1158324"/>
                <a:gd name="connsiteY0" fmla="*/ 0 h 257442"/>
                <a:gd name="connsiteX1" fmla="*/ 1101686 w 1158324"/>
                <a:gd name="connsiteY1" fmla="*/ 257442 h 257442"/>
                <a:gd name="connsiteX2" fmla="*/ 0 w 1158324"/>
                <a:gd name="connsiteY2" fmla="*/ 257442 h 257442"/>
                <a:gd name="connsiteX3" fmla="*/ 1 w 1158324"/>
                <a:gd name="connsiteY3" fmla="*/ 0 h 257442"/>
                <a:gd name="connsiteX0" fmla="*/ 1158324 w 1158324"/>
                <a:gd name="connsiteY0" fmla="*/ 0 h 257442"/>
                <a:gd name="connsiteX1" fmla="*/ 1101686 w 1158324"/>
                <a:gd name="connsiteY1" fmla="*/ 257442 h 257442"/>
                <a:gd name="connsiteX2" fmla="*/ 0 w 1158324"/>
                <a:gd name="connsiteY2" fmla="*/ 257442 h 257442"/>
                <a:gd name="connsiteX3" fmla="*/ 0 w 1158324"/>
                <a:gd name="connsiteY3" fmla="*/ 0 h 257442"/>
                <a:gd name="connsiteX0" fmla="*/ 1324240 w 1324240"/>
                <a:gd name="connsiteY0" fmla="*/ 0 h 257442"/>
                <a:gd name="connsiteX1" fmla="*/ 1101686 w 1324240"/>
                <a:gd name="connsiteY1" fmla="*/ 257442 h 257442"/>
                <a:gd name="connsiteX2" fmla="*/ 0 w 1324240"/>
                <a:gd name="connsiteY2" fmla="*/ 257442 h 257442"/>
                <a:gd name="connsiteX3" fmla="*/ 0 w 1324240"/>
                <a:gd name="connsiteY3" fmla="*/ 0 h 257442"/>
                <a:gd name="connsiteX0" fmla="*/ 1324240 w 1324240"/>
                <a:gd name="connsiteY0" fmla="*/ 0 h 257442"/>
                <a:gd name="connsiteX1" fmla="*/ 1267602 w 1324240"/>
                <a:gd name="connsiteY1" fmla="*/ 257442 h 257442"/>
                <a:gd name="connsiteX2" fmla="*/ 0 w 1324240"/>
                <a:gd name="connsiteY2" fmla="*/ 257442 h 257442"/>
                <a:gd name="connsiteX3" fmla="*/ 0 w 1324240"/>
                <a:gd name="connsiteY3" fmla="*/ 0 h 257442"/>
                <a:gd name="connsiteX0" fmla="*/ 1324240 w 1324240"/>
                <a:gd name="connsiteY0" fmla="*/ 0 h 257442"/>
                <a:gd name="connsiteX1" fmla="*/ 1267602 w 1324240"/>
                <a:gd name="connsiteY1" fmla="*/ 257442 h 257442"/>
                <a:gd name="connsiteX2" fmla="*/ 0 w 1324240"/>
                <a:gd name="connsiteY2" fmla="*/ 257442 h 257442"/>
                <a:gd name="connsiteX3" fmla="*/ 0 w 1324240"/>
                <a:gd name="connsiteY3" fmla="*/ 0 h 257442"/>
                <a:gd name="connsiteX0" fmla="*/ 1324240 w 1324240"/>
                <a:gd name="connsiteY0" fmla="*/ 0 h 257442"/>
                <a:gd name="connsiteX1" fmla="*/ 1267602 w 1324240"/>
                <a:gd name="connsiteY1" fmla="*/ 257442 h 257442"/>
                <a:gd name="connsiteX2" fmla="*/ 0 w 1324240"/>
                <a:gd name="connsiteY2" fmla="*/ 257442 h 257442"/>
                <a:gd name="connsiteX3" fmla="*/ 0 w 1324240"/>
                <a:gd name="connsiteY3" fmla="*/ 0 h 257442"/>
                <a:gd name="connsiteX0" fmla="*/ 1481861 w 1481861"/>
                <a:gd name="connsiteY0" fmla="*/ 0 h 257442"/>
                <a:gd name="connsiteX1" fmla="*/ 1267602 w 1481861"/>
                <a:gd name="connsiteY1" fmla="*/ 257442 h 257442"/>
                <a:gd name="connsiteX2" fmla="*/ 0 w 1481861"/>
                <a:gd name="connsiteY2" fmla="*/ 257442 h 257442"/>
                <a:gd name="connsiteX3" fmla="*/ 0 w 1481861"/>
                <a:gd name="connsiteY3" fmla="*/ 0 h 257442"/>
                <a:gd name="connsiteX0" fmla="*/ 1481861 w 1481861"/>
                <a:gd name="connsiteY0" fmla="*/ 0 h 257442"/>
                <a:gd name="connsiteX1" fmla="*/ 1425223 w 1481861"/>
                <a:gd name="connsiteY1" fmla="*/ 257442 h 257442"/>
                <a:gd name="connsiteX2" fmla="*/ 0 w 1481861"/>
                <a:gd name="connsiteY2" fmla="*/ 257442 h 257442"/>
                <a:gd name="connsiteX3" fmla="*/ 0 w 1481861"/>
                <a:gd name="connsiteY3" fmla="*/ 0 h 257442"/>
                <a:gd name="connsiteX0" fmla="*/ 1481861 w 1481861"/>
                <a:gd name="connsiteY0" fmla="*/ 0 h 257442"/>
                <a:gd name="connsiteX1" fmla="*/ 1425223 w 1481861"/>
                <a:gd name="connsiteY1" fmla="*/ 257442 h 257442"/>
                <a:gd name="connsiteX2" fmla="*/ 0 w 1481861"/>
                <a:gd name="connsiteY2" fmla="*/ 257442 h 257442"/>
                <a:gd name="connsiteX3" fmla="*/ 0 w 1481861"/>
                <a:gd name="connsiteY3" fmla="*/ 0 h 257442"/>
                <a:gd name="connsiteX0" fmla="*/ 1481861 w 1481861"/>
                <a:gd name="connsiteY0" fmla="*/ 0 h 257442"/>
                <a:gd name="connsiteX1" fmla="*/ 1425223 w 1481861"/>
                <a:gd name="connsiteY1" fmla="*/ 257442 h 257442"/>
                <a:gd name="connsiteX2" fmla="*/ 0 w 1481861"/>
                <a:gd name="connsiteY2" fmla="*/ 257442 h 257442"/>
                <a:gd name="connsiteX3" fmla="*/ 0 w 1481861"/>
                <a:gd name="connsiteY3" fmla="*/ 0 h 257442"/>
                <a:gd name="connsiteX0" fmla="*/ 1663174 w 1663174"/>
                <a:gd name="connsiteY0" fmla="*/ 0 h 257442"/>
                <a:gd name="connsiteX1" fmla="*/ 1425223 w 1663174"/>
                <a:gd name="connsiteY1" fmla="*/ 257442 h 257442"/>
                <a:gd name="connsiteX2" fmla="*/ 0 w 1663174"/>
                <a:gd name="connsiteY2" fmla="*/ 257442 h 257442"/>
                <a:gd name="connsiteX3" fmla="*/ 0 w 1663174"/>
                <a:gd name="connsiteY3" fmla="*/ 0 h 257442"/>
                <a:gd name="connsiteX0" fmla="*/ 1663174 w 1663174"/>
                <a:gd name="connsiteY0" fmla="*/ 0 h 257442"/>
                <a:gd name="connsiteX1" fmla="*/ 1606536 w 1663174"/>
                <a:gd name="connsiteY1" fmla="*/ 257442 h 257442"/>
                <a:gd name="connsiteX2" fmla="*/ 0 w 1663174"/>
                <a:gd name="connsiteY2" fmla="*/ 257442 h 257442"/>
                <a:gd name="connsiteX3" fmla="*/ 0 w 1663174"/>
                <a:gd name="connsiteY3" fmla="*/ 0 h 257442"/>
                <a:gd name="connsiteX0" fmla="*/ 1663174 w 1663174"/>
                <a:gd name="connsiteY0" fmla="*/ 0 h 257442"/>
                <a:gd name="connsiteX1" fmla="*/ 1606536 w 1663174"/>
                <a:gd name="connsiteY1" fmla="*/ 257442 h 257442"/>
                <a:gd name="connsiteX2" fmla="*/ 0 w 1663174"/>
                <a:gd name="connsiteY2" fmla="*/ 257442 h 257442"/>
                <a:gd name="connsiteX3" fmla="*/ 0 w 1663174"/>
                <a:gd name="connsiteY3" fmla="*/ 0 h 257442"/>
                <a:gd name="connsiteX0" fmla="*/ 1663174 w 1663174"/>
                <a:gd name="connsiteY0" fmla="*/ 0 h 257442"/>
                <a:gd name="connsiteX1" fmla="*/ 1606536 w 1663174"/>
                <a:gd name="connsiteY1" fmla="*/ 257442 h 257442"/>
                <a:gd name="connsiteX2" fmla="*/ 0 w 1663174"/>
                <a:gd name="connsiteY2" fmla="*/ 257442 h 257442"/>
                <a:gd name="connsiteX3" fmla="*/ 0 w 1663174"/>
                <a:gd name="connsiteY3" fmla="*/ 0 h 257442"/>
                <a:gd name="connsiteX0" fmla="*/ 1855638 w 1855638"/>
                <a:gd name="connsiteY0" fmla="*/ 0 h 257442"/>
                <a:gd name="connsiteX1" fmla="*/ 1606536 w 1855638"/>
                <a:gd name="connsiteY1" fmla="*/ 257442 h 257442"/>
                <a:gd name="connsiteX2" fmla="*/ 0 w 1855638"/>
                <a:gd name="connsiteY2" fmla="*/ 257442 h 257442"/>
                <a:gd name="connsiteX3" fmla="*/ 0 w 1855638"/>
                <a:gd name="connsiteY3" fmla="*/ 0 h 257442"/>
                <a:gd name="connsiteX0" fmla="*/ 1855638 w 1855638"/>
                <a:gd name="connsiteY0" fmla="*/ 0 h 257442"/>
                <a:gd name="connsiteX1" fmla="*/ 1799000 w 1855638"/>
                <a:gd name="connsiteY1" fmla="*/ 257442 h 257442"/>
                <a:gd name="connsiteX2" fmla="*/ 0 w 1855638"/>
                <a:gd name="connsiteY2" fmla="*/ 257442 h 257442"/>
                <a:gd name="connsiteX3" fmla="*/ 0 w 1855638"/>
                <a:gd name="connsiteY3" fmla="*/ 0 h 257442"/>
                <a:gd name="connsiteX0" fmla="*/ 1855638 w 1855638"/>
                <a:gd name="connsiteY0" fmla="*/ 0 h 257442"/>
                <a:gd name="connsiteX1" fmla="*/ 1799000 w 1855638"/>
                <a:gd name="connsiteY1" fmla="*/ 257442 h 257442"/>
                <a:gd name="connsiteX2" fmla="*/ 0 w 1855638"/>
                <a:gd name="connsiteY2" fmla="*/ 257442 h 257442"/>
                <a:gd name="connsiteX3" fmla="*/ 0 w 1855638"/>
                <a:gd name="connsiteY3" fmla="*/ 0 h 257442"/>
                <a:gd name="connsiteX0" fmla="*/ 1855638 w 1855638"/>
                <a:gd name="connsiteY0" fmla="*/ 0 h 257442"/>
                <a:gd name="connsiteX1" fmla="*/ 1799000 w 1855638"/>
                <a:gd name="connsiteY1" fmla="*/ 257442 h 257442"/>
                <a:gd name="connsiteX2" fmla="*/ 0 w 1855638"/>
                <a:gd name="connsiteY2" fmla="*/ 257442 h 257442"/>
                <a:gd name="connsiteX3" fmla="*/ 0 w 1855638"/>
                <a:gd name="connsiteY3" fmla="*/ 0 h 257442"/>
                <a:gd name="connsiteX0" fmla="*/ 2021554 w 2021554"/>
                <a:gd name="connsiteY0" fmla="*/ 0 h 257442"/>
                <a:gd name="connsiteX1" fmla="*/ 1799000 w 2021554"/>
                <a:gd name="connsiteY1" fmla="*/ 257442 h 257442"/>
                <a:gd name="connsiteX2" fmla="*/ 0 w 2021554"/>
                <a:gd name="connsiteY2" fmla="*/ 257442 h 257442"/>
                <a:gd name="connsiteX3" fmla="*/ 0 w 2021554"/>
                <a:gd name="connsiteY3" fmla="*/ 0 h 257442"/>
                <a:gd name="connsiteX0" fmla="*/ 2021554 w 2021554"/>
                <a:gd name="connsiteY0" fmla="*/ 0 h 257442"/>
                <a:gd name="connsiteX1" fmla="*/ 1964916 w 2021554"/>
                <a:gd name="connsiteY1" fmla="*/ 257442 h 257442"/>
                <a:gd name="connsiteX2" fmla="*/ 0 w 2021554"/>
                <a:gd name="connsiteY2" fmla="*/ 257442 h 257442"/>
                <a:gd name="connsiteX3" fmla="*/ 0 w 2021554"/>
                <a:gd name="connsiteY3" fmla="*/ 0 h 257442"/>
                <a:gd name="connsiteX0" fmla="*/ 2021554 w 2021554"/>
                <a:gd name="connsiteY0" fmla="*/ 0 h 257442"/>
                <a:gd name="connsiteX1" fmla="*/ 1964916 w 2021554"/>
                <a:gd name="connsiteY1" fmla="*/ 257442 h 257442"/>
                <a:gd name="connsiteX2" fmla="*/ 0 w 2021554"/>
                <a:gd name="connsiteY2" fmla="*/ 257442 h 257442"/>
                <a:gd name="connsiteX3" fmla="*/ 0 w 2021554"/>
                <a:gd name="connsiteY3" fmla="*/ 0 h 257442"/>
                <a:gd name="connsiteX0" fmla="*/ 2021554 w 2021554"/>
                <a:gd name="connsiteY0" fmla="*/ 0 h 257442"/>
                <a:gd name="connsiteX1" fmla="*/ 1964916 w 2021554"/>
                <a:gd name="connsiteY1" fmla="*/ 257442 h 257442"/>
                <a:gd name="connsiteX2" fmla="*/ 0 w 2021554"/>
                <a:gd name="connsiteY2" fmla="*/ 257442 h 257442"/>
                <a:gd name="connsiteX3" fmla="*/ 0 w 2021554"/>
                <a:gd name="connsiteY3" fmla="*/ 0 h 257442"/>
                <a:gd name="connsiteX0" fmla="*/ 2195766 w 2195766"/>
                <a:gd name="connsiteY0" fmla="*/ 0 h 257442"/>
                <a:gd name="connsiteX1" fmla="*/ 1964916 w 2195766"/>
                <a:gd name="connsiteY1" fmla="*/ 257442 h 257442"/>
                <a:gd name="connsiteX2" fmla="*/ 0 w 2195766"/>
                <a:gd name="connsiteY2" fmla="*/ 257442 h 257442"/>
                <a:gd name="connsiteX3" fmla="*/ 0 w 2195766"/>
                <a:gd name="connsiteY3" fmla="*/ 0 h 257442"/>
                <a:gd name="connsiteX0" fmla="*/ 2195766 w 2195766"/>
                <a:gd name="connsiteY0" fmla="*/ 0 h 257442"/>
                <a:gd name="connsiteX1" fmla="*/ 2139127 w 2195766"/>
                <a:gd name="connsiteY1" fmla="*/ 257442 h 257442"/>
                <a:gd name="connsiteX2" fmla="*/ 0 w 2195766"/>
                <a:gd name="connsiteY2" fmla="*/ 257442 h 257442"/>
                <a:gd name="connsiteX3" fmla="*/ 0 w 2195766"/>
                <a:gd name="connsiteY3" fmla="*/ 0 h 257442"/>
                <a:gd name="connsiteX0" fmla="*/ 2195767 w 2195767"/>
                <a:gd name="connsiteY0" fmla="*/ 0 h 257442"/>
                <a:gd name="connsiteX1" fmla="*/ 2139128 w 2195767"/>
                <a:gd name="connsiteY1" fmla="*/ 257442 h 257442"/>
                <a:gd name="connsiteX2" fmla="*/ 0 w 2195767"/>
                <a:gd name="connsiteY2" fmla="*/ 257442 h 257442"/>
                <a:gd name="connsiteX3" fmla="*/ 1 w 2195767"/>
                <a:gd name="connsiteY3" fmla="*/ 0 h 257442"/>
                <a:gd name="connsiteX0" fmla="*/ 2195767 w 2195767"/>
                <a:gd name="connsiteY0" fmla="*/ 0 h 257442"/>
                <a:gd name="connsiteX1" fmla="*/ 2139128 w 2195767"/>
                <a:gd name="connsiteY1" fmla="*/ 257442 h 257442"/>
                <a:gd name="connsiteX2" fmla="*/ 0 w 2195767"/>
                <a:gd name="connsiteY2" fmla="*/ 257442 h 257442"/>
                <a:gd name="connsiteX3" fmla="*/ 1 w 2195767"/>
                <a:gd name="connsiteY3" fmla="*/ 0 h 257442"/>
                <a:gd name="connsiteX0" fmla="*/ 2300294 w 2300294"/>
                <a:gd name="connsiteY0" fmla="*/ 0 h 257442"/>
                <a:gd name="connsiteX1" fmla="*/ 2139128 w 2300294"/>
                <a:gd name="connsiteY1" fmla="*/ 257442 h 257442"/>
                <a:gd name="connsiteX2" fmla="*/ 0 w 2300294"/>
                <a:gd name="connsiteY2" fmla="*/ 257442 h 257442"/>
                <a:gd name="connsiteX3" fmla="*/ 1 w 2300294"/>
                <a:gd name="connsiteY3" fmla="*/ 0 h 257442"/>
                <a:gd name="connsiteX0" fmla="*/ 2300294 w 2300294"/>
                <a:gd name="connsiteY0" fmla="*/ 0 h 257442"/>
                <a:gd name="connsiteX1" fmla="*/ 2243655 w 2300294"/>
                <a:gd name="connsiteY1" fmla="*/ 257442 h 257442"/>
                <a:gd name="connsiteX2" fmla="*/ 0 w 2300294"/>
                <a:gd name="connsiteY2" fmla="*/ 257442 h 257442"/>
                <a:gd name="connsiteX3" fmla="*/ 1 w 2300294"/>
                <a:gd name="connsiteY3" fmla="*/ 0 h 257442"/>
                <a:gd name="connsiteX0" fmla="*/ 2300294 w 2300294"/>
                <a:gd name="connsiteY0" fmla="*/ 0 h 257442"/>
                <a:gd name="connsiteX1" fmla="*/ 2243655 w 2300294"/>
                <a:gd name="connsiteY1" fmla="*/ 257442 h 257442"/>
                <a:gd name="connsiteX2" fmla="*/ 0 w 2300294"/>
                <a:gd name="connsiteY2" fmla="*/ 257442 h 257442"/>
                <a:gd name="connsiteX3" fmla="*/ 1 w 2300294"/>
                <a:gd name="connsiteY3" fmla="*/ 0 h 257442"/>
                <a:gd name="connsiteX0" fmla="*/ 2300294 w 2300294"/>
                <a:gd name="connsiteY0" fmla="*/ 0 h 257442"/>
                <a:gd name="connsiteX1" fmla="*/ 2243655 w 2300294"/>
                <a:gd name="connsiteY1" fmla="*/ 257442 h 257442"/>
                <a:gd name="connsiteX2" fmla="*/ 0 w 2300294"/>
                <a:gd name="connsiteY2" fmla="*/ 257442 h 257442"/>
                <a:gd name="connsiteX3" fmla="*/ 0 w 2300294"/>
                <a:gd name="connsiteY3" fmla="*/ 0 h 257442"/>
                <a:gd name="connsiteX0" fmla="*/ 2466210 w 2466210"/>
                <a:gd name="connsiteY0" fmla="*/ 0 h 257442"/>
                <a:gd name="connsiteX1" fmla="*/ 2243655 w 2466210"/>
                <a:gd name="connsiteY1" fmla="*/ 257442 h 257442"/>
                <a:gd name="connsiteX2" fmla="*/ 0 w 2466210"/>
                <a:gd name="connsiteY2" fmla="*/ 257442 h 257442"/>
                <a:gd name="connsiteX3" fmla="*/ 0 w 2466210"/>
                <a:gd name="connsiteY3" fmla="*/ 0 h 257442"/>
                <a:gd name="connsiteX0" fmla="*/ 2466210 w 2466210"/>
                <a:gd name="connsiteY0" fmla="*/ 0 h 257442"/>
                <a:gd name="connsiteX1" fmla="*/ 2409572 w 2466210"/>
                <a:gd name="connsiteY1" fmla="*/ 257442 h 257442"/>
                <a:gd name="connsiteX2" fmla="*/ 0 w 2466210"/>
                <a:gd name="connsiteY2" fmla="*/ 257442 h 257442"/>
                <a:gd name="connsiteX3" fmla="*/ 0 w 2466210"/>
                <a:gd name="connsiteY3" fmla="*/ 0 h 257442"/>
                <a:gd name="connsiteX0" fmla="*/ 2466210 w 2466210"/>
                <a:gd name="connsiteY0" fmla="*/ 0 h 257442"/>
                <a:gd name="connsiteX1" fmla="*/ 2409572 w 2466210"/>
                <a:gd name="connsiteY1" fmla="*/ 257442 h 257442"/>
                <a:gd name="connsiteX2" fmla="*/ 0 w 2466210"/>
                <a:gd name="connsiteY2" fmla="*/ 257442 h 257442"/>
                <a:gd name="connsiteX3" fmla="*/ 0 w 2466210"/>
                <a:gd name="connsiteY3" fmla="*/ 0 h 257442"/>
                <a:gd name="connsiteX0" fmla="*/ 2466210 w 2466210"/>
                <a:gd name="connsiteY0" fmla="*/ 0 h 257442"/>
                <a:gd name="connsiteX1" fmla="*/ 2409572 w 2466210"/>
                <a:gd name="connsiteY1" fmla="*/ 257442 h 257442"/>
                <a:gd name="connsiteX2" fmla="*/ 0 w 2466210"/>
                <a:gd name="connsiteY2" fmla="*/ 257442 h 257442"/>
                <a:gd name="connsiteX3" fmla="*/ 0 w 2466210"/>
                <a:gd name="connsiteY3" fmla="*/ 0 h 257442"/>
                <a:gd name="connsiteX0" fmla="*/ 2632126 w 2632126"/>
                <a:gd name="connsiteY0" fmla="*/ 0 h 257442"/>
                <a:gd name="connsiteX1" fmla="*/ 2409572 w 2632126"/>
                <a:gd name="connsiteY1" fmla="*/ 257442 h 257442"/>
                <a:gd name="connsiteX2" fmla="*/ 0 w 2632126"/>
                <a:gd name="connsiteY2" fmla="*/ 257442 h 257442"/>
                <a:gd name="connsiteX3" fmla="*/ 0 w 2632126"/>
                <a:gd name="connsiteY3" fmla="*/ 0 h 257442"/>
                <a:gd name="connsiteX0" fmla="*/ 2632126 w 2632126"/>
                <a:gd name="connsiteY0" fmla="*/ 0 h 257442"/>
                <a:gd name="connsiteX1" fmla="*/ 2575488 w 2632126"/>
                <a:gd name="connsiteY1" fmla="*/ 257442 h 257442"/>
                <a:gd name="connsiteX2" fmla="*/ 0 w 2632126"/>
                <a:gd name="connsiteY2" fmla="*/ 257442 h 257442"/>
                <a:gd name="connsiteX3" fmla="*/ 0 w 2632126"/>
                <a:gd name="connsiteY3" fmla="*/ 0 h 257442"/>
                <a:gd name="connsiteX0" fmla="*/ 2632126 w 2632126"/>
                <a:gd name="connsiteY0" fmla="*/ 0 h 257442"/>
                <a:gd name="connsiteX1" fmla="*/ 2575488 w 2632126"/>
                <a:gd name="connsiteY1" fmla="*/ 257442 h 257442"/>
                <a:gd name="connsiteX2" fmla="*/ 0 w 2632126"/>
                <a:gd name="connsiteY2" fmla="*/ 257442 h 257442"/>
                <a:gd name="connsiteX3" fmla="*/ 0 w 2632126"/>
                <a:gd name="connsiteY3" fmla="*/ 0 h 257442"/>
                <a:gd name="connsiteX0" fmla="*/ 2632126 w 2632126"/>
                <a:gd name="connsiteY0" fmla="*/ 0 h 257442"/>
                <a:gd name="connsiteX1" fmla="*/ 2575488 w 2632126"/>
                <a:gd name="connsiteY1" fmla="*/ 257442 h 257442"/>
                <a:gd name="connsiteX2" fmla="*/ 0 w 2632126"/>
                <a:gd name="connsiteY2" fmla="*/ 257442 h 257442"/>
                <a:gd name="connsiteX3" fmla="*/ 0 w 2632126"/>
                <a:gd name="connsiteY3" fmla="*/ 0 h 257442"/>
                <a:gd name="connsiteX0" fmla="*/ 2806338 w 2806338"/>
                <a:gd name="connsiteY0" fmla="*/ 0 h 257442"/>
                <a:gd name="connsiteX1" fmla="*/ 2575488 w 2806338"/>
                <a:gd name="connsiteY1" fmla="*/ 257442 h 257442"/>
                <a:gd name="connsiteX2" fmla="*/ 0 w 2806338"/>
                <a:gd name="connsiteY2" fmla="*/ 257442 h 257442"/>
                <a:gd name="connsiteX3" fmla="*/ 0 w 2806338"/>
                <a:gd name="connsiteY3" fmla="*/ 0 h 257442"/>
                <a:gd name="connsiteX0" fmla="*/ 2806338 w 2806338"/>
                <a:gd name="connsiteY0" fmla="*/ 0 h 257442"/>
                <a:gd name="connsiteX1" fmla="*/ 2749700 w 2806338"/>
                <a:gd name="connsiteY1" fmla="*/ 257442 h 257442"/>
                <a:gd name="connsiteX2" fmla="*/ 0 w 2806338"/>
                <a:gd name="connsiteY2" fmla="*/ 257442 h 257442"/>
                <a:gd name="connsiteX3" fmla="*/ 0 w 2806338"/>
                <a:gd name="connsiteY3" fmla="*/ 0 h 257442"/>
                <a:gd name="connsiteX0" fmla="*/ 2806338 w 2806338"/>
                <a:gd name="connsiteY0" fmla="*/ 0 h 257442"/>
                <a:gd name="connsiteX1" fmla="*/ 2749700 w 2806338"/>
                <a:gd name="connsiteY1" fmla="*/ 257442 h 257442"/>
                <a:gd name="connsiteX2" fmla="*/ 0 w 2806338"/>
                <a:gd name="connsiteY2" fmla="*/ 257442 h 257442"/>
                <a:gd name="connsiteX3" fmla="*/ 0 w 2806338"/>
                <a:gd name="connsiteY3" fmla="*/ 0 h 257442"/>
                <a:gd name="connsiteX0" fmla="*/ 2806338 w 2806338"/>
                <a:gd name="connsiteY0" fmla="*/ 0 h 257442"/>
                <a:gd name="connsiteX1" fmla="*/ 2749700 w 2806338"/>
                <a:gd name="connsiteY1" fmla="*/ 257442 h 257442"/>
                <a:gd name="connsiteX2" fmla="*/ 0 w 2806338"/>
                <a:gd name="connsiteY2" fmla="*/ 257442 h 257442"/>
                <a:gd name="connsiteX3" fmla="*/ 0 w 2806338"/>
                <a:gd name="connsiteY3" fmla="*/ 0 h 257442"/>
                <a:gd name="connsiteX0" fmla="*/ 2963958 w 2963958"/>
                <a:gd name="connsiteY0" fmla="*/ 0 h 257442"/>
                <a:gd name="connsiteX1" fmla="*/ 2749700 w 2963958"/>
                <a:gd name="connsiteY1" fmla="*/ 257442 h 257442"/>
                <a:gd name="connsiteX2" fmla="*/ 0 w 2963958"/>
                <a:gd name="connsiteY2" fmla="*/ 257442 h 257442"/>
                <a:gd name="connsiteX3" fmla="*/ 0 w 2963958"/>
                <a:gd name="connsiteY3" fmla="*/ 0 h 257442"/>
                <a:gd name="connsiteX0" fmla="*/ 2963958 w 2963958"/>
                <a:gd name="connsiteY0" fmla="*/ 0 h 257442"/>
                <a:gd name="connsiteX1" fmla="*/ 2907319 w 2963958"/>
                <a:gd name="connsiteY1" fmla="*/ 257442 h 257442"/>
                <a:gd name="connsiteX2" fmla="*/ 0 w 2963958"/>
                <a:gd name="connsiteY2" fmla="*/ 257442 h 257442"/>
                <a:gd name="connsiteX3" fmla="*/ 0 w 2963958"/>
                <a:gd name="connsiteY3" fmla="*/ 0 h 257442"/>
                <a:gd name="connsiteX0" fmla="*/ 2963959 w 2963959"/>
                <a:gd name="connsiteY0" fmla="*/ 0 h 257442"/>
                <a:gd name="connsiteX1" fmla="*/ 2907320 w 2963959"/>
                <a:gd name="connsiteY1" fmla="*/ 257442 h 257442"/>
                <a:gd name="connsiteX2" fmla="*/ 0 w 2963959"/>
                <a:gd name="connsiteY2" fmla="*/ 257442 h 257442"/>
                <a:gd name="connsiteX3" fmla="*/ 1 w 2963959"/>
                <a:gd name="connsiteY3" fmla="*/ 0 h 257442"/>
                <a:gd name="connsiteX0" fmla="*/ 2963959 w 2963959"/>
                <a:gd name="connsiteY0" fmla="*/ 0 h 257442"/>
                <a:gd name="connsiteX1" fmla="*/ 2907320 w 2963959"/>
                <a:gd name="connsiteY1" fmla="*/ 257442 h 257442"/>
                <a:gd name="connsiteX2" fmla="*/ 0 w 2963959"/>
                <a:gd name="connsiteY2" fmla="*/ 257442 h 257442"/>
                <a:gd name="connsiteX3" fmla="*/ 1 w 2963959"/>
                <a:gd name="connsiteY3" fmla="*/ 0 h 257442"/>
                <a:gd name="connsiteX0" fmla="*/ 3068486 w 3068486"/>
                <a:gd name="connsiteY0" fmla="*/ 0 h 257442"/>
                <a:gd name="connsiteX1" fmla="*/ 2907320 w 3068486"/>
                <a:gd name="connsiteY1" fmla="*/ 257442 h 257442"/>
                <a:gd name="connsiteX2" fmla="*/ 0 w 3068486"/>
                <a:gd name="connsiteY2" fmla="*/ 257442 h 257442"/>
                <a:gd name="connsiteX3" fmla="*/ 1 w 3068486"/>
                <a:gd name="connsiteY3" fmla="*/ 0 h 257442"/>
                <a:gd name="connsiteX0" fmla="*/ 3068486 w 3068486"/>
                <a:gd name="connsiteY0" fmla="*/ 0 h 257442"/>
                <a:gd name="connsiteX1" fmla="*/ 3011847 w 3068486"/>
                <a:gd name="connsiteY1" fmla="*/ 257442 h 257442"/>
                <a:gd name="connsiteX2" fmla="*/ 0 w 3068486"/>
                <a:gd name="connsiteY2" fmla="*/ 257442 h 257442"/>
                <a:gd name="connsiteX3" fmla="*/ 1 w 3068486"/>
                <a:gd name="connsiteY3" fmla="*/ 0 h 257442"/>
                <a:gd name="connsiteX0" fmla="*/ 3068486 w 3068486"/>
                <a:gd name="connsiteY0" fmla="*/ 0 h 257442"/>
                <a:gd name="connsiteX1" fmla="*/ 3011847 w 3068486"/>
                <a:gd name="connsiteY1" fmla="*/ 257442 h 257442"/>
                <a:gd name="connsiteX2" fmla="*/ 0 w 3068486"/>
                <a:gd name="connsiteY2" fmla="*/ 257442 h 257442"/>
                <a:gd name="connsiteX3" fmla="*/ 1 w 3068486"/>
                <a:gd name="connsiteY3" fmla="*/ 0 h 257442"/>
                <a:gd name="connsiteX0" fmla="*/ 3068486 w 3068486"/>
                <a:gd name="connsiteY0" fmla="*/ 0 h 257442"/>
                <a:gd name="connsiteX1" fmla="*/ 3011847 w 3068486"/>
                <a:gd name="connsiteY1" fmla="*/ 257442 h 257442"/>
                <a:gd name="connsiteX2" fmla="*/ 0 w 3068486"/>
                <a:gd name="connsiteY2" fmla="*/ 257442 h 257442"/>
                <a:gd name="connsiteX3" fmla="*/ 0 w 3068486"/>
                <a:gd name="connsiteY3" fmla="*/ 0 h 257442"/>
                <a:gd name="connsiteX0" fmla="*/ 3260949 w 3260949"/>
                <a:gd name="connsiteY0" fmla="*/ 0 h 257442"/>
                <a:gd name="connsiteX1" fmla="*/ 3011847 w 3260949"/>
                <a:gd name="connsiteY1" fmla="*/ 257442 h 257442"/>
                <a:gd name="connsiteX2" fmla="*/ 0 w 3260949"/>
                <a:gd name="connsiteY2" fmla="*/ 257442 h 257442"/>
                <a:gd name="connsiteX3" fmla="*/ 0 w 3260949"/>
                <a:gd name="connsiteY3" fmla="*/ 0 h 257442"/>
                <a:gd name="connsiteX0" fmla="*/ 3260949 w 3260949"/>
                <a:gd name="connsiteY0" fmla="*/ 0 h 257442"/>
                <a:gd name="connsiteX1" fmla="*/ 3204311 w 3260949"/>
                <a:gd name="connsiteY1" fmla="*/ 257442 h 257442"/>
                <a:gd name="connsiteX2" fmla="*/ 0 w 3260949"/>
                <a:gd name="connsiteY2" fmla="*/ 257442 h 257442"/>
                <a:gd name="connsiteX3" fmla="*/ 0 w 3260949"/>
                <a:gd name="connsiteY3" fmla="*/ 0 h 257442"/>
                <a:gd name="connsiteX0" fmla="*/ 3260949 w 3260949"/>
                <a:gd name="connsiteY0" fmla="*/ 0 h 257442"/>
                <a:gd name="connsiteX1" fmla="*/ 3204311 w 3260949"/>
                <a:gd name="connsiteY1" fmla="*/ 257442 h 257442"/>
                <a:gd name="connsiteX2" fmla="*/ 0 w 3260949"/>
                <a:gd name="connsiteY2" fmla="*/ 257442 h 257442"/>
                <a:gd name="connsiteX3" fmla="*/ 0 w 3260949"/>
                <a:gd name="connsiteY3" fmla="*/ 0 h 257442"/>
                <a:gd name="connsiteX0" fmla="*/ 3260949 w 3260949"/>
                <a:gd name="connsiteY0" fmla="*/ 0 h 257442"/>
                <a:gd name="connsiteX1" fmla="*/ 3204311 w 3260949"/>
                <a:gd name="connsiteY1" fmla="*/ 257442 h 257442"/>
                <a:gd name="connsiteX2" fmla="*/ 0 w 3260949"/>
                <a:gd name="connsiteY2" fmla="*/ 257442 h 257442"/>
                <a:gd name="connsiteX3" fmla="*/ 0 w 3260949"/>
                <a:gd name="connsiteY3" fmla="*/ 0 h 257442"/>
                <a:gd name="connsiteX0" fmla="*/ 3426865 w 3426865"/>
                <a:gd name="connsiteY0" fmla="*/ 0 h 257442"/>
                <a:gd name="connsiteX1" fmla="*/ 3204311 w 3426865"/>
                <a:gd name="connsiteY1" fmla="*/ 257442 h 257442"/>
                <a:gd name="connsiteX2" fmla="*/ 0 w 3426865"/>
                <a:gd name="connsiteY2" fmla="*/ 257442 h 257442"/>
                <a:gd name="connsiteX3" fmla="*/ 0 w 3426865"/>
                <a:gd name="connsiteY3" fmla="*/ 0 h 257442"/>
                <a:gd name="connsiteX0" fmla="*/ 3426865 w 3426865"/>
                <a:gd name="connsiteY0" fmla="*/ 0 h 257442"/>
                <a:gd name="connsiteX1" fmla="*/ 3370227 w 3426865"/>
                <a:gd name="connsiteY1" fmla="*/ 257442 h 257442"/>
                <a:gd name="connsiteX2" fmla="*/ 0 w 3426865"/>
                <a:gd name="connsiteY2" fmla="*/ 257442 h 257442"/>
                <a:gd name="connsiteX3" fmla="*/ 0 w 3426865"/>
                <a:gd name="connsiteY3" fmla="*/ 0 h 257442"/>
                <a:gd name="connsiteX0" fmla="*/ 3426865 w 3426865"/>
                <a:gd name="connsiteY0" fmla="*/ 0 h 257442"/>
                <a:gd name="connsiteX1" fmla="*/ 3370227 w 3426865"/>
                <a:gd name="connsiteY1" fmla="*/ 257442 h 257442"/>
                <a:gd name="connsiteX2" fmla="*/ 0 w 3426865"/>
                <a:gd name="connsiteY2" fmla="*/ 257442 h 257442"/>
                <a:gd name="connsiteX3" fmla="*/ 0 w 3426865"/>
                <a:gd name="connsiteY3" fmla="*/ 0 h 257442"/>
                <a:gd name="connsiteX0" fmla="*/ 3426865 w 3426865"/>
                <a:gd name="connsiteY0" fmla="*/ 0 h 257442"/>
                <a:gd name="connsiteX1" fmla="*/ 3370227 w 3426865"/>
                <a:gd name="connsiteY1" fmla="*/ 257442 h 257442"/>
                <a:gd name="connsiteX2" fmla="*/ 0 w 3426865"/>
                <a:gd name="connsiteY2" fmla="*/ 257442 h 257442"/>
                <a:gd name="connsiteX3" fmla="*/ 0 w 3426865"/>
                <a:gd name="connsiteY3" fmla="*/ 0 h 257442"/>
                <a:gd name="connsiteX0" fmla="*/ 3601078 w 3601078"/>
                <a:gd name="connsiteY0" fmla="*/ 0 h 257442"/>
                <a:gd name="connsiteX1" fmla="*/ 3370227 w 3601078"/>
                <a:gd name="connsiteY1" fmla="*/ 257442 h 257442"/>
                <a:gd name="connsiteX2" fmla="*/ 0 w 3601078"/>
                <a:gd name="connsiteY2" fmla="*/ 257442 h 257442"/>
                <a:gd name="connsiteX3" fmla="*/ 0 w 3601078"/>
                <a:gd name="connsiteY3" fmla="*/ 0 h 257442"/>
                <a:gd name="connsiteX0" fmla="*/ 3601078 w 3601078"/>
                <a:gd name="connsiteY0" fmla="*/ 0 h 257442"/>
                <a:gd name="connsiteX1" fmla="*/ 3544440 w 3601078"/>
                <a:gd name="connsiteY1" fmla="*/ 257442 h 257442"/>
                <a:gd name="connsiteX2" fmla="*/ 0 w 3601078"/>
                <a:gd name="connsiteY2" fmla="*/ 257442 h 257442"/>
                <a:gd name="connsiteX3" fmla="*/ 0 w 3601078"/>
                <a:gd name="connsiteY3" fmla="*/ 0 h 257442"/>
                <a:gd name="connsiteX0" fmla="*/ 3601078 w 3601078"/>
                <a:gd name="connsiteY0" fmla="*/ 0 h 257442"/>
                <a:gd name="connsiteX1" fmla="*/ 3544440 w 3601078"/>
                <a:gd name="connsiteY1" fmla="*/ 257442 h 257442"/>
                <a:gd name="connsiteX2" fmla="*/ 0 w 3601078"/>
                <a:gd name="connsiteY2" fmla="*/ 257442 h 257442"/>
                <a:gd name="connsiteX3" fmla="*/ 0 w 3601078"/>
                <a:gd name="connsiteY3" fmla="*/ 0 h 257442"/>
                <a:gd name="connsiteX0" fmla="*/ 3601078 w 3601078"/>
                <a:gd name="connsiteY0" fmla="*/ 0 h 257442"/>
                <a:gd name="connsiteX1" fmla="*/ 3544440 w 3601078"/>
                <a:gd name="connsiteY1" fmla="*/ 257442 h 257442"/>
                <a:gd name="connsiteX2" fmla="*/ 0 w 3601078"/>
                <a:gd name="connsiteY2" fmla="*/ 257442 h 257442"/>
                <a:gd name="connsiteX3" fmla="*/ 0 w 3601078"/>
                <a:gd name="connsiteY3" fmla="*/ 0 h 257442"/>
                <a:gd name="connsiteX0" fmla="*/ 3758697 w 3758697"/>
                <a:gd name="connsiteY0" fmla="*/ 0 h 257442"/>
                <a:gd name="connsiteX1" fmla="*/ 3544440 w 3758697"/>
                <a:gd name="connsiteY1" fmla="*/ 257442 h 257442"/>
                <a:gd name="connsiteX2" fmla="*/ 0 w 3758697"/>
                <a:gd name="connsiteY2" fmla="*/ 257442 h 257442"/>
                <a:gd name="connsiteX3" fmla="*/ 0 w 3758697"/>
                <a:gd name="connsiteY3" fmla="*/ 0 h 257442"/>
                <a:gd name="connsiteX0" fmla="*/ 3758697 w 3758697"/>
                <a:gd name="connsiteY0" fmla="*/ 0 h 257442"/>
                <a:gd name="connsiteX1" fmla="*/ 3702059 w 3758697"/>
                <a:gd name="connsiteY1" fmla="*/ 257442 h 257442"/>
                <a:gd name="connsiteX2" fmla="*/ 0 w 3758697"/>
                <a:gd name="connsiteY2" fmla="*/ 257442 h 257442"/>
                <a:gd name="connsiteX3" fmla="*/ 0 w 3758697"/>
                <a:gd name="connsiteY3" fmla="*/ 0 h 257442"/>
                <a:gd name="connsiteX0" fmla="*/ 3758697 w 3758697"/>
                <a:gd name="connsiteY0" fmla="*/ 0 h 257442"/>
                <a:gd name="connsiteX1" fmla="*/ 3702059 w 3758697"/>
                <a:gd name="connsiteY1" fmla="*/ 257442 h 257442"/>
                <a:gd name="connsiteX2" fmla="*/ 0 w 3758697"/>
                <a:gd name="connsiteY2" fmla="*/ 257442 h 257442"/>
                <a:gd name="connsiteX3" fmla="*/ 0 w 3758697"/>
                <a:gd name="connsiteY3" fmla="*/ 0 h 257442"/>
                <a:gd name="connsiteX0" fmla="*/ 3758697 w 3758697"/>
                <a:gd name="connsiteY0" fmla="*/ 0 h 257442"/>
                <a:gd name="connsiteX1" fmla="*/ 3702059 w 3758697"/>
                <a:gd name="connsiteY1" fmla="*/ 257442 h 257442"/>
                <a:gd name="connsiteX2" fmla="*/ 0 w 3758697"/>
                <a:gd name="connsiteY2" fmla="*/ 257442 h 257442"/>
                <a:gd name="connsiteX3" fmla="*/ 0 w 375869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58697" h="257442">
                  <a:moveTo>
                    <a:pt x="3758697" y="0"/>
                  </a:moveTo>
                  <a:lnTo>
                    <a:pt x="3702059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92" name="btfpRunningAgenda2LevelTextLeft283164">
              <a:extLst>
                <a:ext uri="{FF2B5EF4-FFF2-40B4-BE49-F238E27FC236}">
                  <a16:creationId xmlns:a16="http://schemas.microsoft.com/office/drawing/2014/main" id="{CAEB0EB0-5091-4620-BFD1-80D93C82F4D7}"/>
                </a:ext>
              </a:extLst>
            </p:cNvPr>
            <p:cNvSpPr txBox="1"/>
            <p:nvPr/>
          </p:nvSpPr>
          <p:spPr bwMode="gray">
            <a:xfrm>
              <a:off x="0" y="944429"/>
              <a:ext cx="370205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USTOMER SENTIMENT</a:t>
              </a:r>
            </a:p>
          </p:txBody>
        </p:sp>
        <p:sp>
          <p:nvSpPr>
            <p:cNvPr id="93" name="btfpRunningAgenda2LevelBarRight283164">
              <a:extLst>
                <a:ext uri="{FF2B5EF4-FFF2-40B4-BE49-F238E27FC236}">
                  <a16:creationId xmlns:a16="http://schemas.microsoft.com/office/drawing/2014/main" id="{0EDF67B3-CA69-47A7-999E-553CBDA94687}"/>
                </a:ext>
              </a:extLst>
            </p:cNvPr>
            <p:cNvSpPr/>
            <p:nvPr/>
          </p:nvSpPr>
          <p:spPr bwMode="gray">
            <a:xfrm>
              <a:off x="3619132" y="944429"/>
              <a:ext cx="4141830" cy="257442"/>
            </a:xfrm>
            <a:custGeom>
              <a:avLst/>
              <a:gdLst>
                <a:gd name="connsiteX0" fmla="*/ 942786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42786 w 2313135"/>
                <a:gd name="connsiteY0" fmla="*/ 0 h 257442"/>
                <a:gd name="connsiteX1" fmla="*/ 888065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11101 w 1111101"/>
                <a:gd name="connsiteY0" fmla="*/ 0 h 257442"/>
                <a:gd name="connsiteX1" fmla="*/ 888064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89034 w 1289034"/>
                <a:gd name="connsiteY0" fmla="*/ 0 h 257442"/>
                <a:gd name="connsiteX1" fmla="*/ 1056380 w 1289034"/>
                <a:gd name="connsiteY1" fmla="*/ 257442 h 257442"/>
                <a:gd name="connsiteX2" fmla="*/ 0 w 1289034"/>
                <a:gd name="connsiteY2" fmla="*/ 257442 h 257442"/>
                <a:gd name="connsiteX3" fmla="*/ 54721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54721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54722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54722 w 1289035"/>
                <a:gd name="connsiteY3" fmla="*/ 0 h 257442"/>
                <a:gd name="connsiteX0" fmla="*/ 1457351 w 1457351"/>
                <a:gd name="connsiteY0" fmla="*/ 0 h 257442"/>
                <a:gd name="connsiteX1" fmla="*/ 1234313 w 1457351"/>
                <a:gd name="connsiteY1" fmla="*/ 257442 h 257442"/>
                <a:gd name="connsiteX2" fmla="*/ 0 w 1457351"/>
                <a:gd name="connsiteY2" fmla="*/ 257442 h 257442"/>
                <a:gd name="connsiteX3" fmla="*/ 54722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54722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0 w 1457350"/>
                <a:gd name="connsiteY3" fmla="*/ 0 h 257442"/>
                <a:gd name="connsiteX0" fmla="*/ 1617649 w 1617649"/>
                <a:gd name="connsiteY0" fmla="*/ 0 h 257442"/>
                <a:gd name="connsiteX1" fmla="*/ 1402629 w 1617649"/>
                <a:gd name="connsiteY1" fmla="*/ 257442 h 257442"/>
                <a:gd name="connsiteX2" fmla="*/ 0 w 1617649"/>
                <a:gd name="connsiteY2" fmla="*/ 257442 h 257442"/>
                <a:gd name="connsiteX3" fmla="*/ 54720 w 1617649"/>
                <a:gd name="connsiteY3" fmla="*/ 0 h 257442"/>
                <a:gd name="connsiteX0" fmla="*/ 1617649 w 1617649"/>
                <a:gd name="connsiteY0" fmla="*/ 0 h 257442"/>
                <a:gd name="connsiteX1" fmla="*/ 1562928 w 1617649"/>
                <a:gd name="connsiteY1" fmla="*/ 257442 h 257442"/>
                <a:gd name="connsiteX2" fmla="*/ 0 w 1617649"/>
                <a:gd name="connsiteY2" fmla="*/ 257442 h 257442"/>
                <a:gd name="connsiteX3" fmla="*/ 54720 w 1617649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1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1 w 1617650"/>
                <a:gd name="connsiteY3" fmla="*/ 0 h 257442"/>
                <a:gd name="connsiteX0" fmla="*/ 1785965 w 1785965"/>
                <a:gd name="connsiteY0" fmla="*/ 0 h 257442"/>
                <a:gd name="connsiteX1" fmla="*/ 1562929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1954281 w 1954281"/>
                <a:gd name="connsiteY0" fmla="*/ 0 h 257442"/>
                <a:gd name="connsiteX1" fmla="*/ 1731244 w 1954281"/>
                <a:gd name="connsiteY1" fmla="*/ 257442 h 257442"/>
                <a:gd name="connsiteX2" fmla="*/ 0 w 1954281"/>
                <a:gd name="connsiteY2" fmla="*/ 257442 h 257442"/>
                <a:gd name="connsiteX3" fmla="*/ 54721 w 1954281"/>
                <a:gd name="connsiteY3" fmla="*/ 0 h 257442"/>
                <a:gd name="connsiteX0" fmla="*/ 1954281 w 1954281"/>
                <a:gd name="connsiteY0" fmla="*/ 0 h 257442"/>
                <a:gd name="connsiteX1" fmla="*/ 1899560 w 1954281"/>
                <a:gd name="connsiteY1" fmla="*/ 257442 h 257442"/>
                <a:gd name="connsiteX2" fmla="*/ 0 w 1954281"/>
                <a:gd name="connsiteY2" fmla="*/ 257442 h 257442"/>
                <a:gd name="connsiteX3" fmla="*/ 54721 w 1954281"/>
                <a:gd name="connsiteY3" fmla="*/ 0 h 257442"/>
                <a:gd name="connsiteX0" fmla="*/ 1954281 w 1954281"/>
                <a:gd name="connsiteY0" fmla="*/ 0 h 257442"/>
                <a:gd name="connsiteX1" fmla="*/ 1899560 w 1954281"/>
                <a:gd name="connsiteY1" fmla="*/ 257442 h 257442"/>
                <a:gd name="connsiteX2" fmla="*/ 0 w 1954281"/>
                <a:gd name="connsiteY2" fmla="*/ 257442 h 257442"/>
                <a:gd name="connsiteX3" fmla="*/ 54721 w 1954281"/>
                <a:gd name="connsiteY3" fmla="*/ 0 h 257442"/>
                <a:gd name="connsiteX0" fmla="*/ 1954281 w 1954281"/>
                <a:gd name="connsiteY0" fmla="*/ 0 h 257442"/>
                <a:gd name="connsiteX1" fmla="*/ 1899560 w 1954281"/>
                <a:gd name="connsiteY1" fmla="*/ 257442 h 257442"/>
                <a:gd name="connsiteX2" fmla="*/ 0 w 1954281"/>
                <a:gd name="connsiteY2" fmla="*/ 257442 h 257442"/>
                <a:gd name="connsiteX3" fmla="*/ 54721 w 1954281"/>
                <a:gd name="connsiteY3" fmla="*/ 0 h 257442"/>
                <a:gd name="connsiteX0" fmla="*/ 2122596 w 2122596"/>
                <a:gd name="connsiteY0" fmla="*/ 0 h 257442"/>
                <a:gd name="connsiteX1" fmla="*/ 1899560 w 2122596"/>
                <a:gd name="connsiteY1" fmla="*/ 257442 h 257442"/>
                <a:gd name="connsiteX2" fmla="*/ 0 w 2122596"/>
                <a:gd name="connsiteY2" fmla="*/ 257442 h 257442"/>
                <a:gd name="connsiteX3" fmla="*/ 54721 w 2122596"/>
                <a:gd name="connsiteY3" fmla="*/ 0 h 257442"/>
                <a:gd name="connsiteX0" fmla="*/ 2122596 w 2122596"/>
                <a:gd name="connsiteY0" fmla="*/ 0 h 257442"/>
                <a:gd name="connsiteX1" fmla="*/ 2067874 w 2122596"/>
                <a:gd name="connsiteY1" fmla="*/ 257442 h 257442"/>
                <a:gd name="connsiteX2" fmla="*/ 0 w 2122596"/>
                <a:gd name="connsiteY2" fmla="*/ 257442 h 257442"/>
                <a:gd name="connsiteX3" fmla="*/ 54721 w 2122596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54722 w 2122597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54722 w 2122597"/>
                <a:gd name="connsiteY3" fmla="*/ 0 h 257442"/>
                <a:gd name="connsiteX0" fmla="*/ 2290912 w 2290912"/>
                <a:gd name="connsiteY0" fmla="*/ 0 h 257442"/>
                <a:gd name="connsiteX1" fmla="*/ 2067875 w 2290912"/>
                <a:gd name="connsiteY1" fmla="*/ 257442 h 257442"/>
                <a:gd name="connsiteX2" fmla="*/ 0 w 2290912"/>
                <a:gd name="connsiteY2" fmla="*/ 257442 h 257442"/>
                <a:gd name="connsiteX3" fmla="*/ 54722 w 2290912"/>
                <a:gd name="connsiteY3" fmla="*/ 0 h 257442"/>
                <a:gd name="connsiteX0" fmla="*/ 2290912 w 2290912"/>
                <a:gd name="connsiteY0" fmla="*/ 0 h 257442"/>
                <a:gd name="connsiteX1" fmla="*/ 2236191 w 2290912"/>
                <a:gd name="connsiteY1" fmla="*/ 257442 h 257442"/>
                <a:gd name="connsiteX2" fmla="*/ 0 w 2290912"/>
                <a:gd name="connsiteY2" fmla="*/ 257442 h 257442"/>
                <a:gd name="connsiteX3" fmla="*/ 54722 w 2290912"/>
                <a:gd name="connsiteY3" fmla="*/ 0 h 257442"/>
                <a:gd name="connsiteX0" fmla="*/ 2290912 w 2290912"/>
                <a:gd name="connsiteY0" fmla="*/ 0 h 257442"/>
                <a:gd name="connsiteX1" fmla="*/ 2236191 w 2290912"/>
                <a:gd name="connsiteY1" fmla="*/ 257442 h 257442"/>
                <a:gd name="connsiteX2" fmla="*/ 0 w 2290912"/>
                <a:gd name="connsiteY2" fmla="*/ 257442 h 257442"/>
                <a:gd name="connsiteX3" fmla="*/ 54722 w 2290912"/>
                <a:gd name="connsiteY3" fmla="*/ 0 h 257442"/>
                <a:gd name="connsiteX0" fmla="*/ 2290912 w 2290912"/>
                <a:gd name="connsiteY0" fmla="*/ 0 h 257442"/>
                <a:gd name="connsiteX1" fmla="*/ 2236191 w 2290912"/>
                <a:gd name="connsiteY1" fmla="*/ 257442 h 257442"/>
                <a:gd name="connsiteX2" fmla="*/ 0 w 2290912"/>
                <a:gd name="connsiteY2" fmla="*/ 257442 h 257442"/>
                <a:gd name="connsiteX3" fmla="*/ 54721 w 2290912"/>
                <a:gd name="connsiteY3" fmla="*/ 0 h 257442"/>
                <a:gd name="connsiteX0" fmla="*/ 950801 w 2236191"/>
                <a:gd name="connsiteY0" fmla="*/ 0 h 257442"/>
                <a:gd name="connsiteX1" fmla="*/ 2236191 w 2236191"/>
                <a:gd name="connsiteY1" fmla="*/ 257442 h 257442"/>
                <a:gd name="connsiteX2" fmla="*/ 0 w 2236191"/>
                <a:gd name="connsiteY2" fmla="*/ 257442 h 257442"/>
                <a:gd name="connsiteX3" fmla="*/ 54721 w 2236191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19115 w 1119115"/>
                <a:gd name="connsiteY0" fmla="*/ 0 h 257442"/>
                <a:gd name="connsiteX1" fmla="*/ 896080 w 1119115"/>
                <a:gd name="connsiteY1" fmla="*/ 257442 h 257442"/>
                <a:gd name="connsiteX2" fmla="*/ 0 w 1119115"/>
                <a:gd name="connsiteY2" fmla="*/ 257442 h 257442"/>
                <a:gd name="connsiteX3" fmla="*/ 5472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5472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287432 w 1287432"/>
                <a:gd name="connsiteY0" fmla="*/ 0 h 257442"/>
                <a:gd name="connsiteX1" fmla="*/ 1064395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455747 w 1455747"/>
                <a:gd name="connsiteY0" fmla="*/ 0 h 257442"/>
                <a:gd name="connsiteX1" fmla="*/ 1232711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624062 w 1624062"/>
                <a:gd name="connsiteY0" fmla="*/ 0 h 257442"/>
                <a:gd name="connsiteX1" fmla="*/ 1401026 w 1624062"/>
                <a:gd name="connsiteY1" fmla="*/ 257442 h 257442"/>
                <a:gd name="connsiteX2" fmla="*/ 0 w 1624062"/>
                <a:gd name="connsiteY2" fmla="*/ 257442 h 257442"/>
                <a:gd name="connsiteX3" fmla="*/ 54721 w 1624062"/>
                <a:gd name="connsiteY3" fmla="*/ 0 h 257442"/>
                <a:gd name="connsiteX0" fmla="*/ 1624062 w 1624062"/>
                <a:gd name="connsiteY0" fmla="*/ 0 h 257442"/>
                <a:gd name="connsiteX1" fmla="*/ 1569340 w 1624062"/>
                <a:gd name="connsiteY1" fmla="*/ 257442 h 257442"/>
                <a:gd name="connsiteX2" fmla="*/ 0 w 1624062"/>
                <a:gd name="connsiteY2" fmla="*/ 257442 h 257442"/>
                <a:gd name="connsiteX3" fmla="*/ 54721 w 1624062"/>
                <a:gd name="connsiteY3" fmla="*/ 0 h 257442"/>
                <a:gd name="connsiteX0" fmla="*/ 1624063 w 1624063"/>
                <a:gd name="connsiteY0" fmla="*/ 0 h 257442"/>
                <a:gd name="connsiteX1" fmla="*/ 1569341 w 1624063"/>
                <a:gd name="connsiteY1" fmla="*/ 257442 h 257442"/>
                <a:gd name="connsiteX2" fmla="*/ 0 w 1624063"/>
                <a:gd name="connsiteY2" fmla="*/ 257442 h 257442"/>
                <a:gd name="connsiteX3" fmla="*/ 54722 w 1624063"/>
                <a:gd name="connsiteY3" fmla="*/ 0 h 257442"/>
                <a:gd name="connsiteX0" fmla="*/ 1624063 w 1624063"/>
                <a:gd name="connsiteY0" fmla="*/ 0 h 257442"/>
                <a:gd name="connsiteX1" fmla="*/ 1569341 w 1624063"/>
                <a:gd name="connsiteY1" fmla="*/ 257442 h 257442"/>
                <a:gd name="connsiteX2" fmla="*/ 0 w 1624063"/>
                <a:gd name="connsiteY2" fmla="*/ 257442 h 257442"/>
                <a:gd name="connsiteX3" fmla="*/ 54722 w 1624063"/>
                <a:gd name="connsiteY3" fmla="*/ 0 h 257442"/>
                <a:gd name="connsiteX0" fmla="*/ 1885352 w 1885352"/>
                <a:gd name="connsiteY0" fmla="*/ 0 h 257442"/>
                <a:gd name="connsiteX1" fmla="*/ 1569341 w 1885352"/>
                <a:gd name="connsiteY1" fmla="*/ 257442 h 257442"/>
                <a:gd name="connsiteX2" fmla="*/ 0 w 1885352"/>
                <a:gd name="connsiteY2" fmla="*/ 257442 h 257442"/>
                <a:gd name="connsiteX3" fmla="*/ 54722 w 1885352"/>
                <a:gd name="connsiteY3" fmla="*/ 0 h 257442"/>
                <a:gd name="connsiteX0" fmla="*/ 1885352 w 1885352"/>
                <a:gd name="connsiteY0" fmla="*/ 0 h 257442"/>
                <a:gd name="connsiteX1" fmla="*/ 1830630 w 1885352"/>
                <a:gd name="connsiteY1" fmla="*/ 257442 h 257442"/>
                <a:gd name="connsiteX2" fmla="*/ 0 w 1885352"/>
                <a:gd name="connsiteY2" fmla="*/ 257442 h 257442"/>
                <a:gd name="connsiteX3" fmla="*/ 54722 w 1885352"/>
                <a:gd name="connsiteY3" fmla="*/ 0 h 257442"/>
                <a:gd name="connsiteX0" fmla="*/ 1885352 w 1885352"/>
                <a:gd name="connsiteY0" fmla="*/ 0 h 257442"/>
                <a:gd name="connsiteX1" fmla="*/ 1830630 w 1885352"/>
                <a:gd name="connsiteY1" fmla="*/ 257442 h 257442"/>
                <a:gd name="connsiteX2" fmla="*/ 0 w 1885352"/>
                <a:gd name="connsiteY2" fmla="*/ 257442 h 257442"/>
                <a:gd name="connsiteX3" fmla="*/ 54722 w 1885352"/>
                <a:gd name="connsiteY3" fmla="*/ 0 h 257442"/>
                <a:gd name="connsiteX0" fmla="*/ 1885352 w 1885352"/>
                <a:gd name="connsiteY0" fmla="*/ 0 h 257442"/>
                <a:gd name="connsiteX1" fmla="*/ 1830630 w 1885352"/>
                <a:gd name="connsiteY1" fmla="*/ 257442 h 257442"/>
                <a:gd name="connsiteX2" fmla="*/ 0 w 1885352"/>
                <a:gd name="connsiteY2" fmla="*/ 257442 h 257442"/>
                <a:gd name="connsiteX3" fmla="*/ 54721 w 1885352"/>
                <a:gd name="connsiteY3" fmla="*/ 0 h 257442"/>
                <a:gd name="connsiteX0" fmla="*/ 2053667 w 2053667"/>
                <a:gd name="connsiteY0" fmla="*/ 0 h 257442"/>
                <a:gd name="connsiteX1" fmla="*/ 1830630 w 2053667"/>
                <a:gd name="connsiteY1" fmla="*/ 257442 h 257442"/>
                <a:gd name="connsiteX2" fmla="*/ 0 w 2053667"/>
                <a:gd name="connsiteY2" fmla="*/ 257442 h 257442"/>
                <a:gd name="connsiteX3" fmla="*/ 54721 w 2053667"/>
                <a:gd name="connsiteY3" fmla="*/ 0 h 257442"/>
                <a:gd name="connsiteX0" fmla="*/ 2053667 w 2053667"/>
                <a:gd name="connsiteY0" fmla="*/ 0 h 257442"/>
                <a:gd name="connsiteX1" fmla="*/ 1998946 w 2053667"/>
                <a:gd name="connsiteY1" fmla="*/ 257442 h 257442"/>
                <a:gd name="connsiteX2" fmla="*/ 0 w 2053667"/>
                <a:gd name="connsiteY2" fmla="*/ 257442 h 257442"/>
                <a:gd name="connsiteX3" fmla="*/ 54721 w 2053667"/>
                <a:gd name="connsiteY3" fmla="*/ 0 h 257442"/>
                <a:gd name="connsiteX0" fmla="*/ 2053667 w 2053667"/>
                <a:gd name="connsiteY0" fmla="*/ 0 h 257442"/>
                <a:gd name="connsiteX1" fmla="*/ 1998946 w 2053667"/>
                <a:gd name="connsiteY1" fmla="*/ 257442 h 257442"/>
                <a:gd name="connsiteX2" fmla="*/ 0 w 2053667"/>
                <a:gd name="connsiteY2" fmla="*/ 257442 h 257442"/>
                <a:gd name="connsiteX3" fmla="*/ 54721 w 2053667"/>
                <a:gd name="connsiteY3" fmla="*/ 0 h 257442"/>
                <a:gd name="connsiteX0" fmla="*/ 2053667 w 2053667"/>
                <a:gd name="connsiteY0" fmla="*/ 0 h 257442"/>
                <a:gd name="connsiteX1" fmla="*/ 1998946 w 2053667"/>
                <a:gd name="connsiteY1" fmla="*/ 257442 h 257442"/>
                <a:gd name="connsiteX2" fmla="*/ 0 w 2053667"/>
                <a:gd name="connsiteY2" fmla="*/ 257442 h 257442"/>
                <a:gd name="connsiteX3" fmla="*/ 54721 w 2053667"/>
                <a:gd name="connsiteY3" fmla="*/ 0 h 257442"/>
                <a:gd name="connsiteX0" fmla="*/ 2221981 w 2221981"/>
                <a:gd name="connsiteY0" fmla="*/ 0 h 257442"/>
                <a:gd name="connsiteX1" fmla="*/ 1998946 w 2221981"/>
                <a:gd name="connsiteY1" fmla="*/ 257442 h 257442"/>
                <a:gd name="connsiteX2" fmla="*/ 0 w 2221981"/>
                <a:gd name="connsiteY2" fmla="*/ 257442 h 257442"/>
                <a:gd name="connsiteX3" fmla="*/ 54721 w 2221981"/>
                <a:gd name="connsiteY3" fmla="*/ 0 h 257442"/>
                <a:gd name="connsiteX0" fmla="*/ 2221981 w 2221981"/>
                <a:gd name="connsiteY0" fmla="*/ 0 h 257442"/>
                <a:gd name="connsiteX1" fmla="*/ 2167261 w 2221981"/>
                <a:gd name="connsiteY1" fmla="*/ 257442 h 257442"/>
                <a:gd name="connsiteX2" fmla="*/ 0 w 2221981"/>
                <a:gd name="connsiteY2" fmla="*/ 257442 h 257442"/>
                <a:gd name="connsiteX3" fmla="*/ 54721 w 2221981"/>
                <a:gd name="connsiteY3" fmla="*/ 0 h 257442"/>
                <a:gd name="connsiteX0" fmla="*/ 2221981 w 2221981"/>
                <a:gd name="connsiteY0" fmla="*/ 0 h 257442"/>
                <a:gd name="connsiteX1" fmla="*/ 2167261 w 2221981"/>
                <a:gd name="connsiteY1" fmla="*/ 257442 h 257442"/>
                <a:gd name="connsiteX2" fmla="*/ 0 w 2221981"/>
                <a:gd name="connsiteY2" fmla="*/ 257442 h 257442"/>
                <a:gd name="connsiteX3" fmla="*/ 54721 w 2221981"/>
                <a:gd name="connsiteY3" fmla="*/ 0 h 257442"/>
                <a:gd name="connsiteX0" fmla="*/ 2221981 w 2221981"/>
                <a:gd name="connsiteY0" fmla="*/ 0 h 257442"/>
                <a:gd name="connsiteX1" fmla="*/ 2167261 w 2221981"/>
                <a:gd name="connsiteY1" fmla="*/ 257442 h 257442"/>
                <a:gd name="connsiteX2" fmla="*/ 0 w 2221981"/>
                <a:gd name="connsiteY2" fmla="*/ 257442 h 257442"/>
                <a:gd name="connsiteX3" fmla="*/ 54721 w 2221981"/>
                <a:gd name="connsiteY3" fmla="*/ 0 h 257442"/>
                <a:gd name="connsiteX0" fmla="*/ 2390297 w 2390297"/>
                <a:gd name="connsiteY0" fmla="*/ 0 h 257442"/>
                <a:gd name="connsiteX1" fmla="*/ 2167261 w 2390297"/>
                <a:gd name="connsiteY1" fmla="*/ 257442 h 257442"/>
                <a:gd name="connsiteX2" fmla="*/ 0 w 2390297"/>
                <a:gd name="connsiteY2" fmla="*/ 257442 h 257442"/>
                <a:gd name="connsiteX3" fmla="*/ 54721 w 2390297"/>
                <a:gd name="connsiteY3" fmla="*/ 0 h 257442"/>
                <a:gd name="connsiteX0" fmla="*/ 2390297 w 2390297"/>
                <a:gd name="connsiteY0" fmla="*/ 0 h 257442"/>
                <a:gd name="connsiteX1" fmla="*/ 2335577 w 2390297"/>
                <a:gd name="connsiteY1" fmla="*/ 257442 h 257442"/>
                <a:gd name="connsiteX2" fmla="*/ 0 w 2390297"/>
                <a:gd name="connsiteY2" fmla="*/ 257442 h 257442"/>
                <a:gd name="connsiteX3" fmla="*/ 54721 w 2390297"/>
                <a:gd name="connsiteY3" fmla="*/ 0 h 257442"/>
                <a:gd name="connsiteX0" fmla="*/ 2390297 w 2390297"/>
                <a:gd name="connsiteY0" fmla="*/ 0 h 257442"/>
                <a:gd name="connsiteX1" fmla="*/ 2335577 w 2390297"/>
                <a:gd name="connsiteY1" fmla="*/ 257442 h 257442"/>
                <a:gd name="connsiteX2" fmla="*/ 0 w 2390297"/>
                <a:gd name="connsiteY2" fmla="*/ 257442 h 257442"/>
                <a:gd name="connsiteX3" fmla="*/ 54721 w 2390297"/>
                <a:gd name="connsiteY3" fmla="*/ 0 h 257442"/>
                <a:gd name="connsiteX0" fmla="*/ 2390297 w 2390297"/>
                <a:gd name="connsiteY0" fmla="*/ 0 h 257442"/>
                <a:gd name="connsiteX1" fmla="*/ 2335577 w 2390297"/>
                <a:gd name="connsiteY1" fmla="*/ 257442 h 257442"/>
                <a:gd name="connsiteX2" fmla="*/ 0 w 2390297"/>
                <a:gd name="connsiteY2" fmla="*/ 257442 h 257442"/>
                <a:gd name="connsiteX3" fmla="*/ 54721 w 2390297"/>
                <a:gd name="connsiteY3" fmla="*/ 0 h 257442"/>
                <a:gd name="connsiteX0" fmla="*/ 2550598 w 2550598"/>
                <a:gd name="connsiteY0" fmla="*/ 0 h 257442"/>
                <a:gd name="connsiteX1" fmla="*/ 2335577 w 2550598"/>
                <a:gd name="connsiteY1" fmla="*/ 257442 h 257442"/>
                <a:gd name="connsiteX2" fmla="*/ 0 w 2550598"/>
                <a:gd name="connsiteY2" fmla="*/ 257442 h 257442"/>
                <a:gd name="connsiteX3" fmla="*/ 54721 w 2550598"/>
                <a:gd name="connsiteY3" fmla="*/ 0 h 257442"/>
                <a:gd name="connsiteX0" fmla="*/ 2550598 w 2550598"/>
                <a:gd name="connsiteY0" fmla="*/ 0 h 257442"/>
                <a:gd name="connsiteX1" fmla="*/ 2495876 w 2550598"/>
                <a:gd name="connsiteY1" fmla="*/ 257442 h 257442"/>
                <a:gd name="connsiteX2" fmla="*/ 0 w 2550598"/>
                <a:gd name="connsiteY2" fmla="*/ 257442 h 257442"/>
                <a:gd name="connsiteX3" fmla="*/ 54721 w 2550598"/>
                <a:gd name="connsiteY3" fmla="*/ 0 h 257442"/>
                <a:gd name="connsiteX0" fmla="*/ 2550599 w 2550599"/>
                <a:gd name="connsiteY0" fmla="*/ 0 h 257442"/>
                <a:gd name="connsiteX1" fmla="*/ 2495877 w 2550599"/>
                <a:gd name="connsiteY1" fmla="*/ 257442 h 257442"/>
                <a:gd name="connsiteX2" fmla="*/ 0 w 2550599"/>
                <a:gd name="connsiteY2" fmla="*/ 257442 h 257442"/>
                <a:gd name="connsiteX3" fmla="*/ 54722 w 2550599"/>
                <a:gd name="connsiteY3" fmla="*/ 0 h 257442"/>
                <a:gd name="connsiteX0" fmla="*/ 2550599 w 2550599"/>
                <a:gd name="connsiteY0" fmla="*/ 0 h 257442"/>
                <a:gd name="connsiteX1" fmla="*/ 2495877 w 2550599"/>
                <a:gd name="connsiteY1" fmla="*/ 257442 h 257442"/>
                <a:gd name="connsiteX2" fmla="*/ 0 w 2550599"/>
                <a:gd name="connsiteY2" fmla="*/ 257442 h 257442"/>
                <a:gd name="connsiteX3" fmla="*/ 54722 w 2550599"/>
                <a:gd name="connsiteY3" fmla="*/ 0 h 257442"/>
                <a:gd name="connsiteX0" fmla="*/ 2829521 w 2829521"/>
                <a:gd name="connsiteY0" fmla="*/ 0 h 257442"/>
                <a:gd name="connsiteX1" fmla="*/ 2495877 w 2829521"/>
                <a:gd name="connsiteY1" fmla="*/ 257442 h 257442"/>
                <a:gd name="connsiteX2" fmla="*/ 0 w 2829521"/>
                <a:gd name="connsiteY2" fmla="*/ 257442 h 257442"/>
                <a:gd name="connsiteX3" fmla="*/ 54722 w 2829521"/>
                <a:gd name="connsiteY3" fmla="*/ 0 h 257442"/>
                <a:gd name="connsiteX0" fmla="*/ 2829521 w 2829521"/>
                <a:gd name="connsiteY0" fmla="*/ 0 h 257442"/>
                <a:gd name="connsiteX1" fmla="*/ 2774801 w 2829521"/>
                <a:gd name="connsiteY1" fmla="*/ 257442 h 257442"/>
                <a:gd name="connsiteX2" fmla="*/ 0 w 2829521"/>
                <a:gd name="connsiteY2" fmla="*/ 257442 h 257442"/>
                <a:gd name="connsiteX3" fmla="*/ 54722 w 2829521"/>
                <a:gd name="connsiteY3" fmla="*/ 0 h 257442"/>
                <a:gd name="connsiteX0" fmla="*/ 2829520 w 2829520"/>
                <a:gd name="connsiteY0" fmla="*/ 0 h 257442"/>
                <a:gd name="connsiteX1" fmla="*/ 2774800 w 2829520"/>
                <a:gd name="connsiteY1" fmla="*/ 257442 h 257442"/>
                <a:gd name="connsiteX2" fmla="*/ 0 w 2829520"/>
                <a:gd name="connsiteY2" fmla="*/ 257442 h 257442"/>
                <a:gd name="connsiteX3" fmla="*/ 54721 w 2829520"/>
                <a:gd name="connsiteY3" fmla="*/ 0 h 257442"/>
                <a:gd name="connsiteX0" fmla="*/ 2829520 w 2829520"/>
                <a:gd name="connsiteY0" fmla="*/ 0 h 257442"/>
                <a:gd name="connsiteX1" fmla="*/ 2774800 w 2829520"/>
                <a:gd name="connsiteY1" fmla="*/ 257442 h 257442"/>
                <a:gd name="connsiteX2" fmla="*/ 0 w 2829520"/>
                <a:gd name="connsiteY2" fmla="*/ 257442 h 257442"/>
                <a:gd name="connsiteX3" fmla="*/ 54720 w 2829520"/>
                <a:gd name="connsiteY3" fmla="*/ 0 h 257442"/>
                <a:gd name="connsiteX0" fmla="*/ 3082794 w 3082794"/>
                <a:gd name="connsiteY0" fmla="*/ 0 h 257442"/>
                <a:gd name="connsiteX1" fmla="*/ 2774800 w 3082794"/>
                <a:gd name="connsiteY1" fmla="*/ 257442 h 257442"/>
                <a:gd name="connsiteX2" fmla="*/ 0 w 3082794"/>
                <a:gd name="connsiteY2" fmla="*/ 257442 h 257442"/>
                <a:gd name="connsiteX3" fmla="*/ 54720 w 3082794"/>
                <a:gd name="connsiteY3" fmla="*/ 0 h 257442"/>
                <a:gd name="connsiteX0" fmla="*/ 3082794 w 3082794"/>
                <a:gd name="connsiteY0" fmla="*/ 0 h 257442"/>
                <a:gd name="connsiteX1" fmla="*/ 3028073 w 3082794"/>
                <a:gd name="connsiteY1" fmla="*/ 257442 h 257442"/>
                <a:gd name="connsiteX2" fmla="*/ 0 w 3082794"/>
                <a:gd name="connsiteY2" fmla="*/ 257442 h 257442"/>
                <a:gd name="connsiteX3" fmla="*/ 54720 w 3082794"/>
                <a:gd name="connsiteY3" fmla="*/ 0 h 257442"/>
                <a:gd name="connsiteX0" fmla="*/ 3082795 w 3082795"/>
                <a:gd name="connsiteY0" fmla="*/ 0 h 257442"/>
                <a:gd name="connsiteX1" fmla="*/ 3028074 w 3082795"/>
                <a:gd name="connsiteY1" fmla="*/ 257442 h 257442"/>
                <a:gd name="connsiteX2" fmla="*/ 0 w 3082795"/>
                <a:gd name="connsiteY2" fmla="*/ 257442 h 257442"/>
                <a:gd name="connsiteX3" fmla="*/ 54721 w 3082795"/>
                <a:gd name="connsiteY3" fmla="*/ 0 h 257442"/>
                <a:gd name="connsiteX0" fmla="*/ 3082795 w 3082795"/>
                <a:gd name="connsiteY0" fmla="*/ 0 h 257442"/>
                <a:gd name="connsiteX1" fmla="*/ 3028074 w 3082795"/>
                <a:gd name="connsiteY1" fmla="*/ 257442 h 257442"/>
                <a:gd name="connsiteX2" fmla="*/ 0 w 3082795"/>
                <a:gd name="connsiteY2" fmla="*/ 257442 h 257442"/>
                <a:gd name="connsiteX3" fmla="*/ 54722 w 3082795"/>
                <a:gd name="connsiteY3" fmla="*/ 0 h 257442"/>
                <a:gd name="connsiteX0" fmla="*/ 3243096 w 3243096"/>
                <a:gd name="connsiteY0" fmla="*/ 0 h 257442"/>
                <a:gd name="connsiteX1" fmla="*/ 3028074 w 3243096"/>
                <a:gd name="connsiteY1" fmla="*/ 257442 h 257442"/>
                <a:gd name="connsiteX2" fmla="*/ 0 w 3243096"/>
                <a:gd name="connsiteY2" fmla="*/ 257442 h 257442"/>
                <a:gd name="connsiteX3" fmla="*/ 54722 w 3243096"/>
                <a:gd name="connsiteY3" fmla="*/ 0 h 257442"/>
                <a:gd name="connsiteX0" fmla="*/ 3243096 w 3243096"/>
                <a:gd name="connsiteY0" fmla="*/ 0 h 257442"/>
                <a:gd name="connsiteX1" fmla="*/ 3188374 w 3243096"/>
                <a:gd name="connsiteY1" fmla="*/ 257442 h 257442"/>
                <a:gd name="connsiteX2" fmla="*/ 0 w 3243096"/>
                <a:gd name="connsiteY2" fmla="*/ 257442 h 257442"/>
                <a:gd name="connsiteX3" fmla="*/ 54722 w 3243096"/>
                <a:gd name="connsiteY3" fmla="*/ 0 h 257442"/>
                <a:gd name="connsiteX0" fmla="*/ 3243096 w 3243096"/>
                <a:gd name="connsiteY0" fmla="*/ 0 h 257442"/>
                <a:gd name="connsiteX1" fmla="*/ 3188374 w 3243096"/>
                <a:gd name="connsiteY1" fmla="*/ 257442 h 257442"/>
                <a:gd name="connsiteX2" fmla="*/ 0 w 3243096"/>
                <a:gd name="connsiteY2" fmla="*/ 257442 h 257442"/>
                <a:gd name="connsiteX3" fmla="*/ 54722 w 3243096"/>
                <a:gd name="connsiteY3" fmla="*/ 0 h 257442"/>
                <a:gd name="connsiteX0" fmla="*/ 3243096 w 3243096"/>
                <a:gd name="connsiteY0" fmla="*/ 0 h 257442"/>
                <a:gd name="connsiteX1" fmla="*/ 3188374 w 3243096"/>
                <a:gd name="connsiteY1" fmla="*/ 257442 h 257442"/>
                <a:gd name="connsiteX2" fmla="*/ 0 w 3243096"/>
                <a:gd name="connsiteY2" fmla="*/ 257442 h 257442"/>
                <a:gd name="connsiteX3" fmla="*/ 54721 w 3243096"/>
                <a:gd name="connsiteY3" fmla="*/ 0 h 257442"/>
                <a:gd name="connsiteX0" fmla="*/ 3421028 w 3421028"/>
                <a:gd name="connsiteY0" fmla="*/ 0 h 257442"/>
                <a:gd name="connsiteX1" fmla="*/ 3188374 w 3421028"/>
                <a:gd name="connsiteY1" fmla="*/ 257442 h 257442"/>
                <a:gd name="connsiteX2" fmla="*/ 0 w 3421028"/>
                <a:gd name="connsiteY2" fmla="*/ 257442 h 257442"/>
                <a:gd name="connsiteX3" fmla="*/ 54721 w 3421028"/>
                <a:gd name="connsiteY3" fmla="*/ 0 h 257442"/>
                <a:gd name="connsiteX0" fmla="*/ 3421028 w 3421028"/>
                <a:gd name="connsiteY0" fmla="*/ 0 h 257442"/>
                <a:gd name="connsiteX1" fmla="*/ 3366307 w 3421028"/>
                <a:gd name="connsiteY1" fmla="*/ 257442 h 257442"/>
                <a:gd name="connsiteX2" fmla="*/ 0 w 3421028"/>
                <a:gd name="connsiteY2" fmla="*/ 257442 h 257442"/>
                <a:gd name="connsiteX3" fmla="*/ 54721 w 3421028"/>
                <a:gd name="connsiteY3" fmla="*/ 0 h 257442"/>
                <a:gd name="connsiteX0" fmla="*/ 3421028 w 3421028"/>
                <a:gd name="connsiteY0" fmla="*/ 0 h 257442"/>
                <a:gd name="connsiteX1" fmla="*/ 3366307 w 3421028"/>
                <a:gd name="connsiteY1" fmla="*/ 257442 h 257442"/>
                <a:gd name="connsiteX2" fmla="*/ 0 w 3421028"/>
                <a:gd name="connsiteY2" fmla="*/ 257442 h 257442"/>
                <a:gd name="connsiteX3" fmla="*/ 54721 w 3421028"/>
                <a:gd name="connsiteY3" fmla="*/ 0 h 257442"/>
                <a:gd name="connsiteX0" fmla="*/ 3421028 w 3421028"/>
                <a:gd name="connsiteY0" fmla="*/ 0 h 257442"/>
                <a:gd name="connsiteX1" fmla="*/ 3366307 w 3421028"/>
                <a:gd name="connsiteY1" fmla="*/ 257442 h 257442"/>
                <a:gd name="connsiteX2" fmla="*/ 0 w 3421028"/>
                <a:gd name="connsiteY2" fmla="*/ 257442 h 257442"/>
                <a:gd name="connsiteX3" fmla="*/ 54721 w 3421028"/>
                <a:gd name="connsiteY3" fmla="*/ 0 h 257442"/>
                <a:gd name="connsiteX0" fmla="*/ 3690333 w 3690333"/>
                <a:gd name="connsiteY0" fmla="*/ 0 h 257442"/>
                <a:gd name="connsiteX1" fmla="*/ 3366307 w 3690333"/>
                <a:gd name="connsiteY1" fmla="*/ 257442 h 257442"/>
                <a:gd name="connsiteX2" fmla="*/ 0 w 3690333"/>
                <a:gd name="connsiteY2" fmla="*/ 257442 h 257442"/>
                <a:gd name="connsiteX3" fmla="*/ 54721 w 3690333"/>
                <a:gd name="connsiteY3" fmla="*/ 0 h 257442"/>
                <a:gd name="connsiteX0" fmla="*/ 3690333 w 3690333"/>
                <a:gd name="connsiteY0" fmla="*/ 0 h 257442"/>
                <a:gd name="connsiteX1" fmla="*/ 3635612 w 3690333"/>
                <a:gd name="connsiteY1" fmla="*/ 257442 h 257442"/>
                <a:gd name="connsiteX2" fmla="*/ 0 w 3690333"/>
                <a:gd name="connsiteY2" fmla="*/ 257442 h 257442"/>
                <a:gd name="connsiteX3" fmla="*/ 54721 w 3690333"/>
                <a:gd name="connsiteY3" fmla="*/ 0 h 257442"/>
                <a:gd name="connsiteX0" fmla="*/ 3690333 w 3690333"/>
                <a:gd name="connsiteY0" fmla="*/ 0 h 257442"/>
                <a:gd name="connsiteX1" fmla="*/ 3635612 w 3690333"/>
                <a:gd name="connsiteY1" fmla="*/ 257442 h 257442"/>
                <a:gd name="connsiteX2" fmla="*/ 0 w 3690333"/>
                <a:gd name="connsiteY2" fmla="*/ 257442 h 257442"/>
                <a:gd name="connsiteX3" fmla="*/ 54721 w 3690333"/>
                <a:gd name="connsiteY3" fmla="*/ 0 h 257442"/>
                <a:gd name="connsiteX0" fmla="*/ 3690333 w 3690333"/>
                <a:gd name="connsiteY0" fmla="*/ 0 h 257442"/>
                <a:gd name="connsiteX1" fmla="*/ 3635612 w 3690333"/>
                <a:gd name="connsiteY1" fmla="*/ 257442 h 257442"/>
                <a:gd name="connsiteX2" fmla="*/ 0 w 3690333"/>
                <a:gd name="connsiteY2" fmla="*/ 257442 h 257442"/>
                <a:gd name="connsiteX3" fmla="*/ 54721 w 3690333"/>
                <a:gd name="connsiteY3" fmla="*/ 0 h 257442"/>
                <a:gd name="connsiteX0" fmla="*/ 3850633 w 3850633"/>
                <a:gd name="connsiteY0" fmla="*/ 0 h 257442"/>
                <a:gd name="connsiteX1" fmla="*/ 3635612 w 3850633"/>
                <a:gd name="connsiteY1" fmla="*/ 257442 h 257442"/>
                <a:gd name="connsiteX2" fmla="*/ 0 w 3850633"/>
                <a:gd name="connsiteY2" fmla="*/ 257442 h 257442"/>
                <a:gd name="connsiteX3" fmla="*/ 54721 w 3850633"/>
                <a:gd name="connsiteY3" fmla="*/ 0 h 257442"/>
                <a:gd name="connsiteX0" fmla="*/ 3850633 w 3850633"/>
                <a:gd name="connsiteY0" fmla="*/ 0 h 257442"/>
                <a:gd name="connsiteX1" fmla="*/ 3795912 w 3850633"/>
                <a:gd name="connsiteY1" fmla="*/ 257442 h 257442"/>
                <a:gd name="connsiteX2" fmla="*/ 0 w 3850633"/>
                <a:gd name="connsiteY2" fmla="*/ 257442 h 257442"/>
                <a:gd name="connsiteX3" fmla="*/ 54721 w 3850633"/>
                <a:gd name="connsiteY3" fmla="*/ 0 h 257442"/>
                <a:gd name="connsiteX0" fmla="*/ 3850633 w 3850633"/>
                <a:gd name="connsiteY0" fmla="*/ 0 h 257442"/>
                <a:gd name="connsiteX1" fmla="*/ 3795912 w 3850633"/>
                <a:gd name="connsiteY1" fmla="*/ 257442 h 257442"/>
                <a:gd name="connsiteX2" fmla="*/ 0 w 3850633"/>
                <a:gd name="connsiteY2" fmla="*/ 257442 h 257442"/>
                <a:gd name="connsiteX3" fmla="*/ 54721 w 3850633"/>
                <a:gd name="connsiteY3" fmla="*/ 0 h 257442"/>
                <a:gd name="connsiteX0" fmla="*/ 3850633 w 3850633"/>
                <a:gd name="connsiteY0" fmla="*/ 0 h 257442"/>
                <a:gd name="connsiteX1" fmla="*/ 3795912 w 3850633"/>
                <a:gd name="connsiteY1" fmla="*/ 257442 h 257442"/>
                <a:gd name="connsiteX2" fmla="*/ 0 w 3850633"/>
                <a:gd name="connsiteY2" fmla="*/ 257442 h 257442"/>
                <a:gd name="connsiteX3" fmla="*/ 54721 w 3850633"/>
                <a:gd name="connsiteY3" fmla="*/ 0 h 257442"/>
                <a:gd name="connsiteX0" fmla="*/ 1885351 w 3795912"/>
                <a:gd name="connsiteY0" fmla="*/ 0 h 257442"/>
                <a:gd name="connsiteX1" fmla="*/ 3795912 w 3795912"/>
                <a:gd name="connsiteY1" fmla="*/ 257442 h 257442"/>
                <a:gd name="connsiteX2" fmla="*/ 0 w 3795912"/>
                <a:gd name="connsiteY2" fmla="*/ 257442 h 257442"/>
                <a:gd name="connsiteX3" fmla="*/ 54721 w 3795912"/>
                <a:gd name="connsiteY3" fmla="*/ 0 h 257442"/>
                <a:gd name="connsiteX0" fmla="*/ 1885351 w 1885351"/>
                <a:gd name="connsiteY0" fmla="*/ 0 h 257442"/>
                <a:gd name="connsiteX1" fmla="*/ 1830630 w 1885351"/>
                <a:gd name="connsiteY1" fmla="*/ 257442 h 257442"/>
                <a:gd name="connsiteX2" fmla="*/ 0 w 1885351"/>
                <a:gd name="connsiteY2" fmla="*/ 257442 h 257442"/>
                <a:gd name="connsiteX3" fmla="*/ 54721 w 1885351"/>
                <a:gd name="connsiteY3" fmla="*/ 0 h 257442"/>
                <a:gd name="connsiteX0" fmla="*/ 1885350 w 1885350"/>
                <a:gd name="connsiteY0" fmla="*/ 0 h 257442"/>
                <a:gd name="connsiteX1" fmla="*/ 1830629 w 1885350"/>
                <a:gd name="connsiteY1" fmla="*/ 257442 h 257442"/>
                <a:gd name="connsiteX2" fmla="*/ 0 w 1885350"/>
                <a:gd name="connsiteY2" fmla="*/ 257442 h 257442"/>
                <a:gd name="connsiteX3" fmla="*/ 54720 w 1885350"/>
                <a:gd name="connsiteY3" fmla="*/ 0 h 257442"/>
                <a:gd name="connsiteX0" fmla="*/ 1885350 w 1885350"/>
                <a:gd name="connsiteY0" fmla="*/ 0 h 257442"/>
                <a:gd name="connsiteX1" fmla="*/ 1830629 w 1885350"/>
                <a:gd name="connsiteY1" fmla="*/ 257442 h 257442"/>
                <a:gd name="connsiteX2" fmla="*/ 0 w 1885350"/>
                <a:gd name="connsiteY2" fmla="*/ 257442 h 257442"/>
                <a:gd name="connsiteX3" fmla="*/ 54720 w 1885350"/>
                <a:gd name="connsiteY3" fmla="*/ 0 h 257442"/>
                <a:gd name="connsiteX0" fmla="*/ 2045651 w 2045651"/>
                <a:gd name="connsiteY0" fmla="*/ 0 h 257442"/>
                <a:gd name="connsiteX1" fmla="*/ 1830629 w 2045651"/>
                <a:gd name="connsiteY1" fmla="*/ 257442 h 257442"/>
                <a:gd name="connsiteX2" fmla="*/ 0 w 2045651"/>
                <a:gd name="connsiteY2" fmla="*/ 257442 h 257442"/>
                <a:gd name="connsiteX3" fmla="*/ 54720 w 2045651"/>
                <a:gd name="connsiteY3" fmla="*/ 0 h 257442"/>
                <a:gd name="connsiteX0" fmla="*/ 2045651 w 2045651"/>
                <a:gd name="connsiteY0" fmla="*/ 0 h 257442"/>
                <a:gd name="connsiteX1" fmla="*/ 1990930 w 2045651"/>
                <a:gd name="connsiteY1" fmla="*/ 257442 h 257442"/>
                <a:gd name="connsiteX2" fmla="*/ 0 w 2045651"/>
                <a:gd name="connsiteY2" fmla="*/ 257442 h 257442"/>
                <a:gd name="connsiteX3" fmla="*/ 54720 w 2045651"/>
                <a:gd name="connsiteY3" fmla="*/ 0 h 257442"/>
                <a:gd name="connsiteX0" fmla="*/ 2045652 w 2045652"/>
                <a:gd name="connsiteY0" fmla="*/ 0 h 257442"/>
                <a:gd name="connsiteX1" fmla="*/ 1990931 w 2045652"/>
                <a:gd name="connsiteY1" fmla="*/ 257442 h 257442"/>
                <a:gd name="connsiteX2" fmla="*/ 0 w 2045652"/>
                <a:gd name="connsiteY2" fmla="*/ 257442 h 257442"/>
                <a:gd name="connsiteX3" fmla="*/ 54721 w 2045652"/>
                <a:gd name="connsiteY3" fmla="*/ 0 h 257442"/>
                <a:gd name="connsiteX0" fmla="*/ 2045652 w 2045652"/>
                <a:gd name="connsiteY0" fmla="*/ 0 h 257442"/>
                <a:gd name="connsiteX1" fmla="*/ 1990931 w 2045652"/>
                <a:gd name="connsiteY1" fmla="*/ 257442 h 257442"/>
                <a:gd name="connsiteX2" fmla="*/ 0 w 2045652"/>
                <a:gd name="connsiteY2" fmla="*/ 257442 h 257442"/>
                <a:gd name="connsiteX3" fmla="*/ 54721 w 2045652"/>
                <a:gd name="connsiteY3" fmla="*/ 0 h 257442"/>
                <a:gd name="connsiteX0" fmla="*/ 2213966 w 2213966"/>
                <a:gd name="connsiteY0" fmla="*/ 0 h 257442"/>
                <a:gd name="connsiteX1" fmla="*/ 1990931 w 2213966"/>
                <a:gd name="connsiteY1" fmla="*/ 257442 h 257442"/>
                <a:gd name="connsiteX2" fmla="*/ 0 w 2213966"/>
                <a:gd name="connsiteY2" fmla="*/ 257442 h 257442"/>
                <a:gd name="connsiteX3" fmla="*/ 54721 w 2213966"/>
                <a:gd name="connsiteY3" fmla="*/ 0 h 257442"/>
                <a:gd name="connsiteX0" fmla="*/ 2213966 w 2213966"/>
                <a:gd name="connsiteY0" fmla="*/ 0 h 257442"/>
                <a:gd name="connsiteX1" fmla="*/ 2159246 w 2213966"/>
                <a:gd name="connsiteY1" fmla="*/ 257442 h 257442"/>
                <a:gd name="connsiteX2" fmla="*/ 0 w 2213966"/>
                <a:gd name="connsiteY2" fmla="*/ 257442 h 257442"/>
                <a:gd name="connsiteX3" fmla="*/ 54721 w 2213966"/>
                <a:gd name="connsiteY3" fmla="*/ 0 h 257442"/>
                <a:gd name="connsiteX0" fmla="*/ 2213966 w 2213966"/>
                <a:gd name="connsiteY0" fmla="*/ 0 h 257442"/>
                <a:gd name="connsiteX1" fmla="*/ 2159246 w 2213966"/>
                <a:gd name="connsiteY1" fmla="*/ 257442 h 257442"/>
                <a:gd name="connsiteX2" fmla="*/ 0 w 2213966"/>
                <a:gd name="connsiteY2" fmla="*/ 257442 h 257442"/>
                <a:gd name="connsiteX3" fmla="*/ 54721 w 2213966"/>
                <a:gd name="connsiteY3" fmla="*/ 0 h 257442"/>
                <a:gd name="connsiteX0" fmla="*/ 2213966 w 2213966"/>
                <a:gd name="connsiteY0" fmla="*/ 0 h 257442"/>
                <a:gd name="connsiteX1" fmla="*/ 2159246 w 2213966"/>
                <a:gd name="connsiteY1" fmla="*/ 257442 h 257442"/>
                <a:gd name="connsiteX2" fmla="*/ 0 w 2213966"/>
                <a:gd name="connsiteY2" fmla="*/ 257442 h 257442"/>
                <a:gd name="connsiteX3" fmla="*/ 54721 w 2213966"/>
                <a:gd name="connsiteY3" fmla="*/ 0 h 257442"/>
                <a:gd name="connsiteX0" fmla="*/ 2467242 w 2467242"/>
                <a:gd name="connsiteY0" fmla="*/ 0 h 257442"/>
                <a:gd name="connsiteX1" fmla="*/ 2159246 w 2467242"/>
                <a:gd name="connsiteY1" fmla="*/ 257442 h 257442"/>
                <a:gd name="connsiteX2" fmla="*/ 0 w 2467242"/>
                <a:gd name="connsiteY2" fmla="*/ 257442 h 257442"/>
                <a:gd name="connsiteX3" fmla="*/ 54721 w 2467242"/>
                <a:gd name="connsiteY3" fmla="*/ 0 h 257442"/>
                <a:gd name="connsiteX0" fmla="*/ 2467242 w 2467242"/>
                <a:gd name="connsiteY0" fmla="*/ 0 h 257442"/>
                <a:gd name="connsiteX1" fmla="*/ 2412521 w 2467242"/>
                <a:gd name="connsiteY1" fmla="*/ 257442 h 257442"/>
                <a:gd name="connsiteX2" fmla="*/ 0 w 2467242"/>
                <a:gd name="connsiteY2" fmla="*/ 257442 h 257442"/>
                <a:gd name="connsiteX3" fmla="*/ 54721 w 2467242"/>
                <a:gd name="connsiteY3" fmla="*/ 0 h 257442"/>
                <a:gd name="connsiteX0" fmla="*/ 2467242 w 2467242"/>
                <a:gd name="connsiteY0" fmla="*/ 0 h 257442"/>
                <a:gd name="connsiteX1" fmla="*/ 2412521 w 2467242"/>
                <a:gd name="connsiteY1" fmla="*/ 257442 h 257442"/>
                <a:gd name="connsiteX2" fmla="*/ 0 w 2467242"/>
                <a:gd name="connsiteY2" fmla="*/ 257442 h 257442"/>
                <a:gd name="connsiteX3" fmla="*/ 54721 w 2467242"/>
                <a:gd name="connsiteY3" fmla="*/ 0 h 257442"/>
                <a:gd name="connsiteX0" fmla="*/ 2467242 w 2467242"/>
                <a:gd name="connsiteY0" fmla="*/ 0 h 257442"/>
                <a:gd name="connsiteX1" fmla="*/ 2412521 w 2467242"/>
                <a:gd name="connsiteY1" fmla="*/ 257442 h 257442"/>
                <a:gd name="connsiteX2" fmla="*/ 0 w 2467242"/>
                <a:gd name="connsiteY2" fmla="*/ 257442 h 257442"/>
                <a:gd name="connsiteX3" fmla="*/ 54721 w 2467242"/>
                <a:gd name="connsiteY3" fmla="*/ 0 h 257442"/>
                <a:gd name="connsiteX0" fmla="*/ 2653190 w 2653190"/>
                <a:gd name="connsiteY0" fmla="*/ 0 h 257442"/>
                <a:gd name="connsiteX1" fmla="*/ 2412521 w 2653190"/>
                <a:gd name="connsiteY1" fmla="*/ 257442 h 257442"/>
                <a:gd name="connsiteX2" fmla="*/ 0 w 2653190"/>
                <a:gd name="connsiteY2" fmla="*/ 257442 h 257442"/>
                <a:gd name="connsiteX3" fmla="*/ 54721 w 2653190"/>
                <a:gd name="connsiteY3" fmla="*/ 0 h 257442"/>
                <a:gd name="connsiteX0" fmla="*/ 2653190 w 2653190"/>
                <a:gd name="connsiteY0" fmla="*/ 0 h 257442"/>
                <a:gd name="connsiteX1" fmla="*/ 2598469 w 2653190"/>
                <a:gd name="connsiteY1" fmla="*/ 257442 h 257442"/>
                <a:gd name="connsiteX2" fmla="*/ 0 w 2653190"/>
                <a:gd name="connsiteY2" fmla="*/ 257442 h 257442"/>
                <a:gd name="connsiteX3" fmla="*/ 54721 w 2653190"/>
                <a:gd name="connsiteY3" fmla="*/ 0 h 257442"/>
                <a:gd name="connsiteX0" fmla="*/ 2653190 w 2653190"/>
                <a:gd name="connsiteY0" fmla="*/ 0 h 257442"/>
                <a:gd name="connsiteX1" fmla="*/ 2598469 w 2653190"/>
                <a:gd name="connsiteY1" fmla="*/ 257442 h 257442"/>
                <a:gd name="connsiteX2" fmla="*/ 0 w 2653190"/>
                <a:gd name="connsiteY2" fmla="*/ 257442 h 257442"/>
                <a:gd name="connsiteX3" fmla="*/ 54721 w 2653190"/>
                <a:gd name="connsiteY3" fmla="*/ 0 h 257442"/>
                <a:gd name="connsiteX0" fmla="*/ 2653190 w 2653190"/>
                <a:gd name="connsiteY0" fmla="*/ 0 h 257442"/>
                <a:gd name="connsiteX1" fmla="*/ 2598469 w 2653190"/>
                <a:gd name="connsiteY1" fmla="*/ 257442 h 257442"/>
                <a:gd name="connsiteX2" fmla="*/ 0 w 2653190"/>
                <a:gd name="connsiteY2" fmla="*/ 257442 h 257442"/>
                <a:gd name="connsiteX3" fmla="*/ 54721 w 2653190"/>
                <a:gd name="connsiteY3" fmla="*/ 0 h 257442"/>
                <a:gd name="connsiteX0" fmla="*/ 2813490 w 2813490"/>
                <a:gd name="connsiteY0" fmla="*/ 0 h 257442"/>
                <a:gd name="connsiteX1" fmla="*/ 2598469 w 2813490"/>
                <a:gd name="connsiteY1" fmla="*/ 257442 h 257442"/>
                <a:gd name="connsiteX2" fmla="*/ 0 w 2813490"/>
                <a:gd name="connsiteY2" fmla="*/ 257442 h 257442"/>
                <a:gd name="connsiteX3" fmla="*/ 54721 w 2813490"/>
                <a:gd name="connsiteY3" fmla="*/ 0 h 257442"/>
                <a:gd name="connsiteX0" fmla="*/ 2813490 w 2813490"/>
                <a:gd name="connsiteY0" fmla="*/ 0 h 257442"/>
                <a:gd name="connsiteX1" fmla="*/ 2758769 w 2813490"/>
                <a:gd name="connsiteY1" fmla="*/ 257442 h 257442"/>
                <a:gd name="connsiteX2" fmla="*/ 0 w 2813490"/>
                <a:gd name="connsiteY2" fmla="*/ 257442 h 257442"/>
                <a:gd name="connsiteX3" fmla="*/ 54721 w 2813490"/>
                <a:gd name="connsiteY3" fmla="*/ 0 h 257442"/>
                <a:gd name="connsiteX0" fmla="*/ 2813490 w 2813490"/>
                <a:gd name="connsiteY0" fmla="*/ 0 h 257442"/>
                <a:gd name="connsiteX1" fmla="*/ 2758769 w 2813490"/>
                <a:gd name="connsiteY1" fmla="*/ 257442 h 257442"/>
                <a:gd name="connsiteX2" fmla="*/ 0 w 2813490"/>
                <a:gd name="connsiteY2" fmla="*/ 257442 h 257442"/>
                <a:gd name="connsiteX3" fmla="*/ 54721 w 2813490"/>
                <a:gd name="connsiteY3" fmla="*/ 0 h 257442"/>
                <a:gd name="connsiteX0" fmla="*/ 2813490 w 2813490"/>
                <a:gd name="connsiteY0" fmla="*/ 0 h 257442"/>
                <a:gd name="connsiteX1" fmla="*/ 2758769 w 2813490"/>
                <a:gd name="connsiteY1" fmla="*/ 257442 h 257442"/>
                <a:gd name="connsiteX2" fmla="*/ 0 w 2813490"/>
                <a:gd name="connsiteY2" fmla="*/ 257442 h 257442"/>
                <a:gd name="connsiteX3" fmla="*/ 54721 w 2813490"/>
                <a:gd name="connsiteY3" fmla="*/ 0 h 257442"/>
                <a:gd name="connsiteX0" fmla="*/ 2981805 w 2981805"/>
                <a:gd name="connsiteY0" fmla="*/ 0 h 257442"/>
                <a:gd name="connsiteX1" fmla="*/ 2758769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975818 w 2927084"/>
                <a:gd name="connsiteY0" fmla="*/ 0 h 257442"/>
                <a:gd name="connsiteX1" fmla="*/ 2927084 w 2927084"/>
                <a:gd name="connsiteY1" fmla="*/ 257442 h 257442"/>
                <a:gd name="connsiteX2" fmla="*/ 0 w 2927084"/>
                <a:gd name="connsiteY2" fmla="*/ 257442 h 257442"/>
                <a:gd name="connsiteX3" fmla="*/ 54721 w 2927084"/>
                <a:gd name="connsiteY3" fmla="*/ 0 h 257442"/>
                <a:gd name="connsiteX0" fmla="*/ 975818 w 975818"/>
                <a:gd name="connsiteY0" fmla="*/ 0 h 257442"/>
                <a:gd name="connsiteX1" fmla="*/ 919181 w 975818"/>
                <a:gd name="connsiteY1" fmla="*/ 257442 h 257442"/>
                <a:gd name="connsiteX2" fmla="*/ 0 w 975818"/>
                <a:gd name="connsiteY2" fmla="*/ 257442 h 257442"/>
                <a:gd name="connsiteX3" fmla="*/ 54721 w 975818"/>
                <a:gd name="connsiteY3" fmla="*/ 0 h 257442"/>
                <a:gd name="connsiteX0" fmla="*/ 975817 w 975817"/>
                <a:gd name="connsiteY0" fmla="*/ 0 h 257442"/>
                <a:gd name="connsiteX1" fmla="*/ 919180 w 975817"/>
                <a:gd name="connsiteY1" fmla="*/ 257442 h 257442"/>
                <a:gd name="connsiteX2" fmla="*/ 0 w 975817"/>
                <a:gd name="connsiteY2" fmla="*/ 257442 h 257442"/>
                <a:gd name="connsiteX3" fmla="*/ 54720 w 975817"/>
                <a:gd name="connsiteY3" fmla="*/ 0 h 257442"/>
                <a:gd name="connsiteX0" fmla="*/ 975817 w 975817"/>
                <a:gd name="connsiteY0" fmla="*/ 0 h 257442"/>
                <a:gd name="connsiteX1" fmla="*/ 919180 w 975817"/>
                <a:gd name="connsiteY1" fmla="*/ 257442 h 257442"/>
                <a:gd name="connsiteX2" fmla="*/ 0 w 975817"/>
                <a:gd name="connsiteY2" fmla="*/ 257442 h 257442"/>
                <a:gd name="connsiteX3" fmla="*/ 56638 w 975817"/>
                <a:gd name="connsiteY3" fmla="*/ 0 h 257442"/>
                <a:gd name="connsiteX0" fmla="*/ 1150030 w 1150030"/>
                <a:gd name="connsiteY0" fmla="*/ 0 h 257442"/>
                <a:gd name="connsiteX1" fmla="*/ 919180 w 1150030"/>
                <a:gd name="connsiteY1" fmla="*/ 257442 h 257442"/>
                <a:gd name="connsiteX2" fmla="*/ 0 w 1150030"/>
                <a:gd name="connsiteY2" fmla="*/ 257442 h 257442"/>
                <a:gd name="connsiteX3" fmla="*/ 56638 w 1150030"/>
                <a:gd name="connsiteY3" fmla="*/ 0 h 257442"/>
                <a:gd name="connsiteX0" fmla="*/ 1150030 w 1150030"/>
                <a:gd name="connsiteY0" fmla="*/ 0 h 257442"/>
                <a:gd name="connsiteX1" fmla="*/ 1093392 w 1150030"/>
                <a:gd name="connsiteY1" fmla="*/ 257442 h 257442"/>
                <a:gd name="connsiteX2" fmla="*/ 0 w 1150030"/>
                <a:gd name="connsiteY2" fmla="*/ 257442 h 257442"/>
                <a:gd name="connsiteX3" fmla="*/ 56638 w 1150030"/>
                <a:gd name="connsiteY3" fmla="*/ 0 h 257442"/>
                <a:gd name="connsiteX0" fmla="*/ 1150030 w 1150030"/>
                <a:gd name="connsiteY0" fmla="*/ 0 h 257442"/>
                <a:gd name="connsiteX1" fmla="*/ 1093392 w 1150030"/>
                <a:gd name="connsiteY1" fmla="*/ 257442 h 257442"/>
                <a:gd name="connsiteX2" fmla="*/ 0 w 1150030"/>
                <a:gd name="connsiteY2" fmla="*/ 257442 h 257442"/>
                <a:gd name="connsiteX3" fmla="*/ 56638 w 1150030"/>
                <a:gd name="connsiteY3" fmla="*/ 0 h 257442"/>
                <a:gd name="connsiteX0" fmla="*/ 1150030 w 1150030"/>
                <a:gd name="connsiteY0" fmla="*/ 0 h 257442"/>
                <a:gd name="connsiteX1" fmla="*/ 1093392 w 1150030"/>
                <a:gd name="connsiteY1" fmla="*/ 257442 h 257442"/>
                <a:gd name="connsiteX2" fmla="*/ 0 w 1150030"/>
                <a:gd name="connsiteY2" fmla="*/ 257442 h 257442"/>
                <a:gd name="connsiteX3" fmla="*/ 56638 w 1150030"/>
                <a:gd name="connsiteY3" fmla="*/ 0 h 257442"/>
                <a:gd name="connsiteX0" fmla="*/ 1473568 w 1473568"/>
                <a:gd name="connsiteY0" fmla="*/ 0 h 257442"/>
                <a:gd name="connsiteX1" fmla="*/ 1093392 w 1473568"/>
                <a:gd name="connsiteY1" fmla="*/ 257442 h 257442"/>
                <a:gd name="connsiteX2" fmla="*/ 0 w 1473568"/>
                <a:gd name="connsiteY2" fmla="*/ 257442 h 257442"/>
                <a:gd name="connsiteX3" fmla="*/ 56638 w 1473568"/>
                <a:gd name="connsiteY3" fmla="*/ 0 h 257442"/>
                <a:gd name="connsiteX0" fmla="*/ 1473568 w 1473568"/>
                <a:gd name="connsiteY0" fmla="*/ 0 h 257442"/>
                <a:gd name="connsiteX1" fmla="*/ 1416930 w 1473568"/>
                <a:gd name="connsiteY1" fmla="*/ 257442 h 257442"/>
                <a:gd name="connsiteX2" fmla="*/ 0 w 1473568"/>
                <a:gd name="connsiteY2" fmla="*/ 257442 h 257442"/>
                <a:gd name="connsiteX3" fmla="*/ 56638 w 1473568"/>
                <a:gd name="connsiteY3" fmla="*/ 0 h 257442"/>
                <a:gd name="connsiteX0" fmla="*/ 1473568 w 1473568"/>
                <a:gd name="connsiteY0" fmla="*/ 0 h 257442"/>
                <a:gd name="connsiteX1" fmla="*/ 1416930 w 1473568"/>
                <a:gd name="connsiteY1" fmla="*/ 257442 h 257442"/>
                <a:gd name="connsiteX2" fmla="*/ 0 w 1473568"/>
                <a:gd name="connsiteY2" fmla="*/ 257442 h 257442"/>
                <a:gd name="connsiteX3" fmla="*/ 56638 w 1473568"/>
                <a:gd name="connsiteY3" fmla="*/ 0 h 257442"/>
                <a:gd name="connsiteX0" fmla="*/ 1473568 w 1473568"/>
                <a:gd name="connsiteY0" fmla="*/ 0 h 257442"/>
                <a:gd name="connsiteX1" fmla="*/ 1416930 w 1473568"/>
                <a:gd name="connsiteY1" fmla="*/ 257442 h 257442"/>
                <a:gd name="connsiteX2" fmla="*/ 0 w 1473568"/>
                <a:gd name="connsiteY2" fmla="*/ 257442 h 257442"/>
                <a:gd name="connsiteX3" fmla="*/ 56638 w 1473568"/>
                <a:gd name="connsiteY3" fmla="*/ 0 h 257442"/>
                <a:gd name="connsiteX0" fmla="*/ 1647780 w 1647780"/>
                <a:gd name="connsiteY0" fmla="*/ 0 h 257442"/>
                <a:gd name="connsiteX1" fmla="*/ 1416930 w 1647780"/>
                <a:gd name="connsiteY1" fmla="*/ 257442 h 257442"/>
                <a:gd name="connsiteX2" fmla="*/ 0 w 1647780"/>
                <a:gd name="connsiteY2" fmla="*/ 257442 h 257442"/>
                <a:gd name="connsiteX3" fmla="*/ 56638 w 1647780"/>
                <a:gd name="connsiteY3" fmla="*/ 0 h 257442"/>
                <a:gd name="connsiteX0" fmla="*/ 1647780 w 1647780"/>
                <a:gd name="connsiteY0" fmla="*/ 0 h 257442"/>
                <a:gd name="connsiteX1" fmla="*/ 1591141 w 1647780"/>
                <a:gd name="connsiteY1" fmla="*/ 257442 h 257442"/>
                <a:gd name="connsiteX2" fmla="*/ 0 w 1647780"/>
                <a:gd name="connsiteY2" fmla="*/ 257442 h 257442"/>
                <a:gd name="connsiteX3" fmla="*/ 56638 w 1647780"/>
                <a:gd name="connsiteY3" fmla="*/ 0 h 257442"/>
                <a:gd name="connsiteX0" fmla="*/ 1647781 w 1647781"/>
                <a:gd name="connsiteY0" fmla="*/ 0 h 257442"/>
                <a:gd name="connsiteX1" fmla="*/ 1591142 w 1647781"/>
                <a:gd name="connsiteY1" fmla="*/ 257442 h 257442"/>
                <a:gd name="connsiteX2" fmla="*/ 0 w 1647781"/>
                <a:gd name="connsiteY2" fmla="*/ 257442 h 257442"/>
                <a:gd name="connsiteX3" fmla="*/ 56639 w 1647781"/>
                <a:gd name="connsiteY3" fmla="*/ 0 h 257442"/>
                <a:gd name="connsiteX0" fmla="*/ 1647781 w 1647781"/>
                <a:gd name="connsiteY0" fmla="*/ 0 h 257442"/>
                <a:gd name="connsiteX1" fmla="*/ 1591142 w 1647781"/>
                <a:gd name="connsiteY1" fmla="*/ 257442 h 257442"/>
                <a:gd name="connsiteX2" fmla="*/ 0 w 1647781"/>
                <a:gd name="connsiteY2" fmla="*/ 257442 h 257442"/>
                <a:gd name="connsiteX3" fmla="*/ 56639 w 1647781"/>
                <a:gd name="connsiteY3" fmla="*/ 0 h 257442"/>
                <a:gd name="connsiteX0" fmla="*/ 1813698 w 1813698"/>
                <a:gd name="connsiteY0" fmla="*/ 0 h 257442"/>
                <a:gd name="connsiteX1" fmla="*/ 1591142 w 1813698"/>
                <a:gd name="connsiteY1" fmla="*/ 257442 h 257442"/>
                <a:gd name="connsiteX2" fmla="*/ 0 w 1813698"/>
                <a:gd name="connsiteY2" fmla="*/ 257442 h 257442"/>
                <a:gd name="connsiteX3" fmla="*/ 56639 w 1813698"/>
                <a:gd name="connsiteY3" fmla="*/ 0 h 257442"/>
                <a:gd name="connsiteX0" fmla="*/ 1813698 w 1813698"/>
                <a:gd name="connsiteY0" fmla="*/ 0 h 257442"/>
                <a:gd name="connsiteX1" fmla="*/ 1757059 w 1813698"/>
                <a:gd name="connsiteY1" fmla="*/ 257442 h 257442"/>
                <a:gd name="connsiteX2" fmla="*/ 0 w 1813698"/>
                <a:gd name="connsiteY2" fmla="*/ 257442 h 257442"/>
                <a:gd name="connsiteX3" fmla="*/ 56639 w 1813698"/>
                <a:gd name="connsiteY3" fmla="*/ 0 h 257442"/>
                <a:gd name="connsiteX0" fmla="*/ 1813698 w 1813698"/>
                <a:gd name="connsiteY0" fmla="*/ 0 h 257442"/>
                <a:gd name="connsiteX1" fmla="*/ 1757059 w 1813698"/>
                <a:gd name="connsiteY1" fmla="*/ 257442 h 257442"/>
                <a:gd name="connsiteX2" fmla="*/ 0 w 1813698"/>
                <a:gd name="connsiteY2" fmla="*/ 257442 h 257442"/>
                <a:gd name="connsiteX3" fmla="*/ 56639 w 1813698"/>
                <a:gd name="connsiteY3" fmla="*/ 0 h 257442"/>
                <a:gd name="connsiteX0" fmla="*/ 1813698 w 1813698"/>
                <a:gd name="connsiteY0" fmla="*/ 0 h 257442"/>
                <a:gd name="connsiteX1" fmla="*/ 1757059 w 1813698"/>
                <a:gd name="connsiteY1" fmla="*/ 257442 h 257442"/>
                <a:gd name="connsiteX2" fmla="*/ 0 w 1813698"/>
                <a:gd name="connsiteY2" fmla="*/ 257442 h 257442"/>
                <a:gd name="connsiteX3" fmla="*/ 56638 w 1813698"/>
                <a:gd name="connsiteY3" fmla="*/ 0 h 257442"/>
                <a:gd name="connsiteX0" fmla="*/ 1647780 w 1757059"/>
                <a:gd name="connsiteY0" fmla="*/ 0 h 257442"/>
                <a:gd name="connsiteX1" fmla="*/ 1757059 w 1757059"/>
                <a:gd name="connsiteY1" fmla="*/ 257442 h 257442"/>
                <a:gd name="connsiteX2" fmla="*/ 0 w 1757059"/>
                <a:gd name="connsiteY2" fmla="*/ 257442 h 257442"/>
                <a:gd name="connsiteX3" fmla="*/ 56638 w 1757059"/>
                <a:gd name="connsiteY3" fmla="*/ 0 h 257442"/>
                <a:gd name="connsiteX0" fmla="*/ 1647780 w 1647780"/>
                <a:gd name="connsiteY0" fmla="*/ 0 h 257442"/>
                <a:gd name="connsiteX1" fmla="*/ 1591142 w 1647780"/>
                <a:gd name="connsiteY1" fmla="*/ 257442 h 257442"/>
                <a:gd name="connsiteX2" fmla="*/ 0 w 1647780"/>
                <a:gd name="connsiteY2" fmla="*/ 257442 h 257442"/>
                <a:gd name="connsiteX3" fmla="*/ 56638 w 1647780"/>
                <a:gd name="connsiteY3" fmla="*/ 0 h 257442"/>
                <a:gd name="connsiteX0" fmla="*/ 1647780 w 1647780"/>
                <a:gd name="connsiteY0" fmla="*/ 0 h 257442"/>
                <a:gd name="connsiteX1" fmla="*/ 1591142 w 1647780"/>
                <a:gd name="connsiteY1" fmla="*/ 257442 h 257442"/>
                <a:gd name="connsiteX2" fmla="*/ 0 w 1647780"/>
                <a:gd name="connsiteY2" fmla="*/ 257442 h 257442"/>
                <a:gd name="connsiteX3" fmla="*/ 56638 w 1647780"/>
                <a:gd name="connsiteY3" fmla="*/ 0 h 257442"/>
                <a:gd name="connsiteX0" fmla="*/ 1647780 w 1647780"/>
                <a:gd name="connsiteY0" fmla="*/ 0 h 257442"/>
                <a:gd name="connsiteX1" fmla="*/ 1591142 w 1647780"/>
                <a:gd name="connsiteY1" fmla="*/ 257442 h 257442"/>
                <a:gd name="connsiteX2" fmla="*/ 0 w 1647780"/>
                <a:gd name="connsiteY2" fmla="*/ 257442 h 257442"/>
                <a:gd name="connsiteX3" fmla="*/ 56638 w 1647780"/>
                <a:gd name="connsiteY3" fmla="*/ 0 h 257442"/>
                <a:gd name="connsiteX0" fmla="*/ 1473568 w 1591142"/>
                <a:gd name="connsiteY0" fmla="*/ 0 h 257442"/>
                <a:gd name="connsiteX1" fmla="*/ 1591142 w 1591142"/>
                <a:gd name="connsiteY1" fmla="*/ 257442 h 257442"/>
                <a:gd name="connsiteX2" fmla="*/ 0 w 1591142"/>
                <a:gd name="connsiteY2" fmla="*/ 257442 h 257442"/>
                <a:gd name="connsiteX3" fmla="*/ 56638 w 1591142"/>
                <a:gd name="connsiteY3" fmla="*/ 0 h 257442"/>
                <a:gd name="connsiteX0" fmla="*/ 1473568 w 1473568"/>
                <a:gd name="connsiteY0" fmla="*/ 0 h 257442"/>
                <a:gd name="connsiteX1" fmla="*/ 1416931 w 1473568"/>
                <a:gd name="connsiteY1" fmla="*/ 257442 h 257442"/>
                <a:gd name="connsiteX2" fmla="*/ 0 w 1473568"/>
                <a:gd name="connsiteY2" fmla="*/ 257442 h 257442"/>
                <a:gd name="connsiteX3" fmla="*/ 56638 w 1473568"/>
                <a:gd name="connsiteY3" fmla="*/ 0 h 257442"/>
                <a:gd name="connsiteX0" fmla="*/ 1473567 w 1473567"/>
                <a:gd name="connsiteY0" fmla="*/ 0 h 257442"/>
                <a:gd name="connsiteX1" fmla="*/ 1416930 w 1473567"/>
                <a:gd name="connsiteY1" fmla="*/ 257442 h 257442"/>
                <a:gd name="connsiteX2" fmla="*/ 0 w 1473567"/>
                <a:gd name="connsiteY2" fmla="*/ 257442 h 257442"/>
                <a:gd name="connsiteX3" fmla="*/ 56637 w 1473567"/>
                <a:gd name="connsiteY3" fmla="*/ 0 h 257442"/>
                <a:gd name="connsiteX0" fmla="*/ 1473567 w 1473567"/>
                <a:gd name="connsiteY0" fmla="*/ 0 h 257442"/>
                <a:gd name="connsiteX1" fmla="*/ 1416930 w 1473567"/>
                <a:gd name="connsiteY1" fmla="*/ 257442 h 257442"/>
                <a:gd name="connsiteX2" fmla="*/ 0 w 1473567"/>
                <a:gd name="connsiteY2" fmla="*/ 257442 h 257442"/>
                <a:gd name="connsiteX3" fmla="*/ 56637 w 1473567"/>
                <a:gd name="connsiteY3" fmla="*/ 0 h 257442"/>
                <a:gd name="connsiteX0" fmla="*/ 1639483 w 1639483"/>
                <a:gd name="connsiteY0" fmla="*/ 0 h 257442"/>
                <a:gd name="connsiteX1" fmla="*/ 1416930 w 1639483"/>
                <a:gd name="connsiteY1" fmla="*/ 257442 h 257442"/>
                <a:gd name="connsiteX2" fmla="*/ 0 w 1639483"/>
                <a:gd name="connsiteY2" fmla="*/ 257442 h 257442"/>
                <a:gd name="connsiteX3" fmla="*/ 56637 w 1639483"/>
                <a:gd name="connsiteY3" fmla="*/ 0 h 257442"/>
                <a:gd name="connsiteX0" fmla="*/ 1639483 w 1639483"/>
                <a:gd name="connsiteY0" fmla="*/ 0 h 257442"/>
                <a:gd name="connsiteX1" fmla="*/ 1582845 w 1639483"/>
                <a:gd name="connsiteY1" fmla="*/ 257442 h 257442"/>
                <a:gd name="connsiteX2" fmla="*/ 0 w 1639483"/>
                <a:gd name="connsiteY2" fmla="*/ 257442 h 257442"/>
                <a:gd name="connsiteX3" fmla="*/ 56637 w 1639483"/>
                <a:gd name="connsiteY3" fmla="*/ 0 h 257442"/>
                <a:gd name="connsiteX0" fmla="*/ 1639483 w 1639483"/>
                <a:gd name="connsiteY0" fmla="*/ 0 h 257442"/>
                <a:gd name="connsiteX1" fmla="*/ 1582845 w 1639483"/>
                <a:gd name="connsiteY1" fmla="*/ 257442 h 257442"/>
                <a:gd name="connsiteX2" fmla="*/ 0 w 1639483"/>
                <a:gd name="connsiteY2" fmla="*/ 257442 h 257442"/>
                <a:gd name="connsiteX3" fmla="*/ 56637 w 1639483"/>
                <a:gd name="connsiteY3" fmla="*/ 0 h 257442"/>
                <a:gd name="connsiteX0" fmla="*/ 1639483 w 1639483"/>
                <a:gd name="connsiteY0" fmla="*/ 0 h 257442"/>
                <a:gd name="connsiteX1" fmla="*/ 1582845 w 1639483"/>
                <a:gd name="connsiteY1" fmla="*/ 257442 h 257442"/>
                <a:gd name="connsiteX2" fmla="*/ 0 w 1639483"/>
                <a:gd name="connsiteY2" fmla="*/ 257442 h 257442"/>
                <a:gd name="connsiteX3" fmla="*/ 56638 w 1639483"/>
                <a:gd name="connsiteY3" fmla="*/ 0 h 257442"/>
                <a:gd name="connsiteX0" fmla="*/ 1912315 w 1912315"/>
                <a:gd name="connsiteY0" fmla="*/ 0 h 257442"/>
                <a:gd name="connsiteX1" fmla="*/ 1582845 w 1912315"/>
                <a:gd name="connsiteY1" fmla="*/ 257442 h 257442"/>
                <a:gd name="connsiteX2" fmla="*/ 0 w 1912315"/>
                <a:gd name="connsiteY2" fmla="*/ 257442 h 257442"/>
                <a:gd name="connsiteX3" fmla="*/ 56638 w 1912315"/>
                <a:gd name="connsiteY3" fmla="*/ 0 h 257442"/>
                <a:gd name="connsiteX0" fmla="*/ 1912315 w 1912315"/>
                <a:gd name="connsiteY0" fmla="*/ 0 h 257442"/>
                <a:gd name="connsiteX1" fmla="*/ 1855677 w 1912315"/>
                <a:gd name="connsiteY1" fmla="*/ 257442 h 257442"/>
                <a:gd name="connsiteX2" fmla="*/ 0 w 1912315"/>
                <a:gd name="connsiteY2" fmla="*/ 257442 h 257442"/>
                <a:gd name="connsiteX3" fmla="*/ 56638 w 1912315"/>
                <a:gd name="connsiteY3" fmla="*/ 0 h 257442"/>
                <a:gd name="connsiteX0" fmla="*/ 1912315 w 1912315"/>
                <a:gd name="connsiteY0" fmla="*/ 0 h 257442"/>
                <a:gd name="connsiteX1" fmla="*/ 1855677 w 1912315"/>
                <a:gd name="connsiteY1" fmla="*/ 257442 h 257442"/>
                <a:gd name="connsiteX2" fmla="*/ 0 w 1912315"/>
                <a:gd name="connsiteY2" fmla="*/ 257442 h 257442"/>
                <a:gd name="connsiteX3" fmla="*/ 56638 w 1912315"/>
                <a:gd name="connsiteY3" fmla="*/ 0 h 257442"/>
                <a:gd name="connsiteX0" fmla="*/ 1912315 w 1912315"/>
                <a:gd name="connsiteY0" fmla="*/ 0 h 257442"/>
                <a:gd name="connsiteX1" fmla="*/ 1855677 w 1912315"/>
                <a:gd name="connsiteY1" fmla="*/ 257442 h 257442"/>
                <a:gd name="connsiteX2" fmla="*/ 0 w 1912315"/>
                <a:gd name="connsiteY2" fmla="*/ 257442 h 257442"/>
                <a:gd name="connsiteX3" fmla="*/ 56638 w 1912315"/>
                <a:gd name="connsiteY3" fmla="*/ 0 h 257442"/>
                <a:gd name="connsiteX0" fmla="*/ 2086526 w 2086526"/>
                <a:gd name="connsiteY0" fmla="*/ 0 h 257442"/>
                <a:gd name="connsiteX1" fmla="*/ 1855677 w 2086526"/>
                <a:gd name="connsiteY1" fmla="*/ 257442 h 257442"/>
                <a:gd name="connsiteX2" fmla="*/ 0 w 2086526"/>
                <a:gd name="connsiteY2" fmla="*/ 257442 h 257442"/>
                <a:gd name="connsiteX3" fmla="*/ 56638 w 2086526"/>
                <a:gd name="connsiteY3" fmla="*/ 0 h 257442"/>
                <a:gd name="connsiteX0" fmla="*/ 2086526 w 2086526"/>
                <a:gd name="connsiteY0" fmla="*/ 0 h 257442"/>
                <a:gd name="connsiteX1" fmla="*/ 2029889 w 2086526"/>
                <a:gd name="connsiteY1" fmla="*/ 257442 h 257442"/>
                <a:gd name="connsiteX2" fmla="*/ 0 w 2086526"/>
                <a:gd name="connsiteY2" fmla="*/ 257442 h 257442"/>
                <a:gd name="connsiteX3" fmla="*/ 56638 w 2086526"/>
                <a:gd name="connsiteY3" fmla="*/ 0 h 257442"/>
                <a:gd name="connsiteX0" fmla="*/ 2086526 w 2086526"/>
                <a:gd name="connsiteY0" fmla="*/ 0 h 257442"/>
                <a:gd name="connsiteX1" fmla="*/ 2029889 w 2086526"/>
                <a:gd name="connsiteY1" fmla="*/ 257442 h 257442"/>
                <a:gd name="connsiteX2" fmla="*/ 0 w 2086526"/>
                <a:gd name="connsiteY2" fmla="*/ 257442 h 257442"/>
                <a:gd name="connsiteX3" fmla="*/ 56638 w 2086526"/>
                <a:gd name="connsiteY3" fmla="*/ 0 h 257442"/>
                <a:gd name="connsiteX0" fmla="*/ 2086526 w 2086526"/>
                <a:gd name="connsiteY0" fmla="*/ 0 h 257442"/>
                <a:gd name="connsiteX1" fmla="*/ 2029889 w 2086526"/>
                <a:gd name="connsiteY1" fmla="*/ 257442 h 257442"/>
                <a:gd name="connsiteX2" fmla="*/ 0 w 2086526"/>
                <a:gd name="connsiteY2" fmla="*/ 257442 h 257442"/>
                <a:gd name="connsiteX3" fmla="*/ 56638 w 2086526"/>
                <a:gd name="connsiteY3" fmla="*/ 0 h 257442"/>
                <a:gd name="connsiteX0" fmla="*/ 2260739 w 2260739"/>
                <a:gd name="connsiteY0" fmla="*/ 0 h 257442"/>
                <a:gd name="connsiteX1" fmla="*/ 2029889 w 2260739"/>
                <a:gd name="connsiteY1" fmla="*/ 257442 h 257442"/>
                <a:gd name="connsiteX2" fmla="*/ 0 w 2260739"/>
                <a:gd name="connsiteY2" fmla="*/ 257442 h 257442"/>
                <a:gd name="connsiteX3" fmla="*/ 56638 w 2260739"/>
                <a:gd name="connsiteY3" fmla="*/ 0 h 257442"/>
                <a:gd name="connsiteX0" fmla="*/ 2260739 w 2260739"/>
                <a:gd name="connsiteY0" fmla="*/ 0 h 257442"/>
                <a:gd name="connsiteX1" fmla="*/ 2204102 w 2260739"/>
                <a:gd name="connsiteY1" fmla="*/ 257442 h 257442"/>
                <a:gd name="connsiteX2" fmla="*/ 0 w 2260739"/>
                <a:gd name="connsiteY2" fmla="*/ 257442 h 257442"/>
                <a:gd name="connsiteX3" fmla="*/ 56638 w 2260739"/>
                <a:gd name="connsiteY3" fmla="*/ 0 h 257442"/>
                <a:gd name="connsiteX0" fmla="*/ 2260739 w 2260739"/>
                <a:gd name="connsiteY0" fmla="*/ 0 h 257442"/>
                <a:gd name="connsiteX1" fmla="*/ 2204102 w 2260739"/>
                <a:gd name="connsiteY1" fmla="*/ 257442 h 257442"/>
                <a:gd name="connsiteX2" fmla="*/ 0 w 2260739"/>
                <a:gd name="connsiteY2" fmla="*/ 257442 h 257442"/>
                <a:gd name="connsiteX3" fmla="*/ 56638 w 2260739"/>
                <a:gd name="connsiteY3" fmla="*/ 0 h 257442"/>
                <a:gd name="connsiteX0" fmla="*/ 2260739 w 2260739"/>
                <a:gd name="connsiteY0" fmla="*/ 0 h 257442"/>
                <a:gd name="connsiteX1" fmla="*/ 2204102 w 2260739"/>
                <a:gd name="connsiteY1" fmla="*/ 257442 h 257442"/>
                <a:gd name="connsiteX2" fmla="*/ 0 w 2260739"/>
                <a:gd name="connsiteY2" fmla="*/ 257442 h 257442"/>
                <a:gd name="connsiteX3" fmla="*/ 56638 w 2260739"/>
                <a:gd name="connsiteY3" fmla="*/ 0 h 257442"/>
                <a:gd name="connsiteX0" fmla="*/ 2539479 w 2539479"/>
                <a:gd name="connsiteY0" fmla="*/ 0 h 257442"/>
                <a:gd name="connsiteX1" fmla="*/ 2204102 w 2539479"/>
                <a:gd name="connsiteY1" fmla="*/ 257442 h 257442"/>
                <a:gd name="connsiteX2" fmla="*/ 0 w 2539479"/>
                <a:gd name="connsiteY2" fmla="*/ 257442 h 257442"/>
                <a:gd name="connsiteX3" fmla="*/ 56638 w 2539479"/>
                <a:gd name="connsiteY3" fmla="*/ 0 h 257442"/>
                <a:gd name="connsiteX0" fmla="*/ 2539479 w 2539479"/>
                <a:gd name="connsiteY0" fmla="*/ 0 h 257442"/>
                <a:gd name="connsiteX1" fmla="*/ 2482840 w 2539479"/>
                <a:gd name="connsiteY1" fmla="*/ 257442 h 257442"/>
                <a:gd name="connsiteX2" fmla="*/ 0 w 2539479"/>
                <a:gd name="connsiteY2" fmla="*/ 257442 h 257442"/>
                <a:gd name="connsiteX3" fmla="*/ 56638 w 2539479"/>
                <a:gd name="connsiteY3" fmla="*/ 0 h 257442"/>
                <a:gd name="connsiteX0" fmla="*/ 2539480 w 2539480"/>
                <a:gd name="connsiteY0" fmla="*/ 0 h 257442"/>
                <a:gd name="connsiteX1" fmla="*/ 2482841 w 2539480"/>
                <a:gd name="connsiteY1" fmla="*/ 257442 h 257442"/>
                <a:gd name="connsiteX2" fmla="*/ 0 w 2539480"/>
                <a:gd name="connsiteY2" fmla="*/ 257442 h 257442"/>
                <a:gd name="connsiteX3" fmla="*/ 56639 w 2539480"/>
                <a:gd name="connsiteY3" fmla="*/ 0 h 257442"/>
                <a:gd name="connsiteX0" fmla="*/ 2539480 w 2539480"/>
                <a:gd name="connsiteY0" fmla="*/ 0 h 257442"/>
                <a:gd name="connsiteX1" fmla="*/ 2482841 w 2539480"/>
                <a:gd name="connsiteY1" fmla="*/ 257442 h 257442"/>
                <a:gd name="connsiteX2" fmla="*/ 0 w 2539480"/>
                <a:gd name="connsiteY2" fmla="*/ 257442 h 257442"/>
                <a:gd name="connsiteX3" fmla="*/ 56639 w 2539480"/>
                <a:gd name="connsiteY3" fmla="*/ 0 h 257442"/>
                <a:gd name="connsiteX0" fmla="*/ 2713691 w 2713691"/>
                <a:gd name="connsiteY0" fmla="*/ 0 h 257442"/>
                <a:gd name="connsiteX1" fmla="*/ 2482841 w 2713691"/>
                <a:gd name="connsiteY1" fmla="*/ 257442 h 257442"/>
                <a:gd name="connsiteX2" fmla="*/ 0 w 2713691"/>
                <a:gd name="connsiteY2" fmla="*/ 257442 h 257442"/>
                <a:gd name="connsiteX3" fmla="*/ 56639 w 2713691"/>
                <a:gd name="connsiteY3" fmla="*/ 0 h 257442"/>
                <a:gd name="connsiteX0" fmla="*/ 2713691 w 2713691"/>
                <a:gd name="connsiteY0" fmla="*/ 0 h 257442"/>
                <a:gd name="connsiteX1" fmla="*/ 2657054 w 2713691"/>
                <a:gd name="connsiteY1" fmla="*/ 257442 h 257442"/>
                <a:gd name="connsiteX2" fmla="*/ 0 w 2713691"/>
                <a:gd name="connsiteY2" fmla="*/ 257442 h 257442"/>
                <a:gd name="connsiteX3" fmla="*/ 56639 w 2713691"/>
                <a:gd name="connsiteY3" fmla="*/ 0 h 257442"/>
                <a:gd name="connsiteX0" fmla="*/ 2713690 w 2713690"/>
                <a:gd name="connsiteY0" fmla="*/ 0 h 257442"/>
                <a:gd name="connsiteX1" fmla="*/ 2657053 w 2713690"/>
                <a:gd name="connsiteY1" fmla="*/ 257442 h 257442"/>
                <a:gd name="connsiteX2" fmla="*/ 0 w 2713690"/>
                <a:gd name="connsiteY2" fmla="*/ 257442 h 257442"/>
                <a:gd name="connsiteX3" fmla="*/ 56638 w 2713690"/>
                <a:gd name="connsiteY3" fmla="*/ 0 h 257442"/>
                <a:gd name="connsiteX0" fmla="*/ 2713690 w 2713690"/>
                <a:gd name="connsiteY0" fmla="*/ 0 h 257442"/>
                <a:gd name="connsiteX1" fmla="*/ 2657053 w 2713690"/>
                <a:gd name="connsiteY1" fmla="*/ 257442 h 257442"/>
                <a:gd name="connsiteX2" fmla="*/ 0 w 2713690"/>
                <a:gd name="connsiteY2" fmla="*/ 257442 h 257442"/>
                <a:gd name="connsiteX3" fmla="*/ 56637 w 2713690"/>
                <a:gd name="connsiteY3" fmla="*/ 0 h 257442"/>
                <a:gd name="connsiteX0" fmla="*/ 2887903 w 2887903"/>
                <a:gd name="connsiteY0" fmla="*/ 0 h 257442"/>
                <a:gd name="connsiteX1" fmla="*/ 2657053 w 2887903"/>
                <a:gd name="connsiteY1" fmla="*/ 257442 h 257442"/>
                <a:gd name="connsiteX2" fmla="*/ 0 w 2887903"/>
                <a:gd name="connsiteY2" fmla="*/ 257442 h 257442"/>
                <a:gd name="connsiteX3" fmla="*/ 56637 w 2887903"/>
                <a:gd name="connsiteY3" fmla="*/ 0 h 257442"/>
                <a:gd name="connsiteX0" fmla="*/ 2887903 w 2887903"/>
                <a:gd name="connsiteY0" fmla="*/ 0 h 257442"/>
                <a:gd name="connsiteX1" fmla="*/ 2831265 w 2887903"/>
                <a:gd name="connsiteY1" fmla="*/ 257442 h 257442"/>
                <a:gd name="connsiteX2" fmla="*/ 0 w 2887903"/>
                <a:gd name="connsiteY2" fmla="*/ 257442 h 257442"/>
                <a:gd name="connsiteX3" fmla="*/ 56637 w 2887903"/>
                <a:gd name="connsiteY3" fmla="*/ 0 h 257442"/>
                <a:gd name="connsiteX0" fmla="*/ 2887904 w 2887904"/>
                <a:gd name="connsiteY0" fmla="*/ 0 h 257442"/>
                <a:gd name="connsiteX1" fmla="*/ 2831266 w 2887904"/>
                <a:gd name="connsiteY1" fmla="*/ 257442 h 257442"/>
                <a:gd name="connsiteX2" fmla="*/ 0 w 2887904"/>
                <a:gd name="connsiteY2" fmla="*/ 257442 h 257442"/>
                <a:gd name="connsiteX3" fmla="*/ 56638 w 2887904"/>
                <a:gd name="connsiteY3" fmla="*/ 0 h 257442"/>
                <a:gd name="connsiteX0" fmla="*/ 2887904 w 2887904"/>
                <a:gd name="connsiteY0" fmla="*/ 0 h 257442"/>
                <a:gd name="connsiteX1" fmla="*/ 2831266 w 2887904"/>
                <a:gd name="connsiteY1" fmla="*/ 257442 h 257442"/>
                <a:gd name="connsiteX2" fmla="*/ 0 w 2887904"/>
                <a:gd name="connsiteY2" fmla="*/ 257442 h 257442"/>
                <a:gd name="connsiteX3" fmla="*/ 56639 w 2887904"/>
                <a:gd name="connsiteY3" fmla="*/ 0 h 257442"/>
                <a:gd name="connsiteX0" fmla="*/ 3203146 w 3203146"/>
                <a:gd name="connsiteY0" fmla="*/ 0 h 257442"/>
                <a:gd name="connsiteX1" fmla="*/ 2831266 w 3203146"/>
                <a:gd name="connsiteY1" fmla="*/ 257442 h 257442"/>
                <a:gd name="connsiteX2" fmla="*/ 0 w 3203146"/>
                <a:gd name="connsiteY2" fmla="*/ 257442 h 257442"/>
                <a:gd name="connsiteX3" fmla="*/ 56639 w 3203146"/>
                <a:gd name="connsiteY3" fmla="*/ 0 h 257442"/>
                <a:gd name="connsiteX0" fmla="*/ 3203146 w 3203146"/>
                <a:gd name="connsiteY0" fmla="*/ 0 h 257442"/>
                <a:gd name="connsiteX1" fmla="*/ 3146507 w 3203146"/>
                <a:gd name="connsiteY1" fmla="*/ 257442 h 257442"/>
                <a:gd name="connsiteX2" fmla="*/ 0 w 3203146"/>
                <a:gd name="connsiteY2" fmla="*/ 257442 h 257442"/>
                <a:gd name="connsiteX3" fmla="*/ 56639 w 3203146"/>
                <a:gd name="connsiteY3" fmla="*/ 0 h 257442"/>
                <a:gd name="connsiteX0" fmla="*/ 3203146 w 3203146"/>
                <a:gd name="connsiteY0" fmla="*/ 0 h 257442"/>
                <a:gd name="connsiteX1" fmla="*/ 3146507 w 3203146"/>
                <a:gd name="connsiteY1" fmla="*/ 257442 h 257442"/>
                <a:gd name="connsiteX2" fmla="*/ 0 w 3203146"/>
                <a:gd name="connsiteY2" fmla="*/ 257442 h 257442"/>
                <a:gd name="connsiteX3" fmla="*/ 56639 w 3203146"/>
                <a:gd name="connsiteY3" fmla="*/ 0 h 257442"/>
                <a:gd name="connsiteX0" fmla="*/ 3203146 w 3203146"/>
                <a:gd name="connsiteY0" fmla="*/ 0 h 257442"/>
                <a:gd name="connsiteX1" fmla="*/ 3146507 w 3203146"/>
                <a:gd name="connsiteY1" fmla="*/ 257442 h 257442"/>
                <a:gd name="connsiteX2" fmla="*/ 0 w 3203146"/>
                <a:gd name="connsiteY2" fmla="*/ 257442 h 257442"/>
                <a:gd name="connsiteX3" fmla="*/ 56638 w 3203146"/>
                <a:gd name="connsiteY3" fmla="*/ 0 h 257442"/>
                <a:gd name="connsiteX0" fmla="*/ 3045525 w 3146507"/>
                <a:gd name="connsiteY0" fmla="*/ 0 h 257442"/>
                <a:gd name="connsiteX1" fmla="*/ 3146507 w 3146507"/>
                <a:gd name="connsiteY1" fmla="*/ 257442 h 257442"/>
                <a:gd name="connsiteX2" fmla="*/ 0 w 3146507"/>
                <a:gd name="connsiteY2" fmla="*/ 257442 h 257442"/>
                <a:gd name="connsiteX3" fmla="*/ 56638 w 3146507"/>
                <a:gd name="connsiteY3" fmla="*/ 0 h 257442"/>
                <a:gd name="connsiteX0" fmla="*/ 3045525 w 3045525"/>
                <a:gd name="connsiteY0" fmla="*/ 0 h 257442"/>
                <a:gd name="connsiteX1" fmla="*/ 2988887 w 3045525"/>
                <a:gd name="connsiteY1" fmla="*/ 257442 h 257442"/>
                <a:gd name="connsiteX2" fmla="*/ 0 w 3045525"/>
                <a:gd name="connsiteY2" fmla="*/ 257442 h 257442"/>
                <a:gd name="connsiteX3" fmla="*/ 56638 w 3045525"/>
                <a:gd name="connsiteY3" fmla="*/ 0 h 257442"/>
                <a:gd name="connsiteX0" fmla="*/ 3045525 w 3045525"/>
                <a:gd name="connsiteY0" fmla="*/ 0 h 257442"/>
                <a:gd name="connsiteX1" fmla="*/ 2988887 w 3045525"/>
                <a:gd name="connsiteY1" fmla="*/ 257442 h 257442"/>
                <a:gd name="connsiteX2" fmla="*/ 0 w 3045525"/>
                <a:gd name="connsiteY2" fmla="*/ 257442 h 257442"/>
                <a:gd name="connsiteX3" fmla="*/ 56638 w 3045525"/>
                <a:gd name="connsiteY3" fmla="*/ 0 h 257442"/>
                <a:gd name="connsiteX0" fmla="*/ 3045525 w 3045525"/>
                <a:gd name="connsiteY0" fmla="*/ 0 h 257442"/>
                <a:gd name="connsiteX1" fmla="*/ 2988887 w 3045525"/>
                <a:gd name="connsiteY1" fmla="*/ 257442 h 257442"/>
                <a:gd name="connsiteX2" fmla="*/ 0 w 3045525"/>
                <a:gd name="connsiteY2" fmla="*/ 257442 h 257442"/>
                <a:gd name="connsiteX3" fmla="*/ 56638 w 3045525"/>
                <a:gd name="connsiteY3" fmla="*/ 0 h 257442"/>
                <a:gd name="connsiteX0" fmla="*/ 2887905 w 2988887"/>
                <a:gd name="connsiteY0" fmla="*/ 0 h 257442"/>
                <a:gd name="connsiteX1" fmla="*/ 2988887 w 2988887"/>
                <a:gd name="connsiteY1" fmla="*/ 257442 h 257442"/>
                <a:gd name="connsiteX2" fmla="*/ 0 w 2988887"/>
                <a:gd name="connsiteY2" fmla="*/ 257442 h 257442"/>
                <a:gd name="connsiteX3" fmla="*/ 56638 w 2988887"/>
                <a:gd name="connsiteY3" fmla="*/ 0 h 257442"/>
                <a:gd name="connsiteX0" fmla="*/ 2887905 w 2887905"/>
                <a:gd name="connsiteY0" fmla="*/ 0 h 257442"/>
                <a:gd name="connsiteX1" fmla="*/ 2831269 w 2887905"/>
                <a:gd name="connsiteY1" fmla="*/ 257442 h 257442"/>
                <a:gd name="connsiteX2" fmla="*/ 0 w 2887905"/>
                <a:gd name="connsiteY2" fmla="*/ 257442 h 257442"/>
                <a:gd name="connsiteX3" fmla="*/ 56638 w 2887905"/>
                <a:gd name="connsiteY3" fmla="*/ 0 h 257442"/>
                <a:gd name="connsiteX0" fmla="*/ 2887903 w 2887903"/>
                <a:gd name="connsiteY0" fmla="*/ 0 h 257442"/>
                <a:gd name="connsiteX1" fmla="*/ 2831267 w 2887903"/>
                <a:gd name="connsiteY1" fmla="*/ 257442 h 257442"/>
                <a:gd name="connsiteX2" fmla="*/ 0 w 2887903"/>
                <a:gd name="connsiteY2" fmla="*/ 257442 h 257442"/>
                <a:gd name="connsiteX3" fmla="*/ 56636 w 2887903"/>
                <a:gd name="connsiteY3" fmla="*/ 0 h 257442"/>
                <a:gd name="connsiteX0" fmla="*/ 2887903 w 2887903"/>
                <a:gd name="connsiteY0" fmla="*/ 0 h 257442"/>
                <a:gd name="connsiteX1" fmla="*/ 2831267 w 2887903"/>
                <a:gd name="connsiteY1" fmla="*/ 257442 h 257442"/>
                <a:gd name="connsiteX2" fmla="*/ 0 w 2887903"/>
                <a:gd name="connsiteY2" fmla="*/ 257442 h 257442"/>
                <a:gd name="connsiteX3" fmla="*/ 56638 w 2887903"/>
                <a:gd name="connsiteY3" fmla="*/ 0 h 257442"/>
                <a:gd name="connsiteX0" fmla="*/ 3062117 w 3062117"/>
                <a:gd name="connsiteY0" fmla="*/ 0 h 257442"/>
                <a:gd name="connsiteX1" fmla="*/ 2831267 w 3062117"/>
                <a:gd name="connsiteY1" fmla="*/ 257442 h 257442"/>
                <a:gd name="connsiteX2" fmla="*/ 0 w 3062117"/>
                <a:gd name="connsiteY2" fmla="*/ 257442 h 257442"/>
                <a:gd name="connsiteX3" fmla="*/ 56638 w 3062117"/>
                <a:gd name="connsiteY3" fmla="*/ 0 h 257442"/>
                <a:gd name="connsiteX0" fmla="*/ 3062117 w 3062117"/>
                <a:gd name="connsiteY0" fmla="*/ 0 h 257442"/>
                <a:gd name="connsiteX1" fmla="*/ 3005478 w 3062117"/>
                <a:gd name="connsiteY1" fmla="*/ 257442 h 257442"/>
                <a:gd name="connsiteX2" fmla="*/ 0 w 3062117"/>
                <a:gd name="connsiteY2" fmla="*/ 257442 h 257442"/>
                <a:gd name="connsiteX3" fmla="*/ 56638 w 3062117"/>
                <a:gd name="connsiteY3" fmla="*/ 0 h 257442"/>
                <a:gd name="connsiteX0" fmla="*/ 3062118 w 3062118"/>
                <a:gd name="connsiteY0" fmla="*/ 0 h 257442"/>
                <a:gd name="connsiteX1" fmla="*/ 3005479 w 3062118"/>
                <a:gd name="connsiteY1" fmla="*/ 257442 h 257442"/>
                <a:gd name="connsiteX2" fmla="*/ 0 w 3062118"/>
                <a:gd name="connsiteY2" fmla="*/ 257442 h 257442"/>
                <a:gd name="connsiteX3" fmla="*/ 56639 w 3062118"/>
                <a:gd name="connsiteY3" fmla="*/ 0 h 257442"/>
                <a:gd name="connsiteX0" fmla="*/ 3062118 w 3062118"/>
                <a:gd name="connsiteY0" fmla="*/ 0 h 257442"/>
                <a:gd name="connsiteX1" fmla="*/ 3005479 w 3062118"/>
                <a:gd name="connsiteY1" fmla="*/ 257442 h 257442"/>
                <a:gd name="connsiteX2" fmla="*/ 0 w 3062118"/>
                <a:gd name="connsiteY2" fmla="*/ 257442 h 257442"/>
                <a:gd name="connsiteX3" fmla="*/ 56639 w 3062118"/>
                <a:gd name="connsiteY3" fmla="*/ 0 h 257442"/>
                <a:gd name="connsiteX0" fmla="*/ 3236329 w 3236329"/>
                <a:gd name="connsiteY0" fmla="*/ 0 h 257442"/>
                <a:gd name="connsiteX1" fmla="*/ 3005479 w 3236329"/>
                <a:gd name="connsiteY1" fmla="*/ 257442 h 257442"/>
                <a:gd name="connsiteX2" fmla="*/ 0 w 3236329"/>
                <a:gd name="connsiteY2" fmla="*/ 257442 h 257442"/>
                <a:gd name="connsiteX3" fmla="*/ 56639 w 3236329"/>
                <a:gd name="connsiteY3" fmla="*/ 0 h 257442"/>
                <a:gd name="connsiteX0" fmla="*/ 3236329 w 3236329"/>
                <a:gd name="connsiteY0" fmla="*/ 0 h 257442"/>
                <a:gd name="connsiteX1" fmla="*/ 3179692 w 3236329"/>
                <a:gd name="connsiteY1" fmla="*/ 257442 h 257442"/>
                <a:gd name="connsiteX2" fmla="*/ 0 w 3236329"/>
                <a:gd name="connsiteY2" fmla="*/ 257442 h 257442"/>
                <a:gd name="connsiteX3" fmla="*/ 56639 w 3236329"/>
                <a:gd name="connsiteY3" fmla="*/ 0 h 257442"/>
                <a:gd name="connsiteX0" fmla="*/ 3236328 w 3236328"/>
                <a:gd name="connsiteY0" fmla="*/ 0 h 257442"/>
                <a:gd name="connsiteX1" fmla="*/ 3179691 w 3236328"/>
                <a:gd name="connsiteY1" fmla="*/ 257442 h 257442"/>
                <a:gd name="connsiteX2" fmla="*/ 0 w 3236328"/>
                <a:gd name="connsiteY2" fmla="*/ 257442 h 257442"/>
                <a:gd name="connsiteX3" fmla="*/ 56638 w 3236328"/>
                <a:gd name="connsiteY3" fmla="*/ 0 h 257442"/>
                <a:gd name="connsiteX0" fmla="*/ 3236328 w 3236328"/>
                <a:gd name="connsiteY0" fmla="*/ 0 h 257442"/>
                <a:gd name="connsiteX1" fmla="*/ 3179691 w 3236328"/>
                <a:gd name="connsiteY1" fmla="*/ 257442 h 257442"/>
                <a:gd name="connsiteX2" fmla="*/ 0 w 3236328"/>
                <a:gd name="connsiteY2" fmla="*/ 257442 h 257442"/>
                <a:gd name="connsiteX3" fmla="*/ 56637 w 3236328"/>
                <a:gd name="connsiteY3" fmla="*/ 0 h 257442"/>
                <a:gd name="connsiteX0" fmla="*/ 3402244 w 3402244"/>
                <a:gd name="connsiteY0" fmla="*/ 0 h 257442"/>
                <a:gd name="connsiteX1" fmla="*/ 3179691 w 3402244"/>
                <a:gd name="connsiteY1" fmla="*/ 257442 h 257442"/>
                <a:gd name="connsiteX2" fmla="*/ 0 w 3402244"/>
                <a:gd name="connsiteY2" fmla="*/ 257442 h 257442"/>
                <a:gd name="connsiteX3" fmla="*/ 56637 w 3402244"/>
                <a:gd name="connsiteY3" fmla="*/ 0 h 257442"/>
                <a:gd name="connsiteX0" fmla="*/ 3402244 w 3402244"/>
                <a:gd name="connsiteY0" fmla="*/ 0 h 257442"/>
                <a:gd name="connsiteX1" fmla="*/ 3345607 w 3402244"/>
                <a:gd name="connsiteY1" fmla="*/ 257442 h 257442"/>
                <a:gd name="connsiteX2" fmla="*/ 0 w 3402244"/>
                <a:gd name="connsiteY2" fmla="*/ 257442 h 257442"/>
                <a:gd name="connsiteX3" fmla="*/ 56637 w 3402244"/>
                <a:gd name="connsiteY3" fmla="*/ 0 h 257442"/>
                <a:gd name="connsiteX0" fmla="*/ 3402245 w 3402245"/>
                <a:gd name="connsiteY0" fmla="*/ 0 h 257442"/>
                <a:gd name="connsiteX1" fmla="*/ 3345608 w 3402245"/>
                <a:gd name="connsiteY1" fmla="*/ 257442 h 257442"/>
                <a:gd name="connsiteX2" fmla="*/ 0 w 3402245"/>
                <a:gd name="connsiteY2" fmla="*/ 257442 h 257442"/>
                <a:gd name="connsiteX3" fmla="*/ 56638 w 3402245"/>
                <a:gd name="connsiteY3" fmla="*/ 0 h 257442"/>
                <a:gd name="connsiteX0" fmla="*/ 3402245 w 3402245"/>
                <a:gd name="connsiteY0" fmla="*/ 0 h 257442"/>
                <a:gd name="connsiteX1" fmla="*/ 3345608 w 3402245"/>
                <a:gd name="connsiteY1" fmla="*/ 257442 h 257442"/>
                <a:gd name="connsiteX2" fmla="*/ 0 w 3402245"/>
                <a:gd name="connsiteY2" fmla="*/ 257442 h 257442"/>
                <a:gd name="connsiteX3" fmla="*/ 56639 w 3402245"/>
                <a:gd name="connsiteY3" fmla="*/ 0 h 257442"/>
                <a:gd name="connsiteX0" fmla="*/ 2311444 w 3345608"/>
                <a:gd name="connsiteY0" fmla="*/ 0 h 257442"/>
                <a:gd name="connsiteX1" fmla="*/ 3345608 w 3345608"/>
                <a:gd name="connsiteY1" fmla="*/ 257442 h 257442"/>
                <a:gd name="connsiteX2" fmla="*/ 0 w 3345608"/>
                <a:gd name="connsiteY2" fmla="*/ 257442 h 257442"/>
                <a:gd name="connsiteX3" fmla="*/ 56639 w 3345608"/>
                <a:gd name="connsiteY3" fmla="*/ 0 h 257442"/>
                <a:gd name="connsiteX0" fmla="*/ 2311444 w 2311444"/>
                <a:gd name="connsiteY0" fmla="*/ 0 h 257442"/>
                <a:gd name="connsiteX1" fmla="*/ 2254807 w 2311444"/>
                <a:gd name="connsiteY1" fmla="*/ 257442 h 257442"/>
                <a:gd name="connsiteX2" fmla="*/ 0 w 2311444"/>
                <a:gd name="connsiteY2" fmla="*/ 257442 h 257442"/>
                <a:gd name="connsiteX3" fmla="*/ 56639 w 2311444"/>
                <a:gd name="connsiteY3" fmla="*/ 0 h 257442"/>
                <a:gd name="connsiteX0" fmla="*/ 2311443 w 2311443"/>
                <a:gd name="connsiteY0" fmla="*/ 0 h 257442"/>
                <a:gd name="connsiteX1" fmla="*/ 2254806 w 2311443"/>
                <a:gd name="connsiteY1" fmla="*/ 257442 h 257442"/>
                <a:gd name="connsiteX2" fmla="*/ 0 w 2311443"/>
                <a:gd name="connsiteY2" fmla="*/ 257442 h 257442"/>
                <a:gd name="connsiteX3" fmla="*/ 56638 w 2311443"/>
                <a:gd name="connsiteY3" fmla="*/ 0 h 257442"/>
                <a:gd name="connsiteX0" fmla="*/ 2311443 w 2311443"/>
                <a:gd name="connsiteY0" fmla="*/ 0 h 257442"/>
                <a:gd name="connsiteX1" fmla="*/ 2254806 w 2311443"/>
                <a:gd name="connsiteY1" fmla="*/ 257442 h 257442"/>
                <a:gd name="connsiteX2" fmla="*/ 0 w 2311443"/>
                <a:gd name="connsiteY2" fmla="*/ 257442 h 257442"/>
                <a:gd name="connsiteX3" fmla="*/ 56637 w 2311443"/>
                <a:gd name="connsiteY3" fmla="*/ 0 h 257442"/>
                <a:gd name="connsiteX0" fmla="*/ 4450836 w 4450836"/>
                <a:gd name="connsiteY0" fmla="*/ 0 h 257442"/>
                <a:gd name="connsiteX1" fmla="*/ 2254806 w 4450836"/>
                <a:gd name="connsiteY1" fmla="*/ 257442 h 257442"/>
                <a:gd name="connsiteX2" fmla="*/ 0 w 4450836"/>
                <a:gd name="connsiteY2" fmla="*/ 257442 h 257442"/>
                <a:gd name="connsiteX3" fmla="*/ 56637 w 4450836"/>
                <a:gd name="connsiteY3" fmla="*/ 0 h 257442"/>
                <a:gd name="connsiteX0" fmla="*/ 4450836 w 4450836"/>
                <a:gd name="connsiteY0" fmla="*/ 0 h 257442"/>
                <a:gd name="connsiteX1" fmla="*/ 4394199 w 4450836"/>
                <a:gd name="connsiteY1" fmla="*/ 257442 h 257442"/>
                <a:gd name="connsiteX2" fmla="*/ 0 w 4450836"/>
                <a:gd name="connsiteY2" fmla="*/ 257442 h 257442"/>
                <a:gd name="connsiteX3" fmla="*/ 56637 w 4450836"/>
                <a:gd name="connsiteY3" fmla="*/ 0 h 257442"/>
                <a:gd name="connsiteX0" fmla="*/ 4450837 w 4450837"/>
                <a:gd name="connsiteY0" fmla="*/ 0 h 257442"/>
                <a:gd name="connsiteX1" fmla="*/ 4394200 w 4450837"/>
                <a:gd name="connsiteY1" fmla="*/ 257442 h 257442"/>
                <a:gd name="connsiteX2" fmla="*/ 0 w 4450837"/>
                <a:gd name="connsiteY2" fmla="*/ 257442 h 257442"/>
                <a:gd name="connsiteX3" fmla="*/ 56638 w 4450837"/>
                <a:gd name="connsiteY3" fmla="*/ 0 h 257442"/>
                <a:gd name="connsiteX0" fmla="*/ 4450837 w 4450837"/>
                <a:gd name="connsiteY0" fmla="*/ 0 h 257442"/>
                <a:gd name="connsiteX1" fmla="*/ 4394200 w 4450837"/>
                <a:gd name="connsiteY1" fmla="*/ 257442 h 257442"/>
                <a:gd name="connsiteX2" fmla="*/ 0 w 4450837"/>
                <a:gd name="connsiteY2" fmla="*/ 257442 h 257442"/>
                <a:gd name="connsiteX3" fmla="*/ 56639 w 4450837"/>
                <a:gd name="connsiteY3" fmla="*/ 0 h 257442"/>
                <a:gd name="connsiteX0" fmla="*/ 2834082 w 4394200"/>
                <a:gd name="connsiteY0" fmla="*/ 0 h 257442"/>
                <a:gd name="connsiteX1" fmla="*/ 4394200 w 4394200"/>
                <a:gd name="connsiteY1" fmla="*/ 257442 h 257442"/>
                <a:gd name="connsiteX2" fmla="*/ 0 w 4394200"/>
                <a:gd name="connsiteY2" fmla="*/ 257442 h 257442"/>
                <a:gd name="connsiteX3" fmla="*/ 56639 w 4394200"/>
                <a:gd name="connsiteY3" fmla="*/ 0 h 257442"/>
                <a:gd name="connsiteX0" fmla="*/ 2834082 w 2834082"/>
                <a:gd name="connsiteY0" fmla="*/ 0 h 257442"/>
                <a:gd name="connsiteX1" fmla="*/ 2777444 w 2834082"/>
                <a:gd name="connsiteY1" fmla="*/ 257442 h 257442"/>
                <a:gd name="connsiteX2" fmla="*/ 0 w 2834082"/>
                <a:gd name="connsiteY2" fmla="*/ 257442 h 257442"/>
                <a:gd name="connsiteX3" fmla="*/ 56639 w 2834082"/>
                <a:gd name="connsiteY3" fmla="*/ 0 h 257442"/>
                <a:gd name="connsiteX0" fmla="*/ 2834081 w 2834081"/>
                <a:gd name="connsiteY0" fmla="*/ 0 h 257442"/>
                <a:gd name="connsiteX1" fmla="*/ 2777443 w 2834081"/>
                <a:gd name="connsiteY1" fmla="*/ 257442 h 257442"/>
                <a:gd name="connsiteX2" fmla="*/ 0 w 2834081"/>
                <a:gd name="connsiteY2" fmla="*/ 257442 h 257442"/>
                <a:gd name="connsiteX3" fmla="*/ 56638 w 2834081"/>
                <a:gd name="connsiteY3" fmla="*/ 0 h 257442"/>
                <a:gd name="connsiteX0" fmla="*/ 2834081 w 2834081"/>
                <a:gd name="connsiteY0" fmla="*/ 0 h 257442"/>
                <a:gd name="connsiteX1" fmla="*/ 2777443 w 2834081"/>
                <a:gd name="connsiteY1" fmla="*/ 257442 h 257442"/>
                <a:gd name="connsiteX2" fmla="*/ 0 w 2834081"/>
                <a:gd name="connsiteY2" fmla="*/ 257442 h 257442"/>
                <a:gd name="connsiteX3" fmla="*/ 56638 w 2834081"/>
                <a:gd name="connsiteY3" fmla="*/ 0 h 257442"/>
                <a:gd name="connsiteX0" fmla="*/ 3104526 w 3104526"/>
                <a:gd name="connsiteY0" fmla="*/ 0 h 257442"/>
                <a:gd name="connsiteX1" fmla="*/ 2777443 w 3104526"/>
                <a:gd name="connsiteY1" fmla="*/ 257442 h 257442"/>
                <a:gd name="connsiteX2" fmla="*/ 0 w 3104526"/>
                <a:gd name="connsiteY2" fmla="*/ 257442 h 257442"/>
                <a:gd name="connsiteX3" fmla="*/ 56638 w 3104526"/>
                <a:gd name="connsiteY3" fmla="*/ 0 h 257442"/>
                <a:gd name="connsiteX0" fmla="*/ 3104526 w 3104526"/>
                <a:gd name="connsiteY0" fmla="*/ 0 h 257442"/>
                <a:gd name="connsiteX1" fmla="*/ 3047887 w 3104526"/>
                <a:gd name="connsiteY1" fmla="*/ 257442 h 257442"/>
                <a:gd name="connsiteX2" fmla="*/ 0 w 3104526"/>
                <a:gd name="connsiteY2" fmla="*/ 257442 h 257442"/>
                <a:gd name="connsiteX3" fmla="*/ 56638 w 3104526"/>
                <a:gd name="connsiteY3" fmla="*/ 0 h 257442"/>
                <a:gd name="connsiteX0" fmla="*/ 3104527 w 3104527"/>
                <a:gd name="connsiteY0" fmla="*/ 0 h 257442"/>
                <a:gd name="connsiteX1" fmla="*/ 3047888 w 3104527"/>
                <a:gd name="connsiteY1" fmla="*/ 257442 h 257442"/>
                <a:gd name="connsiteX2" fmla="*/ 0 w 3104527"/>
                <a:gd name="connsiteY2" fmla="*/ 257442 h 257442"/>
                <a:gd name="connsiteX3" fmla="*/ 56639 w 3104527"/>
                <a:gd name="connsiteY3" fmla="*/ 0 h 257442"/>
                <a:gd name="connsiteX0" fmla="*/ 3104527 w 3104527"/>
                <a:gd name="connsiteY0" fmla="*/ 0 h 257442"/>
                <a:gd name="connsiteX1" fmla="*/ 3047888 w 3104527"/>
                <a:gd name="connsiteY1" fmla="*/ 257442 h 257442"/>
                <a:gd name="connsiteX2" fmla="*/ 0 w 3104527"/>
                <a:gd name="connsiteY2" fmla="*/ 257442 h 257442"/>
                <a:gd name="connsiteX3" fmla="*/ 56639 w 3104527"/>
                <a:gd name="connsiteY3" fmla="*/ 0 h 257442"/>
                <a:gd name="connsiteX0" fmla="*/ 3366672 w 3366672"/>
                <a:gd name="connsiteY0" fmla="*/ 0 h 257442"/>
                <a:gd name="connsiteX1" fmla="*/ 3047888 w 3366672"/>
                <a:gd name="connsiteY1" fmla="*/ 257442 h 257442"/>
                <a:gd name="connsiteX2" fmla="*/ 0 w 3366672"/>
                <a:gd name="connsiteY2" fmla="*/ 257442 h 257442"/>
                <a:gd name="connsiteX3" fmla="*/ 56639 w 3366672"/>
                <a:gd name="connsiteY3" fmla="*/ 0 h 257442"/>
                <a:gd name="connsiteX0" fmla="*/ 3366672 w 3366672"/>
                <a:gd name="connsiteY0" fmla="*/ 0 h 257442"/>
                <a:gd name="connsiteX1" fmla="*/ 3310034 w 3366672"/>
                <a:gd name="connsiteY1" fmla="*/ 257442 h 257442"/>
                <a:gd name="connsiteX2" fmla="*/ 0 w 3366672"/>
                <a:gd name="connsiteY2" fmla="*/ 257442 h 257442"/>
                <a:gd name="connsiteX3" fmla="*/ 56639 w 3366672"/>
                <a:gd name="connsiteY3" fmla="*/ 0 h 257442"/>
                <a:gd name="connsiteX0" fmla="*/ 3366671 w 3366671"/>
                <a:gd name="connsiteY0" fmla="*/ 0 h 257442"/>
                <a:gd name="connsiteX1" fmla="*/ 3310033 w 3366671"/>
                <a:gd name="connsiteY1" fmla="*/ 257442 h 257442"/>
                <a:gd name="connsiteX2" fmla="*/ 0 w 3366671"/>
                <a:gd name="connsiteY2" fmla="*/ 257442 h 257442"/>
                <a:gd name="connsiteX3" fmla="*/ 56638 w 3366671"/>
                <a:gd name="connsiteY3" fmla="*/ 0 h 257442"/>
                <a:gd name="connsiteX0" fmla="*/ 3366671 w 3366671"/>
                <a:gd name="connsiteY0" fmla="*/ 0 h 257442"/>
                <a:gd name="connsiteX1" fmla="*/ 3310033 w 3366671"/>
                <a:gd name="connsiteY1" fmla="*/ 257442 h 257442"/>
                <a:gd name="connsiteX2" fmla="*/ 0 w 3366671"/>
                <a:gd name="connsiteY2" fmla="*/ 257442 h 257442"/>
                <a:gd name="connsiteX3" fmla="*/ 56638 w 3366671"/>
                <a:gd name="connsiteY3" fmla="*/ 0 h 257442"/>
                <a:gd name="connsiteX0" fmla="*/ 3532588 w 3532588"/>
                <a:gd name="connsiteY0" fmla="*/ 0 h 257442"/>
                <a:gd name="connsiteX1" fmla="*/ 3310033 w 3532588"/>
                <a:gd name="connsiteY1" fmla="*/ 257442 h 257442"/>
                <a:gd name="connsiteX2" fmla="*/ 0 w 3532588"/>
                <a:gd name="connsiteY2" fmla="*/ 257442 h 257442"/>
                <a:gd name="connsiteX3" fmla="*/ 56638 w 3532588"/>
                <a:gd name="connsiteY3" fmla="*/ 0 h 257442"/>
                <a:gd name="connsiteX0" fmla="*/ 3532588 w 3532588"/>
                <a:gd name="connsiteY0" fmla="*/ 0 h 257442"/>
                <a:gd name="connsiteX1" fmla="*/ 3475949 w 3532588"/>
                <a:gd name="connsiteY1" fmla="*/ 257442 h 257442"/>
                <a:gd name="connsiteX2" fmla="*/ 0 w 3532588"/>
                <a:gd name="connsiteY2" fmla="*/ 257442 h 257442"/>
                <a:gd name="connsiteX3" fmla="*/ 56638 w 3532588"/>
                <a:gd name="connsiteY3" fmla="*/ 0 h 257442"/>
                <a:gd name="connsiteX0" fmla="*/ 3532589 w 3532589"/>
                <a:gd name="connsiteY0" fmla="*/ 0 h 257442"/>
                <a:gd name="connsiteX1" fmla="*/ 3475950 w 3532589"/>
                <a:gd name="connsiteY1" fmla="*/ 257442 h 257442"/>
                <a:gd name="connsiteX2" fmla="*/ 0 w 3532589"/>
                <a:gd name="connsiteY2" fmla="*/ 257442 h 257442"/>
                <a:gd name="connsiteX3" fmla="*/ 56639 w 3532589"/>
                <a:gd name="connsiteY3" fmla="*/ 0 h 257442"/>
                <a:gd name="connsiteX0" fmla="*/ 3532589 w 3532589"/>
                <a:gd name="connsiteY0" fmla="*/ 0 h 257442"/>
                <a:gd name="connsiteX1" fmla="*/ 3475950 w 3532589"/>
                <a:gd name="connsiteY1" fmla="*/ 257442 h 257442"/>
                <a:gd name="connsiteX2" fmla="*/ 0 w 3532589"/>
                <a:gd name="connsiteY2" fmla="*/ 257442 h 257442"/>
                <a:gd name="connsiteX3" fmla="*/ 56639 w 3532589"/>
                <a:gd name="connsiteY3" fmla="*/ 0 h 257442"/>
                <a:gd name="connsiteX0" fmla="*/ 3803032 w 3803032"/>
                <a:gd name="connsiteY0" fmla="*/ 0 h 257442"/>
                <a:gd name="connsiteX1" fmla="*/ 3475950 w 3803032"/>
                <a:gd name="connsiteY1" fmla="*/ 257442 h 257442"/>
                <a:gd name="connsiteX2" fmla="*/ 0 w 3803032"/>
                <a:gd name="connsiteY2" fmla="*/ 257442 h 257442"/>
                <a:gd name="connsiteX3" fmla="*/ 56639 w 3803032"/>
                <a:gd name="connsiteY3" fmla="*/ 0 h 257442"/>
                <a:gd name="connsiteX0" fmla="*/ 3803032 w 3803032"/>
                <a:gd name="connsiteY0" fmla="*/ 0 h 257442"/>
                <a:gd name="connsiteX1" fmla="*/ 3746394 w 3803032"/>
                <a:gd name="connsiteY1" fmla="*/ 257442 h 257442"/>
                <a:gd name="connsiteX2" fmla="*/ 0 w 3803032"/>
                <a:gd name="connsiteY2" fmla="*/ 257442 h 257442"/>
                <a:gd name="connsiteX3" fmla="*/ 56639 w 3803032"/>
                <a:gd name="connsiteY3" fmla="*/ 0 h 257442"/>
                <a:gd name="connsiteX0" fmla="*/ 3803032 w 3803032"/>
                <a:gd name="connsiteY0" fmla="*/ 0 h 257442"/>
                <a:gd name="connsiteX1" fmla="*/ 3746394 w 3803032"/>
                <a:gd name="connsiteY1" fmla="*/ 257442 h 257442"/>
                <a:gd name="connsiteX2" fmla="*/ 0 w 3803032"/>
                <a:gd name="connsiteY2" fmla="*/ 257442 h 257442"/>
                <a:gd name="connsiteX3" fmla="*/ 56639 w 3803032"/>
                <a:gd name="connsiteY3" fmla="*/ 0 h 257442"/>
                <a:gd name="connsiteX0" fmla="*/ 3803032 w 3803032"/>
                <a:gd name="connsiteY0" fmla="*/ 0 h 257442"/>
                <a:gd name="connsiteX1" fmla="*/ 3746394 w 3803032"/>
                <a:gd name="connsiteY1" fmla="*/ 257442 h 257442"/>
                <a:gd name="connsiteX2" fmla="*/ 0 w 3803032"/>
                <a:gd name="connsiteY2" fmla="*/ 257442 h 257442"/>
                <a:gd name="connsiteX3" fmla="*/ 56638 w 3803032"/>
                <a:gd name="connsiteY3" fmla="*/ 0 h 257442"/>
                <a:gd name="connsiteX0" fmla="*/ 4073476 w 4073476"/>
                <a:gd name="connsiteY0" fmla="*/ 0 h 257442"/>
                <a:gd name="connsiteX1" fmla="*/ 3746394 w 4073476"/>
                <a:gd name="connsiteY1" fmla="*/ 257442 h 257442"/>
                <a:gd name="connsiteX2" fmla="*/ 0 w 4073476"/>
                <a:gd name="connsiteY2" fmla="*/ 257442 h 257442"/>
                <a:gd name="connsiteX3" fmla="*/ 56638 w 4073476"/>
                <a:gd name="connsiteY3" fmla="*/ 0 h 257442"/>
                <a:gd name="connsiteX0" fmla="*/ 4073476 w 4073476"/>
                <a:gd name="connsiteY0" fmla="*/ 0 h 257442"/>
                <a:gd name="connsiteX1" fmla="*/ 4016838 w 4073476"/>
                <a:gd name="connsiteY1" fmla="*/ 257442 h 257442"/>
                <a:gd name="connsiteX2" fmla="*/ 0 w 4073476"/>
                <a:gd name="connsiteY2" fmla="*/ 257442 h 257442"/>
                <a:gd name="connsiteX3" fmla="*/ 56638 w 4073476"/>
                <a:gd name="connsiteY3" fmla="*/ 0 h 257442"/>
                <a:gd name="connsiteX0" fmla="*/ 4073476 w 4073476"/>
                <a:gd name="connsiteY0" fmla="*/ 0 h 257442"/>
                <a:gd name="connsiteX1" fmla="*/ 4016838 w 4073476"/>
                <a:gd name="connsiteY1" fmla="*/ 257442 h 257442"/>
                <a:gd name="connsiteX2" fmla="*/ 0 w 4073476"/>
                <a:gd name="connsiteY2" fmla="*/ 257442 h 257442"/>
                <a:gd name="connsiteX3" fmla="*/ 56638 w 4073476"/>
                <a:gd name="connsiteY3" fmla="*/ 0 h 257442"/>
                <a:gd name="connsiteX0" fmla="*/ 4073476 w 4073476"/>
                <a:gd name="connsiteY0" fmla="*/ 0 h 257442"/>
                <a:gd name="connsiteX1" fmla="*/ 4016838 w 4073476"/>
                <a:gd name="connsiteY1" fmla="*/ 257442 h 257442"/>
                <a:gd name="connsiteX2" fmla="*/ 0 w 4073476"/>
                <a:gd name="connsiteY2" fmla="*/ 257442 h 257442"/>
                <a:gd name="connsiteX3" fmla="*/ 56638 w 4073476"/>
                <a:gd name="connsiteY3" fmla="*/ 0 h 257442"/>
                <a:gd name="connsiteX0" fmla="*/ 4257641 w 4257641"/>
                <a:gd name="connsiteY0" fmla="*/ 0 h 257442"/>
                <a:gd name="connsiteX1" fmla="*/ 4016838 w 4257641"/>
                <a:gd name="connsiteY1" fmla="*/ 257442 h 257442"/>
                <a:gd name="connsiteX2" fmla="*/ 0 w 4257641"/>
                <a:gd name="connsiteY2" fmla="*/ 257442 h 257442"/>
                <a:gd name="connsiteX3" fmla="*/ 56638 w 4257641"/>
                <a:gd name="connsiteY3" fmla="*/ 0 h 257442"/>
                <a:gd name="connsiteX0" fmla="*/ 4257641 w 4257641"/>
                <a:gd name="connsiteY0" fmla="*/ 0 h 257442"/>
                <a:gd name="connsiteX1" fmla="*/ 4201003 w 4257641"/>
                <a:gd name="connsiteY1" fmla="*/ 257442 h 257442"/>
                <a:gd name="connsiteX2" fmla="*/ 0 w 4257641"/>
                <a:gd name="connsiteY2" fmla="*/ 257442 h 257442"/>
                <a:gd name="connsiteX3" fmla="*/ 56638 w 4257641"/>
                <a:gd name="connsiteY3" fmla="*/ 0 h 257442"/>
                <a:gd name="connsiteX0" fmla="*/ 4257641 w 4257641"/>
                <a:gd name="connsiteY0" fmla="*/ 0 h 257442"/>
                <a:gd name="connsiteX1" fmla="*/ 4201003 w 4257641"/>
                <a:gd name="connsiteY1" fmla="*/ 257442 h 257442"/>
                <a:gd name="connsiteX2" fmla="*/ 0 w 4257641"/>
                <a:gd name="connsiteY2" fmla="*/ 257442 h 257442"/>
                <a:gd name="connsiteX3" fmla="*/ 56638 w 4257641"/>
                <a:gd name="connsiteY3" fmla="*/ 0 h 257442"/>
                <a:gd name="connsiteX0" fmla="*/ 4257641 w 4257641"/>
                <a:gd name="connsiteY0" fmla="*/ 0 h 257442"/>
                <a:gd name="connsiteX1" fmla="*/ 4201003 w 4257641"/>
                <a:gd name="connsiteY1" fmla="*/ 257442 h 257442"/>
                <a:gd name="connsiteX2" fmla="*/ 0 w 4257641"/>
                <a:gd name="connsiteY2" fmla="*/ 257442 h 257442"/>
                <a:gd name="connsiteX3" fmla="*/ 56638 w 4257641"/>
                <a:gd name="connsiteY3" fmla="*/ 0 h 257442"/>
                <a:gd name="connsiteX0" fmla="*/ 4073475 w 4201003"/>
                <a:gd name="connsiteY0" fmla="*/ 0 h 257442"/>
                <a:gd name="connsiteX1" fmla="*/ 4201003 w 4201003"/>
                <a:gd name="connsiteY1" fmla="*/ 257442 h 257442"/>
                <a:gd name="connsiteX2" fmla="*/ 0 w 4201003"/>
                <a:gd name="connsiteY2" fmla="*/ 257442 h 257442"/>
                <a:gd name="connsiteX3" fmla="*/ 56638 w 4201003"/>
                <a:gd name="connsiteY3" fmla="*/ 0 h 257442"/>
                <a:gd name="connsiteX0" fmla="*/ 4073475 w 4073475"/>
                <a:gd name="connsiteY0" fmla="*/ 0 h 257442"/>
                <a:gd name="connsiteX1" fmla="*/ 4016837 w 4073475"/>
                <a:gd name="connsiteY1" fmla="*/ 257442 h 257442"/>
                <a:gd name="connsiteX2" fmla="*/ 0 w 4073475"/>
                <a:gd name="connsiteY2" fmla="*/ 257442 h 257442"/>
                <a:gd name="connsiteX3" fmla="*/ 56638 w 4073475"/>
                <a:gd name="connsiteY3" fmla="*/ 0 h 257442"/>
                <a:gd name="connsiteX0" fmla="*/ 4073474 w 4073474"/>
                <a:gd name="connsiteY0" fmla="*/ 0 h 257442"/>
                <a:gd name="connsiteX1" fmla="*/ 4016836 w 4073474"/>
                <a:gd name="connsiteY1" fmla="*/ 257442 h 257442"/>
                <a:gd name="connsiteX2" fmla="*/ 0 w 4073474"/>
                <a:gd name="connsiteY2" fmla="*/ 257442 h 257442"/>
                <a:gd name="connsiteX3" fmla="*/ 56637 w 4073474"/>
                <a:gd name="connsiteY3" fmla="*/ 0 h 257442"/>
                <a:gd name="connsiteX0" fmla="*/ 4073474 w 4073474"/>
                <a:gd name="connsiteY0" fmla="*/ 0 h 257442"/>
                <a:gd name="connsiteX1" fmla="*/ 4016836 w 4073474"/>
                <a:gd name="connsiteY1" fmla="*/ 257442 h 257442"/>
                <a:gd name="connsiteX2" fmla="*/ 0 w 4073474"/>
                <a:gd name="connsiteY2" fmla="*/ 257442 h 257442"/>
                <a:gd name="connsiteX3" fmla="*/ 56637 w 4073474"/>
                <a:gd name="connsiteY3" fmla="*/ 0 h 257442"/>
                <a:gd name="connsiteX0" fmla="*/ 3907557 w 4016836"/>
                <a:gd name="connsiteY0" fmla="*/ 0 h 257442"/>
                <a:gd name="connsiteX1" fmla="*/ 4016836 w 4016836"/>
                <a:gd name="connsiteY1" fmla="*/ 257442 h 257442"/>
                <a:gd name="connsiteX2" fmla="*/ 0 w 4016836"/>
                <a:gd name="connsiteY2" fmla="*/ 257442 h 257442"/>
                <a:gd name="connsiteX3" fmla="*/ 56637 w 4016836"/>
                <a:gd name="connsiteY3" fmla="*/ 0 h 257442"/>
                <a:gd name="connsiteX0" fmla="*/ 3907557 w 3907557"/>
                <a:gd name="connsiteY0" fmla="*/ 0 h 257442"/>
                <a:gd name="connsiteX1" fmla="*/ 3850920 w 3907557"/>
                <a:gd name="connsiteY1" fmla="*/ 257442 h 257442"/>
                <a:gd name="connsiteX2" fmla="*/ 0 w 3907557"/>
                <a:gd name="connsiteY2" fmla="*/ 257442 h 257442"/>
                <a:gd name="connsiteX3" fmla="*/ 56637 w 3907557"/>
                <a:gd name="connsiteY3" fmla="*/ 0 h 257442"/>
                <a:gd name="connsiteX0" fmla="*/ 3907557 w 3907557"/>
                <a:gd name="connsiteY0" fmla="*/ 0 h 257442"/>
                <a:gd name="connsiteX1" fmla="*/ 3850920 w 3907557"/>
                <a:gd name="connsiteY1" fmla="*/ 257442 h 257442"/>
                <a:gd name="connsiteX2" fmla="*/ 0 w 3907557"/>
                <a:gd name="connsiteY2" fmla="*/ 257442 h 257442"/>
                <a:gd name="connsiteX3" fmla="*/ 56637 w 3907557"/>
                <a:gd name="connsiteY3" fmla="*/ 0 h 257442"/>
                <a:gd name="connsiteX0" fmla="*/ 3907557 w 3907557"/>
                <a:gd name="connsiteY0" fmla="*/ 0 h 257442"/>
                <a:gd name="connsiteX1" fmla="*/ 3850920 w 3907557"/>
                <a:gd name="connsiteY1" fmla="*/ 257442 h 257442"/>
                <a:gd name="connsiteX2" fmla="*/ 0 w 3907557"/>
                <a:gd name="connsiteY2" fmla="*/ 257442 h 257442"/>
                <a:gd name="connsiteX3" fmla="*/ 56638 w 3907557"/>
                <a:gd name="connsiteY3" fmla="*/ 0 h 257442"/>
                <a:gd name="connsiteX0" fmla="*/ 3637114 w 3850920"/>
                <a:gd name="connsiteY0" fmla="*/ 0 h 257442"/>
                <a:gd name="connsiteX1" fmla="*/ 3850920 w 3850920"/>
                <a:gd name="connsiteY1" fmla="*/ 257442 h 257442"/>
                <a:gd name="connsiteX2" fmla="*/ 0 w 3850920"/>
                <a:gd name="connsiteY2" fmla="*/ 257442 h 257442"/>
                <a:gd name="connsiteX3" fmla="*/ 56638 w 3850920"/>
                <a:gd name="connsiteY3" fmla="*/ 0 h 257442"/>
                <a:gd name="connsiteX0" fmla="*/ 3637114 w 3637114"/>
                <a:gd name="connsiteY0" fmla="*/ 0 h 257442"/>
                <a:gd name="connsiteX1" fmla="*/ 3580476 w 3637114"/>
                <a:gd name="connsiteY1" fmla="*/ 257442 h 257442"/>
                <a:gd name="connsiteX2" fmla="*/ 0 w 3637114"/>
                <a:gd name="connsiteY2" fmla="*/ 257442 h 257442"/>
                <a:gd name="connsiteX3" fmla="*/ 56638 w 3637114"/>
                <a:gd name="connsiteY3" fmla="*/ 0 h 257442"/>
                <a:gd name="connsiteX0" fmla="*/ 3637114 w 3637114"/>
                <a:gd name="connsiteY0" fmla="*/ 0 h 257442"/>
                <a:gd name="connsiteX1" fmla="*/ 3580476 w 3637114"/>
                <a:gd name="connsiteY1" fmla="*/ 257442 h 257442"/>
                <a:gd name="connsiteX2" fmla="*/ 0 w 3637114"/>
                <a:gd name="connsiteY2" fmla="*/ 257442 h 257442"/>
                <a:gd name="connsiteX3" fmla="*/ 56638 w 3637114"/>
                <a:gd name="connsiteY3" fmla="*/ 0 h 257442"/>
                <a:gd name="connsiteX0" fmla="*/ 3637114 w 3637114"/>
                <a:gd name="connsiteY0" fmla="*/ 0 h 257442"/>
                <a:gd name="connsiteX1" fmla="*/ 3580476 w 3637114"/>
                <a:gd name="connsiteY1" fmla="*/ 257442 h 257442"/>
                <a:gd name="connsiteX2" fmla="*/ 0 w 3637114"/>
                <a:gd name="connsiteY2" fmla="*/ 257442 h 257442"/>
                <a:gd name="connsiteX3" fmla="*/ 56638 w 3637114"/>
                <a:gd name="connsiteY3" fmla="*/ 0 h 257442"/>
                <a:gd name="connsiteX0" fmla="*/ 3803030 w 3803030"/>
                <a:gd name="connsiteY0" fmla="*/ 0 h 257442"/>
                <a:gd name="connsiteX1" fmla="*/ 3580476 w 3803030"/>
                <a:gd name="connsiteY1" fmla="*/ 257442 h 257442"/>
                <a:gd name="connsiteX2" fmla="*/ 0 w 3803030"/>
                <a:gd name="connsiteY2" fmla="*/ 257442 h 257442"/>
                <a:gd name="connsiteX3" fmla="*/ 56638 w 3803030"/>
                <a:gd name="connsiteY3" fmla="*/ 0 h 257442"/>
                <a:gd name="connsiteX0" fmla="*/ 3803030 w 3803030"/>
                <a:gd name="connsiteY0" fmla="*/ 0 h 257442"/>
                <a:gd name="connsiteX1" fmla="*/ 3746393 w 3803030"/>
                <a:gd name="connsiteY1" fmla="*/ 257442 h 257442"/>
                <a:gd name="connsiteX2" fmla="*/ 0 w 3803030"/>
                <a:gd name="connsiteY2" fmla="*/ 257442 h 257442"/>
                <a:gd name="connsiteX3" fmla="*/ 56638 w 3803030"/>
                <a:gd name="connsiteY3" fmla="*/ 0 h 257442"/>
                <a:gd name="connsiteX0" fmla="*/ 3803030 w 3803030"/>
                <a:gd name="connsiteY0" fmla="*/ 0 h 257442"/>
                <a:gd name="connsiteX1" fmla="*/ 3746393 w 3803030"/>
                <a:gd name="connsiteY1" fmla="*/ 257442 h 257442"/>
                <a:gd name="connsiteX2" fmla="*/ 0 w 3803030"/>
                <a:gd name="connsiteY2" fmla="*/ 257442 h 257442"/>
                <a:gd name="connsiteX3" fmla="*/ 56638 w 3803030"/>
                <a:gd name="connsiteY3" fmla="*/ 0 h 257442"/>
                <a:gd name="connsiteX0" fmla="*/ 3803030 w 3803030"/>
                <a:gd name="connsiteY0" fmla="*/ 0 h 257442"/>
                <a:gd name="connsiteX1" fmla="*/ 3746393 w 3803030"/>
                <a:gd name="connsiteY1" fmla="*/ 257442 h 257442"/>
                <a:gd name="connsiteX2" fmla="*/ 0 w 3803030"/>
                <a:gd name="connsiteY2" fmla="*/ 257442 h 257442"/>
                <a:gd name="connsiteX3" fmla="*/ 56638 w 3803030"/>
                <a:gd name="connsiteY3" fmla="*/ 0 h 257442"/>
                <a:gd name="connsiteX0" fmla="*/ 3968947 w 3968947"/>
                <a:gd name="connsiteY0" fmla="*/ 0 h 257442"/>
                <a:gd name="connsiteX1" fmla="*/ 3746393 w 3968947"/>
                <a:gd name="connsiteY1" fmla="*/ 257442 h 257442"/>
                <a:gd name="connsiteX2" fmla="*/ 0 w 3968947"/>
                <a:gd name="connsiteY2" fmla="*/ 257442 h 257442"/>
                <a:gd name="connsiteX3" fmla="*/ 56638 w 3968947"/>
                <a:gd name="connsiteY3" fmla="*/ 0 h 257442"/>
                <a:gd name="connsiteX0" fmla="*/ 3968947 w 3968947"/>
                <a:gd name="connsiteY0" fmla="*/ 0 h 257442"/>
                <a:gd name="connsiteX1" fmla="*/ 3912309 w 3968947"/>
                <a:gd name="connsiteY1" fmla="*/ 257442 h 257442"/>
                <a:gd name="connsiteX2" fmla="*/ 0 w 3968947"/>
                <a:gd name="connsiteY2" fmla="*/ 257442 h 257442"/>
                <a:gd name="connsiteX3" fmla="*/ 56638 w 3968947"/>
                <a:gd name="connsiteY3" fmla="*/ 0 h 257442"/>
                <a:gd name="connsiteX0" fmla="*/ 3968947 w 3968947"/>
                <a:gd name="connsiteY0" fmla="*/ 0 h 257442"/>
                <a:gd name="connsiteX1" fmla="*/ 3912309 w 3968947"/>
                <a:gd name="connsiteY1" fmla="*/ 257442 h 257442"/>
                <a:gd name="connsiteX2" fmla="*/ 0 w 3968947"/>
                <a:gd name="connsiteY2" fmla="*/ 257442 h 257442"/>
                <a:gd name="connsiteX3" fmla="*/ 56638 w 3968947"/>
                <a:gd name="connsiteY3" fmla="*/ 0 h 257442"/>
                <a:gd name="connsiteX0" fmla="*/ 3968947 w 3968947"/>
                <a:gd name="connsiteY0" fmla="*/ 0 h 257442"/>
                <a:gd name="connsiteX1" fmla="*/ 3912309 w 3968947"/>
                <a:gd name="connsiteY1" fmla="*/ 257442 h 257442"/>
                <a:gd name="connsiteX2" fmla="*/ 0 w 3968947"/>
                <a:gd name="connsiteY2" fmla="*/ 257442 h 257442"/>
                <a:gd name="connsiteX3" fmla="*/ 56638 w 3968947"/>
                <a:gd name="connsiteY3" fmla="*/ 0 h 257442"/>
                <a:gd name="connsiteX0" fmla="*/ 4143160 w 4143160"/>
                <a:gd name="connsiteY0" fmla="*/ 0 h 257442"/>
                <a:gd name="connsiteX1" fmla="*/ 3912309 w 4143160"/>
                <a:gd name="connsiteY1" fmla="*/ 257442 h 257442"/>
                <a:gd name="connsiteX2" fmla="*/ 0 w 4143160"/>
                <a:gd name="connsiteY2" fmla="*/ 257442 h 257442"/>
                <a:gd name="connsiteX3" fmla="*/ 56638 w 4143160"/>
                <a:gd name="connsiteY3" fmla="*/ 0 h 257442"/>
                <a:gd name="connsiteX0" fmla="*/ 4143160 w 4143160"/>
                <a:gd name="connsiteY0" fmla="*/ 0 h 257442"/>
                <a:gd name="connsiteX1" fmla="*/ 4086521 w 4143160"/>
                <a:gd name="connsiteY1" fmla="*/ 257442 h 257442"/>
                <a:gd name="connsiteX2" fmla="*/ 0 w 4143160"/>
                <a:gd name="connsiteY2" fmla="*/ 257442 h 257442"/>
                <a:gd name="connsiteX3" fmla="*/ 56638 w 4143160"/>
                <a:gd name="connsiteY3" fmla="*/ 0 h 257442"/>
                <a:gd name="connsiteX0" fmla="*/ 4143160 w 4143160"/>
                <a:gd name="connsiteY0" fmla="*/ 0 h 257442"/>
                <a:gd name="connsiteX1" fmla="*/ 4086521 w 4143160"/>
                <a:gd name="connsiteY1" fmla="*/ 257442 h 257442"/>
                <a:gd name="connsiteX2" fmla="*/ 0 w 4143160"/>
                <a:gd name="connsiteY2" fmla="*/ 257442 h 257442"/>
                <a:gd name="connsiteX3" fmla="*/ 56638 w 4143160"/>
                <a:gd name="connsiteY3" fmla="*/ 0 h 257442"/>
                <a:gd name="connsiteX0" fmla="*/ 4143160 w 4143160"/>
                <a:gd name="connsiteY0" fmla="*/ 0 h 257442"/>
                <a:gd name="connsiteX1" fmla="*/ 4086521 w 4143160"/>
                <a:gd name="connsiteY1" fmla="*/ 257442 h 257442"/>
                <a:gd name="connsiteX2" fmla="*/ 0 w 4143160"/>
                <a:gd name="connsiteY2" fmla="*/ 257442 h 257442"/>
                <a:gd name="connsiteX3" fmla="*/ 56638 w 4143160"/>
                <a:gd name="connsiteY3" fmla="*/ 0 h 257442"/>
                <a:gd name="connsiteX0" fmla="*/ 4413602 w 4413602"/>
                <a:gd name="connsiteY0" fmla="*/ 0 h 257442"/>
                <a:gd name="connsiteX1" fmla="*/ 4086521 w 4413602"/>
                <a:gd name="connsiteY1" fmla="*/ 257442 h 257442"/>
                <a:gd name="connsiteX2" fmla="*/ 0 w 4413602"/>
                <a:gd name="connsiteY2" fmla="*/ 257442 h 257442"/>
                <a:gd name="connsiteX3" fmla="*/ 56638 w 4413602"/>
                <a:gd name="connsiteY3" fmla="*/ 0 h 257442"/>
                <a:gd name="connsiteX0" fmla="*/ 4413602 w 4413602"/>
                <a:gd name="connsiteY0" fmla="*/ 0 h 257442"/>
                <a:gd name="connsiteX1" fmla="*/ 4356965 w 4413602"/>
                <a:gd name="connsiteY1" fmla="*/ 257442 h 257442"/>
                <a:gd name="connsiteX2" fmla="*/ 0 w 4413602"/>
                <a:gd name="connsiteY2" fmla="*/ 257442 h 257442"/>
                <a:gd name="connsiteX3" fmla="*/ 56638 w 4413602"/>
                <a:gd name="connsiteY3" fmla="*/ 0 h 257442"/>
                <a:gd name="connsiteX0" fmla="*/ 4413602 w 4413602"/>
                <a:gd name="connsiteY0" fmla="*/ 0 h 257442"/>
                <a:gd name="connsiteX1" fmla="*/ 4356965 w 4413602"/>
                <a:gd name="connsiteY1" fmla="*/ 257442 h 257442"/>
                <a:gd name="connsiteX2" fmla="*/ 0 w 4413602"/>
                <a:gd name="connsiteY2" fmla="*/ 257442 h 257442"/>
                <a:gd name="connsiteX3" fmla="*/ 56638 w 4413602"/>
                <a:gd name="connsiteY3" fmla="*/ 0 h 257442"/>
                <a:gd name="connsiteX0" fmla="*/ 4413602 w 4413602"/>
                <a:gd name="connsiteY0" fmla="*/ 0 h 257442"/>
                <a:gd name="connsiteX1" fmla="*/ 4356965 w 4413602"/>
                <a:gd name="connsiteY1" fmla="*/ 257442 h 257442"/>
                <a:gd name="connsiteX2" fmla="*/ 0 w 4413602"/>
                <a:gd name="connsiteY2" fmla="*/ 257442 h 257442"/>
                <a:gd name="connsiteX3" fmla="*/ 56638 w 4413602"/>
                <a:gd name="connsiteY3" fmla="*/ 0 h 257442"/>
                <a:gd name="connsiteX0" fmla="*/ 4684045 w 4684045"/>
                <a:gd name="connsiteY0" fmla="*/ 0 h 257442"/>
                <a:gd name="connsiteX1" fmla="*/ 4356965 w 4684045"/>
                <a:gd name="connsiteY1" fmla="*/ 257442 h 257442"/>
                <a:gd name="connsiteX2" fmla="*/ 0 w 4684045"/>
                <a:gd name="connsiteY2" fmla="*/ 257442 h 257442"/>
                <a:gd name="connsiteX3" fmla="*/ 56638 w 4684045"/>
                <a:gd name="connsiteY3" fmla="*/ 0 h 257442"/>
                <a:gd name="connsiteX0" fmla="*/ 4684045 w 4684045"/>
                <a:gd name="connsiteY0" fmla="*/ 0 h 257442"/>
                <a:gd name="connsiteX1" fmla="*/ 4627408 w 4684045"/>
                <a:gd name="connsiteY1" fmla="*/ 257442 h 257442"/>
                <a:gd name="connsiteX2" fmla="*/ 0 w 4684045"/>
                <a:gd name="connsiteY2" fmla="*/ 257442 h 257442"/>
                <a:gd name="connsiteX3" fmla="*/ 56638 w 4684045"/>
                <a:gd name="connsiteY3" fmla="*/ 0 h 257442"/>
                <a:gd name="connsiteX0" fmla="*/ 4684045 w 4684045"/>
                <a:gd name="connsiteY0" fmla="*/ 0 h 257442"/>
                <a:gd name="connsiteX1" fmla="*/ 4627408 w 4684045"/>
                <a:gd name="connsiteY1" fmla="*/ 257442 h 257442"/>
                <a:gd name="connsiteX2" fmla="*/ 0 w 4684045"/>
                <a:gd name="connsiteY2" fmla="*/ 257442 h 257442"/>
                <a:gd name="connsiteX3" fmla="*/ 56638 w 4684045"/>
                <a:gd name="connsiteY3" fmla="*/ 0 h 257442"/>
                <a:gd name="connsiteX0" fmla="*/ 4684045 w 4684045"/>
                <a:gd name="connsiteY0" fmla="*/ 0 h 257442"/>
                <a:gd name="connsiteX1" fmla="*/ 4627408 w 4684045"/>
                <a:gd name="connsiteY1" fmla="*/ 257442 h 257442"/>
                <a:gd name="connsiteX2" fmla="*/ 0 w 4684045"/>
                <a:gd name="connsiteY2" fmla="*/ 257442 h 257442"/>
                <a:gd name="connsiteX3" fmla="*/ 56638 w 4684045"/>
                <a:gd name="connsiteY3" fmla="*/ 0 h 257442"/>
                <a:gd name="connsiteX0" fmla="*/ 4946193 w 4946193"/>
                <a:gd name="connsiteY0" fmla="*/ 0 h 257442"/>
                <a:gd name="connsiteX1" fmla="*/ 4627408 w 4946193"/>
                <a:gd name="connsiteY1" fmla="*/ 257442 h 257442"/>
                <a:gd name="connsiteX2" fmla="*/ 0 w 4946193"/>
                <a:gd name="connsiteY2" fmla="*/ 257442 h 257442"/>
                <a:gd name="connsiteX3" fmla="*/ 56638 w 4946193"/>
                <a:gd name="connsiteY3" fmla="*/ 0 h 257442"/>
                <a:gd name="connsiteX0" fmla="*/ 4946193 w 4946193"/>
                <a:gd name="connsiteY0" fmla="*/ 0 h 257442"/>
                <a:gd name="connsiteX1" fmla="*/ 4889554 w 4946193"/>
                <a:gd name="connsiteY1" fmla="*/ 257442 h 257442"/>
                <a:gd name="connsiteX2" fmla="*/ 0 w 4946193"/>
                <a:gd name="connsiteY2" fmla="*/ 257442 h 257442"/>
                <a:gd name="connsiteX3" fmla="*/ 56638 w 4946193"/>
                <a:gd name="connsiteY3" fmla="*/ 0 h 257442"/>
                <a:gd name="connsiteX0" fmla="*/ 4946194 w 4946194"/>
                <a:gd name="connsiteY0" fmla="*/ 0 h 257442"/>
                <a:gd name="connsiteX1" fmla="*/ 4889555 w 4946194"/>
                <a:gd name="connsiteY1" fmla="*/ 257442 h 257442"/>
                <a:gd name="connsiteX2" fmla="*/ 0 w 4946194"/>
                <a:gd name="connsiteY2" fmla="*/ 257442 h 257442"/>
                <a:gd name="connsiteX3" fmla="*/ 56639 w 4946194"/>
                <a:gd name="connsiteY3" fmla="*/ 0 h 257442"/>
                <a:gd name="connsiteX0" fmla="*/ 4946194 w 4946194"/>
                <a:gd name="connsiteY0" fmla="*/ 0 h 257442"/>
                <a:gd name="connsiteX1" fmla="*/ 4889555 w 4946194"/>
                <a:gd name="connsiteY1" fmla="*/ 257442 h 257442"/>
                <a:gd name="connsiteX2" fmla="*/ 0 w 4946194"/>
                <a:gd name="connsiteY2" fmla="*/ 257442 h 257442"/>
                <a:gd name="connsiteX3" fmla="*/ 56639 w 4946194"/>
                <a:gd name="connsiteY3" fmla="*/ 0 h 257442"/>
                <a:gd name="connsiteX0" fmla="*/ 5127506 w 5127506"/>
                <a:gd name="connsiteY0" fmla="*/ 0 h 257442"/>
                <a:gd name="connsiteX1" fmla="*/ 4889555 w 5127506"/>
                <a:gd name="connsiteY1" fmla="*/ 257442 h 257442"/>
                <a:gd name="connsiteX2" fmla="*/ 0 w 5127506"/>
                <a:gd name="connsiteY2" fmla="*/ 257442 h 257442"/>
                <a:gd name="connsiteX3" fmla="*/ 56639 w 5127506"/>
                <a:gd name="connsiteY3" fmla="*/ 0 h 257442"/>
                <a:gd name="connsiteX0" fmla="*/ 5127506 w 5127506"/>
                <a:gd name="connsiteY0" fmla="*/ 0 h 257442"/>
                <a:gd name="connsiteX1" fmla="*/ 5070868 w 5127506"/>
                <a:gd name="connsiteY1" fmla="*/ 257442 h 257442"/>
                <a:gd name="connsiteX2" fmla="*/ 0 w 5127506"/>
                <a:gd name="connsiteY2" fmla="*/ 257442 h 257442"/>
                <a:gd name="connsiteX3" fmla="*/ 56639 w 5127506"/>
                <a:gd name="connsiteY3" fmla="*/ 0 h 257442"/>
                <a:gd name="connsiteX0" fmla="*/ 5127506 w 5127506"/>
                <a:gd name="connsiteY0" fmla="*/ 0 h 257442"/>
                <a:gd name="connsiteX1" fmla="*/ 5070868 w 5127506"/>
                <a:gd name="connsiteY1" fmla="*/ 257442 h 257442"/>
                <a:gd name="connsiteX2" fmla="*/ 0 w 5127506"/>
                <a:gd name="connsiteY2" fmla="*/ 257442 h 257442"/>
                <a:gd name="connsiteX3" fmla="*/ 56639 w 5127506"/>
                <a:gd name="connsiteY3" fmla="*/ 0 h 257442"/>
                <a:gd name="connsiteX0" fmla="*/ 5127506 w 5127506"/>
                <a:gd name="connsiteY0" fmla="*/ 0 h 257442"/>
                <a:gd name="connsiteX1" fmla="*/ 5070868 w 5127506"/>
                <a:gd name="connsiteY1" fmla="*/ 257442 h 257442"/>
                <a:gd name="connsiteX2" fmla="*/ 0 w 5127506"/>
                <a:gd name="connsiteY2" fmla="*/ 257442 h 257442"/>
                <a:gd name="connsiteX3" fmla="*/ 56638 w 5127506"/>
                <a:gd name="connsiteY3" fmla="*/ 0 h 257442"/>
                <a:gd name="connsiteX0" fmla="*/ 5301718 w 5301718"/>
                <a:gd name="connsiteY0" fmla="*/ 0 h 257442"/>
                <a:gd name="connsiteX1" fmla="*/ 5070868 w 5301718"/>
                <a:gd name="connsiteY1" fmla="*/ 257442 h 257442"/>
                <a:gd name="connsiteX2" fmla="*/ 0 w 5301718"/>
                <a:gd name="connsiteY2" fmla="*/ 257442 h 257442"/>
                <a:gd name="connsiteX3" fmla="*/ 56638 w 5301718"/>
                <a:gd name="connsiteY3" fmla="*/ 0 h 257442"/>
                <a:gd name="connsiteX0" fmla="*/ 5301718 w 5301718"/>
                <a:gd name="connsiteY0" fmla="*/ 0 h 257442"/>
                <a:gd name="connsiteX1" fmla="*/ 5245080 w 5301718"/>
                <a:gd name="connsiteY1" fmla="*/ 257442 h 257442"/>
                <a:gd name="connsiteX2" fmla="*/ 0 w 5301718"/>
                <a:gd name="connsiteY2" fmla="*/ 257442 h 257442"/>
                <a:gd name="connsiteX3" fmla="*/ 56638 w 5301718"/>
                <a:gd name="connsiteY3" fmla="*/ 0 h 257442"/>
                <a:gd name="connsiteX0" fmla="*/ 5301718 w 5301718"/>
                <a:gd name="connsiteY0" fmla="*/ 0 h 257442"/>
                <a:gd name="connsiteX1" fmla="*/ 5245080 w 5301718"/>
                <a:gd name="connsiteY1" fmla="*/ 257442 h 257442"/>
                <a:gd name="connsiteX2" fmla="*/ 0 w 5301718"/>
                <a:gd name="connsiteY2" fmla="*/ 257442 h 257442"/>
                <a:gd name="connsiteX3" fmla="*/ 56638 w 5301718"/>
                <a:gd name="connsiteY3" fmla="*/ 0 h 257442"/>
                <a:gd name="connsiteX0" fmla="*/ 5301718 w 5301718"/>
                <a:gd name="connsiteY0" fmla="*/ 0 h 257442"/>
                <a:gd name="connsiteX1" fmla="*/ 5245080 w 5301718"/>
                <a:gd name="connsiteY1" fmla="*/ 257442 h 257442"/>
                <a:gd name="connsiteX2" fmla="*/ 0 w 5301718"/>
                <a:gd name="connsiteY2" fmla="*/ 257442 h 257442"/>
                <a:gd name="connsiteX3" fmla="*/ 56638 w 5301718"/>
                <a:gd name="connsiteY3" fmla="*/ 0 h 257442"/>
                <a:gd name="connsiteX0" fmla="*/ 2834078 w 5245080"/>
                <a:gd name="connsiteY0" fmla="*/ 0 h 257442"/>
                <a:gd name="connsiteX1" fmla="*/ 5245080 w 5245080"/>
                <a:gd name="connsiteY1" fmla="*/ 257442 h 257442"/>
                <a:gd name="connsiteX2" fmla="*/ 0 w 5245080"/>
                <a:gd name="connsiteY2" fmla="*/ 257442 h 257442"/>
                <a:gd name="connsiteX3" fmla="*/ 56638 w 5245080"/>
                <a:gd name="connsiteY3" fmla="*/ 0 h 257442"/>
                <a:gd name="connsiteX0" fmla="*/ 2834078 w 2834078"/>
                <a:gd name="connsiteY0" fmla="*/ 0 h 257442"/>
                <a:gd name="connsiteX1" fmla="*/ 2777441 w 2834078"/>
                <a:gd name="connsiteY1" fmla="*/ 257442 h 257442"/>
                <a:gd name="connsiteX2" fmla="*/ 0 w 2834078"/>
                <a:gd name="connsiteY2" fmla="*/ 257442 h 257442"/>
                <a:gd name="connsiteX3" fmla="*/ 56638 w 2834078"/>
                <a:gd name="connsiteY3" fmla="*/ 0 h 257442"/>
                <a:gd name="connsiteX0" fmla="*/ 2834077 w 2834077"/>
                <a:gd name="connsiteY0" fmla="*/ 0 h 257442"/>
                <a:gd name="connsiteX1" fmla="*/ 2777440 w 2834077"/>
                <a:gd name="connsiteY1" fmla="*/ 257442 h 257442"/>
                <a:gd name="connsiteX2" fmla="*/ 0 w 2834077"/>
                <a:gd name="connsiteY2" fmla="*/ 257442 h 257442"/>
                <a:gd name="connsiteX3" fmla="*/ 56637 w 2834077"/>
                <a:gd name="connsiteY3" fmla="*/ 0 h 257442"/>
                <a:gd name="connsiteX0" fmla="*/ 2834077 w 2834077"/>
                <a:gd name="connsiteY0" fmla="*/ 0 h 257442"/>
                <a:gd name="connsiteX1" fmla="*/ 2777440 w 2834077"/>
                <a:gd name="connsiteY1" fmla="*/ 257442 h 257442"/>
                <a:gd name="connsiteX2" fmla="*/ 0 w 2834077"/>
                <a:gd name="connsiteY2" fmla="*/ 257442 h 257442"/>
                <a:gd name="connsiteX3" fmla="*/ 56637 w 2834077"/>
                <a:gd name="connsiteY3" fmla="*/ 0 h 257442"/>
                <a:gd name="connsiteX0" fmla="*/ 3018245 w 3018245"/>
                <a:gd name="connsiteY0" fmla="*/ 0 h 257442"/>
                <a:gd name="connsiteX1" fmla="*/ 2777440 w 3018245"/>
                <a:gd name="connsiteY1" fmla="*/ 257442 h 257442"/>
                <a:gd name="connsiteX2" fmla="*/ 0 w 3018245"/>
                <a:gd name="connsiteY2" fmla="*/ 257442 h 257442"/>
                <a:gd name="connsiteX3" fmla="*/ 56637 w 3018245"/>
                <a:gd name="connsiteY3" fmla="*/ 0 h 257442"/>
                <a:gd name="connsiteX0" fmla="*/ 3018245 w 3018245"/>
                <a:gd name="connsiteY0" fmla="*/ 0 h 257442"/>
                <a:gd name="connsiteX1" fmla="*/ 2961607 w 3018245"/>
                <a:gd name="connsiteY1" fmla="*/ 257442 h 257442"/>
                <a:gd name="connsiteX2" fmla="*/ 0 w 3018245"/>
                <a:gd name="connsiteY2" fmla="*/ 257442 h 257442"/>
                <a:gd name="connsiteX3" fmla="*/ 56637 w 3018245"/>
                <a:gd name="connsiteY3" fmla="*/ 0 h 257442"/>
                <a:gd name="connsiteX0" fmla="*/ 3018246 w 3018246"/>
                <a:gd name="connsiteY0" fmla="*/ 0 h 257442"/>
                <a:gd name="connsiteX1" fmla="*/ 2961608 w 3018246"/>
                <a:gd name="connsiteY1" fmla="*/ 257442 h 257442"/>
                <a:gd name="connsiteX2" fmla="*/ 0 w 3018246"/>
                <a:gd name="connsiteY2" fmla="*/ 257442 h 257442"/>
                <a:gd name="connsiteX3" fmla="*/ 56638 w 3018246"/>
                <a:gd name="connsiteY3" fmla="*/ 0 h 257442"/>
                <a:gd name="connsiteX0" fmla="*/ 3018246 w 3018246"/>
                <a:gd name="connsiteY0" fmla="*/ 0 h 257442"/>
                <a:gd name="connsiteX1" fmla="*/ 2961608 w 3018246"/>
                <a:gd name="connsiteY1" fmla="*/ 257442 h 257442"/>
                <a:gd name="connsiteX2" fmla="*/ 0 w 3018246"/>
                <a:gd name="connsiteY2" fmla="*/ 257442 h 257442"/>
                <a:gd name="connsiteX3" fmla="*/ 56639 w 3018246"/>
                <a:gd name="connsiteY3" fmla="*/ 0 h 257442"/>
                <a:gd name="connsiteX0" fmla="*/ 3192459 w 3192459"/>
                <a:gd name="connsiteY0" fmla="*/ 0 h 257442"/>
                <a:gd name="connsiteX1" fmla="*/ 2961608 w 3192459"/>
                <a:gd name="connsiteY1" fmla="*/ 257442 h 257442"/>
                <a:gd name="connsiteX2" fmla="*/ 0 w 3192459"/>
                <a:gd name="connsiteY2" fmla="*/ 257442 h 257442"/>
                <a:gd name="connsiteX3" fmla="*/ 56639 w 3192459"/>
                <a:gd name="connsiteY3" fmla="*/ 0 h 257442"/>
                <a:gd name="connsiteX0" fmla="*/ 3192459 w 3192459"/>
                <a:gd name="connsiteY0" fmla="*/ 0 h 257442"/>
                <a:gd name="connsiteX1" fmla="*/ 3135821 w 3192459"/>
                <a:gd name="connsiteY1" fmla="*/ 257442 h 257442"/>
                <a:gd name="connsiteX2" fmla="*/ 0 w 3192459"/>
                <a:gd name="connsiteY2" fmla="*/ 257442 h 257442"/>
                <a:gd name="connsiteX3" fmla="*/ 56639 w 3192459"/>
                <a:gd name="connsiteY3" fmla="*/ 0 h 257442"/>
                <a:gd name="connsiteX0" fmla="*/ 3192458 w 3192458"/>
                <a:gd name="connsiteY0" fmla="*/ 0 h 257442"/>
                <a:gd name="connsiteX1" fmla="*/ 3135820 w 3192458"/>
                <a:gd name="connsiteY1" fmla="*/ 257442 h 257442"/>
                <a:gd name="connsiteX2" fmla="*/ 0 w 3192458"/>
                <a:gd name="connsiteY2" fmla="*/ 257442 h 257442"/>
                <a:gd name="connsiteX3" fmla="*/ 56638 w 3192458"/>
                <a:gd name="connsiteY3" fmla="*/ 0 h 257442"/>
                <a:gd name="connsiteX0" fmla="*/ 3192458 w 3192458"/>
                <a:gd name="connsiteY0" fmla="*/ 0 h 257442"/>
                <a:gd name="connsiteX1" fmla="*/ 3135820 w 3192458"/>
                <a:gd name="connsiteY1" fmla="*/ 257442 h 257442"/>
                <a:gd name="connsiteX2" fmla="*/ 0 w 3192458"/>
                <a:gd name="connsiteY2" fmla="*/ 257442 h 257442"/>
                <a:gd name="connsiteX3" fmla="*/ 56637 w 3192458"/>
                <a:gd name="connsiteY3" fmla="*/ 0 h 257442"/>
                <a:gd name="connsiteX0" fmla="*/ 3366669 w 3366669"/>
                <a:gd name="connsiteY0" fmla="*/ 0 h 257442"/>
                <a:gd name="connsiteX1" fmla="*/ 3135820 w 3366669"/>
                <a:gd name="connsiteY1" fmla="*/ 257442 h 257442"/>
                <a:gd name="connsiteX2" fmla="*/ 0 w 3366669"/>
                <a:gd name="connsiteY2" fmla="*/ 257442 h 257442"/>
                <a:gd name="connsiteX3" fmla="*/ 56637 w 3366669"/>
                <a:gd name="connsiteY3" fmla="*/ 0 h 257442"/>
                <a:gd name="connsiteX0" fmla="*/ 3366669 w 3366669"/>
                <a:gd name="connsiteY0" fmla="*/ 0 h 257442"/>
                <a:gd name="connsiteX1" fmla="*/ 3310031 w 3366669"/>
                <a:gd name="connsiteY1" fmla="*/ 257442 h 257442"/>
                <a:gd name="connsiteX2" fmla="*/ 0 w 3366669"/>
                <a:gd name="connsiteY2" fmla="*/ 257442 h 257442"/>
                <a:gd name="connsiteX3" fmla="*/ 56637 w 3366669"/>
                <a:gd name="connsiteY3" fmla="*/ 0 h 257442"/>
                <a:gd name="connsiteX0" fmla="*/ 3366670 w 3366670"/>
                <a:gd name="connsiteY0" fmla="*/ 0 h 257442"/>
                <a:gd name="connsiteX1" fmla="*/ 3310032 w 3366670"/>
                <a:gd name="connsiteY1" fmla="*/ 257442 h 257442"/>
                <a:gd name="connsiteX2" fmla="*/ 0 w 3366670"/>
                <a:gd name="connsiteY2" fmla="*/ 257442 h 257442"/>
                <a:gd name="connsiteX3" fmla="*/ 56638 w 3366670"/>
                <a:gd name="connsiteY3" fmla="*/ 0 h 257442"/>
                <a:gd name="connsiteX0" fmla="*/ 3366670 w 3366670"/>
                <a:gd name="connsiteY0" fmla="*/ 0 h 257442"/>
                <a:gd name="connsiteX1" fmla="*/ 3310032 w 3366670"/>
                <a:gd name="connsiteY1" fmla="*/ 257442 h 257442"/>
                <a:gd name="connsiteX2" fmla="*/ 0 w 3366670"/>
                <a:gd name="connsiteY2" fmla="*/ 257442 h 257442"/>
                <a:gd name="connsiteX3" fmla="*/ 56639 w 3366670"/>
                <a:gd name="connsiteY3" fmla="*/ 0 h 257442"/>
                <a:gd name="connsiteX0" fmla="*/ 3540883 w 3540883"/>
                <a:gd name="connsiteY0" fmla="*/ 0 h 257442"/>
                <a:gd name="connsiteX1" fmla="*/ 3310032 w 3540883"/>
                <a:gd name="connsiteY1" fmla="*/ 257442 h 257442"/>
                <a:gd name="connsiteX2" fmla="*/ 0 w 3540883"/>
                <a:gd name="connsiteY2" fmla="*/ 257442 h 257442"/>
                <a:gd name="connsiteX3" fmla="*/ 56639 w 3540883"/>
                <a:gd name="connsiteY3" fmla="*/ 0 h 257442"/>
                <a:gd name="connsiteX0" fmla="*/ 3540883 w 3540883"/>
                <a:gd name="connsiteY0" fmla="*/ 0 h 257442"/>
                <a:gd name="connsiteX1" fmla="*/ 3484245 w 3540883"/>
                <a:gd name="connsiteY1" fmla="*/ 257442 h 257442"/>
                <a:gd name="connsiteX2" fmla="*/ 0 w 3540883"/>
                <a:gd name="connsiteY2" fmla="*/ 257442 h 257442"/>
                <a:gd name="connsiteX3" fmla="*/ 56639 w 3540883"/>
                <a:gd name="connsiteY3" fmla="*/ 0 h 257442"/>
                <a:gd name="connsiteX0" fmla="*/ 3540882 w 3540882"/>
                <a:gd name="connsiteY0" fmla="*/ 0 h 257442"/>
                <a:gd name="connsiteX1" fmla="*/ 3484244 w 3540882"/>
                <a:gd name="connsiteY1" fmla="*/ 257442 h 257442"/>
                <a:gd name="connsiteX2" fmla="*/ 0 w 3540882"/>
                <a:gd name="connsiteY2" fmla="*/ 257442 h 257442"/>
                <a:gd name="connsiteX3" fmla="*/ 56638 w 3540882"/>
                <a:gd name="connsiteY3" fmla="*/ 0 h 257442"/>
                <a:gd name="connsiteX0" fmla="*/ 3540882 w 3540882"/>
                <a:gd name="connsiteY0" fmla="*/ 0 h 257442"/>
                <a:gd name="connsiteX1" fmla="*/ 3484244 w 3540882"/>
                <a:gd name="connsiteY1" fmla="*/ 257442 h 257442"/>
                <a:gd name="connsiteX2" fmla="*/ 0 w 3540882"/>
                <a:gd name="connsiteY2" fmla="*/ 257442 h 257442"/>
                <a:gd name="connsiteX3" fmla="*/ 56637 w 3540882"/>
                <a:gd name="connsiteY3" fmla="*/ 0 h 257442"/>
                <a:gd name="connsiteX0" fmla="*/ 3706796 w 3706796"/>
                <a:gd name="connsiteY0" fmla="*/ 0 h 257442"/>
                <a:gd name="connsiteX1" fmla="*/ 3484244 w 3706796"/>
                <a:gd name="connsiteY1" fmla="*/ 257442 h 257442"/>
                <a:gd name="connsiteX2" fmla="*/ 0 w 3706796"/>
                <a:gd name="connsiteY2" fmla="*/ 257442 h 257442"/>
                <a:gd name="connsiteX3" fmla="*/ 56637 w 3706796"/>
                <a:gd name="connsiteY3" fmla="*/ 0 h 257442"/>
                <a:gd name="connsiteX0" fmla="*/ 3706796 w 3706796"/>
                <a:gd name="connsiteY0" fmla="*/ 0 h 257442"/>
                <a:gd name="connsiteX1" fmla="*/ 3650159 w 3706796"/>
                <a:gd name="connsiteY1" fmla="*/ 257442 h 257442"/>
                <a:gd name="connsiteX2" fmla="*/ 0 w 3706796"/>
                <a:gd name="connsiteY2" fmla="*/ 257442 h 257442"/>
                <a:gd name="connsiteX3" fmla="*/ 56637 w 3706796"/>
                <a:gd name="connsiteY3" fmla="*/ 0 h 257442"/>
                <a:gd name="connsiteX0" fmla="*/ 3706797 w 3706797"/>
                <a:gd name="connsiteY0" fmla="*/ 0 h 257442"/>
                <a:gd name="connsiteX1" fmla="*/ 3650160 w 3706797"/>
                <a:gd name="connsiteY1" fmla="*/ 257442 h 257442"/>
                <a:gd name="connsiteX2" fmla="*/ 0 w 3706797"/>
                <a:gd name="connsiteY2" fmla="*/ 257442 h 257442"/>
                <a:gd name="connsiteX3" fmla="*/ 56638 w 3706797"/>
                <a:gd name="connsiteY3" fmla="*/ 0 h 257442"/>
                <a:gd name="connsiteX0" fmla="*/ 3706797 w 3706797"/>
                <a:gd name="connsiteY0" fmla="*/ 0 h 257442"/>
                <a:gd name="connsiteX1" fmla="*/ 3650160 w 3706797"/>
                <a:gd name="connsiteY1" fmla="*/ 257442 h 257442"/>
                <a:gd name="connsiteX2" fmla="*/ 0 w 3706797"/>
                <a:gd name="connsiteY2" fmla="*/ 257442 h 257442"/>
                <a:gd name="connsiteX3" fmla="*/ 56639 w 3706797"/>
                <a:gd name="connsiteY3" fmla="*/ 0 h 257442"/>
                <a:gd name="connsiteX0" fmla="*/ 3872716 w 3872716"/>
                <a:gd name="connsiteY0" fmla="*/ 0 h 257442"/>
                <a:gd name="connsiteX1" fmla="*/ 3650160 w 3872716"/>
                <a:gd name="connsiteY1" fmla="*/ 257442 h 257442"/>
                <a:gd name="connsiteX2" fmla="*/ 0 w 3872716"/>
                <a:gd name="connsiteY2" fmla="*/ 257442 h 257442"/>
                <a:gd name="connsiteX3" fmla="*/ 56639 w 3872716"/>
                <a:gd name="connsiteY3" fmla="*/ 0 h 257442"/>
                <a:gd name="connsiteX0" fmla="*/ 3872716 w 3872716"/>
                <a:gd name="connsiteY0" fmla="*/ 0 h 257442"/>
                <a:gd name="connsiteX1" fmla="*/ 3816077 w 3872716"/>
                <a:gd name="connsiteY1" fmla="*/ 257442 h 257442"/>
                <a:gd name="connsiteX2" fmla="*/ 0 w 3872716"/>
                <a:gd name="connsiteY2" fmla="*/ 257442 h 257442"/>
                <a:gd name="connsiteX3" fmla="*/ 56639 w 3872716"/>
                <a:gd name="connsiteY3" fmla="*/ 0 h 257442"/>
                <a:gd name="connsiteX0" fmla="*/ 3872716 w 3872716"/>
                <a:gd name="connsiteY0" fmla="*/ 0 h 257442"/>
                <a:gd name="connsiteX1" fmla="*/ 3816077 w 3872716"/>
                <a:gd name="connsiteY1" fmla="*/ 257442 h 257442"/>
                <a:gd name="connsiteX2" fmla="*/ 0 w 3872716"/>
                <a:gd name="connsiteY2" fmla="*/ 257442 h 257442"/>
                <a:gd name="connsiteX3" fmla="*/ 56639 w 3872716"/>
                <a:gd name="connsiteY3" fmla="*/ 0 h 257442"/>
                <a:gd name="connsiteX0" fmla="*/ 3872716 w 3872716"/>
                <a:gd name="connsiteY0" fmla="*/ 0 h 257442"/>
                <a:gd name="connsiteX1" fmla="*/ 3816077 w 3872716"/>
                <a:gd name="connsiteY1" fmla="*/ 257442 h 257442"/>
                <a:gd name="connsiteX2" fmla="*/ 0 w 3872716"/>
                <a:gd name="connsiteY2" fmla="*/ 257442 h 257442"/>
                <a:gd name="connsiteX3" fmla="*/ 56638 w 3872716"/>
                <a:gd name="connsiteY3" fmla="*/ 0 h 257442"/>
                <a:gd name="connsiteX0" fmla="*/ 2842374 w 3816077"/>
                <a:gd name="connsiteY0" fmla="*/ 0 h 257442"/>
                <a:gd name="connsiteX1" fmla="*/ 3816077 w 3816077"/>
                <a:gd name="connsiteY1" fmla="*/ 257442 h 257442"/>
                <a:gd name="connsiteX2" fmla="*/ 0 w 3816077"/>
                <a:gd name="connsiteY2" fmla="*/ 257442 h 257442"/>
                <a:gd name="connsiteX3" fmla="*/ 56638 w 3816077"/>
                <a:gd name="connsiteY3" fmla="*/ 0 h 257442"/>
                <a:gd name="connsiteX0" fmla="*/ 2842374 w 2842374"/>
                <a:gd name="connsiteY0" fmla="*/ 0 h 257442"/>
                <a:gd name="connsiteX1" fmla="*/ 2785736 w 2842374"/>
                <a:gd name="connsiteY1" fmla="*/ 257442 h 257442"/>
                <a:gd name="connsiteX2" fmla="*/ 0 w 2842374"/>
                <a:gd name="connsiteY2" fmla="*/ 257442 h 257442"/>
                <a:gd name="connsiteX3" fmla="*/ 56638 w 2842374"/>
                <a:gd name="connsiteY3" fmla="*/ 0 h 257442"/>
                <a:gd name="connsiteX0" fmla="*/ 2842374 w 2842374"/>
                <a:gd name="connsiteY0" fmla="*/ 0 h 257442"/>
                <a:gd name="connsiteX1" fmla="*/ 2785736 w 2842374"/>
                <a:gd name="connsiteY1" fmla="*/ 257442 h 257442"/>
                <a:gd name="connsiteX2" fmla="*/ 0 w 2842374"/>
                <a:gd name="connsiteY2" fmla="*/ 257442 h 257442"/>
                <a:gd name="connsiteX3" fmla="*/ 56638 w 2842374"/>
                <a:gd name="connsiteY3" fmla="*/ 0 h 257442"/>
                <a:gd name="connsiteX0" fmla="*/ 2842374 w 2842374"/>
                <a:gd name="connsiteY0" fmla="*/ 0 h 257442"/>
                <a:gd name="connsiteX1" fmla="*/ 2785736 w 2842374"/>
                <a:gd name="connsiteY1" fmla="*/ 257442 h 257442"/>
                <a:gd name="connsiteX2" fmla="*/ 0 w 2842374"/>
                <a:gd name="connsiteY2" fmla="*/ 257442 h 257442"/>
                <a:gd name="connsiteX3" fmla="*/ 56638 w 2842374"/>
                <a:gd name="connsiteY3" fmla="*/ 0 h 257442"/>
                <a:gd name="connsiteX0" fmla="*/ 3008291 w 3008291"/>
                <a:gd name="connsiteY0" fmla="*/ 0 h 257442"/>
                <a:gd name="connsiteX1" fmla="*/ 2785736 w 3008291"/>
                <a:gd name="connsiteY1" fmla="*/ 257442 h 257442"/>
                <a:gd name="connsiteX2" fmla="*/ 0 w 3008291"/>
                <a:gd name="connsiteY2" fmla="*/ 257442 h 257442"/>
                <a:gd name="connsiteX3" fmla="*/ 56638 w 3008291"/>
                <a:gd name="connsiteY3" fmla="*/ 0 h 257442"/>
                <a:gd name="connsiteX0" fmla="*/ 3008291 w 3008291"/>
                <a:gd name="connsiteY0" fmla="*/ 0 h 257442"/>
                <a:gd name="connsiteX1" fmla="*/ 2951653 w 3008291"/>
                <a:gd name="connsiteY1" fmla="*/ 257442 h 257442"/>
                <a:gd name="connsiteX2" fmla="*/ 0 w 3008291"/>
                <a:gd name="connsiteY2" fmla="*/ 257442 h 257442"/>
                <a:gd name="connsiteX3" fmla="*/ 56638 w 3008291"/>
                <a:gd name="connsiteY3" fmla="*/ 0 h 257442"/>
                <a:gd name="connsiteX0" fmla="*/ 3008291 w 3008291"/>
                <a:gd name="connsiteY0" fmla="*/ 0 h 257442"/>
                <a:gd name="connsiteX1" fmla="*/ 2951653 w 3008291"/>
                <a:gd name="connsiteY1" fmla="*/ 257442 h 257442"/>
                <a:gd name="connsiteX2" fmla="*/ 0 w 3008291"/>
                <a:gd name="connsiteY2" fmla="*/ 257442 h 257442"/>
                <a:gd name="connsiteX3" fmla="*/ 56638 w 3008291"/>
                <a:gd name="connsiteY3" fmla="*/ 0 h 257442"/>
                <a:gd name="connsiteX0" fmla="*/ 3008291 w 3008291"/>
                <a:gd name="connsiteY0" fmla="*/ 0 h 257442"/>
                <a:gd name="connsiteX1" fmla="*/ 2951653 w 3008291"/>
                <a:gd name="connsiteY1" fmla="*/ 257442 h 257442"/>
                <a:gd name="connsiteX2" fmla="*/ 0 w 3008291"/>
                <a:gd name="connsiteY2" fmla="*/ 257442 h 257442"/>
                <a:gd name="connsiteX3" fmla="*/ 56638 w 3008291"/>
                <a:gd name="connsiteY3" fmla="*/ 0 h 257442"/>
                <a:gd name="connsiteX0" fmla="*/ 3174207 w 3174207"/>
                <a:gd name="connsiteY0" fmla="*/ 0 h 257442"/>
                <a:gd name="connsiteX1" fmla="*/ 2951653 w 3174207"/>
                <a:gd name="connsiteY1" fmla="*/ 257442 h 257442"/>
                <a:gd name="connsiteX2" fmla="*/ 0 w 3174207"/>
                <a:gd name="connsiteY2" fmla="*/ 257442 h 257442"/>
                <a:gd name="connsiteX3" fmla="*/ 56638 w 3174207"/>
                <a:gd name="connsiteY3" fmla="*/ 0 h 257442"/>
                <a:gd name="connsiteX0" fmla="*/ 3174207 w 3174207"/>
                <a:gd name="connsiteY0" fmla="*/ 0 h 257442"/>
                <a:gd name="connsiteX1" fmla="*/ 3117569 w 3174207"/>
                <a:gd name="connsiteY1" fmla="*/ 257442 h 257442"/>
                <a:gd name="connsiteX2" fmla="*/ 0 w 3174207"/>
                <a:gd name="connsiteY2" fmla="*/ 257442 h 257442"/>
                <a:gd name="connsiteX3" fmla="*/ 56638 w 3174207"/>
                <a:gd name="connsiteY3" fmla="*/ 0 h 257442"/>
                <a:gd name="connsiteX0" fmla="*/ 3174207 w 3174207"/>
                <a:gd name="connsiteY0" fmla="*/ 0 h 257442"/>
                <a:gd name="connsiteX1" fmla="*/ 3117569 w 3174207"/>
                <a:gd name="connsiteY1" fmla="*/ 257442 h 257442"/>
                <a:gd name="connsiteX2" fmla="*/ 0 w 3174207"/>
                <a:gd name="connsiteY2" fmla="*/ 257442 h 257442"/>
                <a:gd name="connsiteX3" fmla="*/ 56638 w 3174207"/>
                <a:gd name="connsiteY3" fmla="*/ 0 h 257442"/>
                <a:gd name="connsiteX0" fmla="*/ 3174207 w 3174207"/>
                <a:gd name="connsiteY0" fmla="*/ 0 h 257442"/>
                <a:gd name="connsiteX1" fmla="*/ 3117569 w 3174207"/>
                <a:gd name="connsiteY1" fmla="*/ 257442 h 257442"/>
                <a:gd name="connsiteX2" fmla="*/ 0 w 3174207"/>
                <a:gd name="connsiteY2" fmla="*/ 257442 h 257442"/>
                <a:gd name="connsiteX3" fmla="*/ 56638 w 3174207"/>
                <a:gd name="connsiteY3" fmla="*/ 0 h 257442"/>
                <a:gd name="connsiteX0" fmla="*/ 3348419 w 3348419"/>
                <a:gd name="connsiteY0" fmla="*/ 0 h 257442"/>
                <a:gd name="connsiteX1" fmla="*/ 3117569 w 3348419"/>
                <a:gd name="connsiteY1" fmla="*/ 257442 h 257442"/>
                <a:gd name="connsiteX2" fmla="*/ 0 w 3348419"/>
                <a:gd name="connsiteY2" fmla="*/ 257442 h 257442"/>
                <a:gd name="connsiteX3" fmla="*/ 56638 w 3348419"/>
                <a:gd name="connsiteY3" fmla="*/ 0 h 257442"/>
                <a:gd name="connsiteX0" fmla="*/ 3348419 w 3348419"/>
                <a:gd name="connsiteY0" fmla="*/ 0 h 257442"/>
                <a:gd name="connsiteX1" fmla="*/ 3291780 w 3348419"/>
                <a:gd name="connsiteY1" fmla="*/ 257442 h 257442"/>
                <a:gd name="connsiteX2" fmla="*/ 0 w 3348419"/>
                <a:gd name="connsiteY2" fmla="*/ 257442 h 257442"/>
                <a:gd name="connsiteX3" fmla="*/ 56638 w 3348419"/>
                <a:gd name="connsiteY3" fmla="*/ 0 h 257442"/>
                <a:gd name="connsiteX0" fmla="*/ 3348420 w 3348420"/>
                <a:gd name="connsiteY0" fmla="*/ 0 h 257442"/>
                <a:gd name="connsiteX1" fmla="*/ 3291781 w 3348420"/>
                <a:gd name="connsiteY1" fmla="*/ 257442 h 257442"/>
                <a:gd name="connsiteX2" fmla="*/ 0 w 3348420"/>
                <a:gd name="connsiteY2" fmla="*/ 257442 h 257442"/>
                <a:gd name="connsiteX3" fmla="*/ 56639 w 3348420"/>
                <a:gd name="connsiteY3" fmla="*/ 0 h 257442"/>
                <a:gd name="connsiteX0" fmla="*/ 3348420 w 3348420"/>
                <a:gd name="connsiteY0" fmla="*/ 0 h 257442"/>
                <a:gd name="connsiteX1" fmla="*/ 3291781 w 3348420"/>
                <a:gd name="connsiteY1" fmla="*/ 257442 h 257442"/>
                <a:gd name="connsiteX2" fmla="*/ 0 w 3348420"/>
                <a:gd name="connsiteY2" fmla="*/ 257442 h 257442"/>
                <a:gd name="connsiteX3" fmla="*/ 56639 w 3348420"/>
                <a:gd name="connsiteY3" fmla="*/ 0 h 257442"/>
                <a:gd name="connsiteX0" fmla="*/ 3687353 w 3687353"/>
                <a:gd name="connsiteY0" fmla="*/ 0 h 257442"/>
                <a:gd name="connsiteX1" fmla="*/ 3291781 w 3687353"/>
                <a:gd name="connsiteY1" fmla="*/ 257442 h 257442"/>
                <a:gd name="connsiteX2" fmla="*/ 0 w 3687353"/>
                <a:gd name="connsiteY2" fmla="*/ 257442 h 257442"/>
                <a:gd name="connsiteX3" fmla="*/ 56639 w 3687353"/>
                <a:gd name="connsiteY3" fmla="*/ 0 h 257442"/>
                <a:gd name="connsiteX0" fmla="*/ 3687353 w 3687353"/>
                <a:gd name="connsiteY0" fmla="*/ 0 h 257442"/>
                <a:gd name="connsiteX1" fmla="*/ 3630715 w 3687353"/>
                <a:gd name="connsiteY1" fmla="*/ 257442 h 257442"/>
                <a:gd name="connsiteX2" fmla="*/ 0 w 3687353"/>
                <a:gd name="connsiteY2" fmla="*/ 257442 h 257442"/>
                <a:gd name="connsiteX3" fmla="*/ 56639 w 3687353"/>
                <a:gd name="connsiteY3" fmla="*/ 0 h 257442"/>
                <a:gd name="connsiteX0" fmla="*/ 3687354 w 3687354"/>
                <a:gd name="connsiteY0" fmla="*/ 0 h 257442"/>
                <a:gd name="connsiteX1" fmla="*/ 3630716 w 3687354"/>
                <a:gd name="connsiteY1" fmla="*/ 257442 h 257442"/>
                <a:gd name="connsiteX2" fmla="*/ 0 w 3687354"/>
                <a:gd name="connsiteY2" fmla="*/ 257442 h 257442"/>
                <a:gd name="connsiteX3" fmla="*/ 56640 w 3687354"/>
                <a:gd name="connsiteY3" fmla="*/ 0 h 257442"/>
                <a:gd name="connsiteX0" fmla="*/ 3687354 w 3687354"/>
                <a:gd name="connsiteY0" fmla="*/ 0 h 257442"/>
                <a:gd name="connsiteX1" fmla="*/ 3630716 w 3687354"/>
                <a:gd name="connsiteY1" fmla="*/ 257442 h 257442"/>
                <a:gd name="connsiteX2" fmla="*/ 0 w 3687354"/>
                <a:gd name="connsiteY2" fmla="*/ 257442 h 257442"/>
                <a:gd name="connsiteX3" fmla="*/ 56639 w 3687354"/>
                <a:gd name="connsiteY3" fmla="*/ 0 h 257442"/>
                <a:gd name="connsiteX0" fmla="*/ 3853270 w 3853270"/>
                <a:gd name="connsiteY0" fmla="*/ 0 h 257442"/>
                <a:gd name="connsiteX1" fmla="*/ 3630716 w 3853270"/>
                <a:gd name="connsiteY1" fmla="*/ 257442 h 257442"/>
                <a:gd name="connsiteX2" fmla="*/ 0 w 3853270"/>
                <a:gd name="connsiteY2" fmla="*/ 257442 h 257442"/>
                <a:gd name="connsiteX3" fmla="*/ 56639 w 3853270"/>
                <a:gd name="connsiteY3" fmla="*/ 0 h 257442"/>
                <a:gd name="connsiteX0" fmla="*/ 3853270 w 3853270"/>
                <a:gd name="connsiteY0" fmla="*/ 0 h 257442"/>
                <a:gd name="connsiteX1" fmla="*/ 3796633 w 3853270"/>
                <a:gd name="connsiteY1" fmla="*/ 257442 h 257442"/>
                <a:gd name="connsiteX2" fmla="*/ 0 w 3853270"/>
                <a:gd name="connsiteY2" fmla="*/ 257442 h 257442"/>
                <a:gd name="connsiteX3" fmla="*/ 56639 w 3853270"/>
                <a:gd name="connsiteY3" fmla="*/ 0 h 257442"/>
                <a:gd name="connsiteX0" fmla="*/ 3853269 w 3853269"/>
                <a:gd name="connsiteY0" fmla="*/ 0 h 257442"/>
                <a:gd name="connsiteX1" fmla="*/ 3796632 w 3853269"/>
                <a:gd name="connsiteY1" fmla="*/ 257442 h 257442"/>
                <a:gd name="connsiteX2" fmla="*/ 0 w 3853269"/>
                <a:gd name="connsiteY2" fmla="*/ 257442 h 257442"/>
                <a:gd name="connsiteX3" fmla="*/ 56638 w 3853269"/>
                <a:gd name="connsiteY3" fmla="*/ 0 h 257442"/>
                <a:gd name="connsiteX0" fmla="*/ 3853269 w 3853269"/>
                <a:gd name="connsiteY0" fmla="*/ 0 h 257442"/>
                <a:gd name="connsiteX1" fmla="*/ 3796632 w 3853269"/>
                <a:gd name="connsiteY1" fmla="*/ 257442 h 257442"/>
                <a:gd name="connsiteX2" fmla="*/ 0 w 3853269"/>
                <a:gd name="connsiteY2" fmla="*/ 257442 h 257442"/>
                <a:gd name="connsiteX3" fmla="*/ 56637 w 3853269"/>
                <a:gd name="connsiteY3" fmla="*/ 0 h 257442"/>
                <a:gd name="connsiteX0" fmla="*/ 4120856 w 4120856"/>
                <a:gd name="connsiteY0" fmla="*/ 0 h 257442"/>
                <a:gd name="connsiteX1" fmla="*/ 3796632 w 4120856"/>
                <a:gd name="connsiteY1" fmla="*/ 257442 h 257442"/>
                <a:gd name="connsiteX2" fmla="*/ 0 w 4120856"/>
                <a:gd name="connsiteY2" fmla="*/ 257442 h 257442"/>
                <a:gd name="connsiteX3" fmla="*/ 56637 w 4120856"/>
                <a:gd name="connsiteY3" fmla="*/ 0 h 257442"/>
                <a:gd name="connsiteX0" fmla="*/ 4120856 w 4120856"/>
                <a:gd name="connsiteY0" fmla="*/ 0 h 257442"/>
                <a:gd name="connsiteX1" fmla="*/ 4064218 w 4120856"/>
                <a:gd name="connsiteY1" fmla="*/ 257442 h 257442"/>
                <a:gd name="connsiteX2" fmla="*/ 0 w 4120856"/>
                <a:gd name="connsiteY2" fmla="*/ 257442 h 257442"/>
                <a:gd name="connsiteX3" fmla="*/ 56637 w 4120856"/>
                <a:gd name="connsiteY3" fmla="*/ 0 h 257442"/>
                <a:gd name="connsiteX0" fmla="*/ 4120857 w 4120857"/>
                <a:gd name="connsiteY0" fmla="*/ 0 h 257442"/>
                <a:gd name="connsiteX1" fmla="*/ 4064219 w 4120857"/>
                <a:gd name="connsiteY1" fmla="*/ 257442 h 257442"/>
                <a:gd name="connsiteX2" fmla="*/ 0 w 4120857"/>
                <a:gd name="connsiteY2" fmla="*/ 257442 h 257442"/>
                <a:gd name="connsiteX3" fmla="*/ 56638 w 4120857"/>
                <a:gd name="connsiteY3" fmla="*/ 0 h 257442"/>
                <a:gd name="connsiteX0" fmla="*/ 4120857 w 4120857"/>
                <a:gd name="connsiteY0" fmla="*/ 0 h 257442"/>
                <a:gd name="connsiteX1" fmla="*/ 4064219 w 4120857"/>
                <a:gd name="connsiteY1" fmla="*/ 257442 h 257442"/>
                <a:gd name="connsiteX2" fmla="*/ 0 w 4120857"/>
                <a:gd name="connsiteY2" fmla="*/ 257442 h 257442"/>
                <a:gd name="connsiteX3" fmla="*/ 56638 w 4120857"/>
                <a:gd name="connsiteY3" fmla="*/ 0 h 257442"/>
                <a:gd name="connsiteX0" fmla="*/ 4286774 w 4286774"/>
                <a:gd name="connsiteY0" fmla="*/ 0 h 257442"/>
                <a:gd name="connsiteX1" fmla="*/ 4064219 w 4286774"/>
                <a:gd name="connsiteY1" fmla="*/ 257442 h 257442"/>
                <a:gd name="connsiteX2" fmla="*/ 0 w 4286774"/>
                <a:gd name="connsiteY2" fmla="*/ 257442 h 257442"/>
                <a:gd name="connsiteX3" fmla="*/ 56638 w 4286774"/>
                <a:gd name="connsiteY3" fmla="*/ 0 h 257442"/>
                <a:gd name="connsiteX0" fmla="*/ 4286774 w 4286774"/>
                <a:gd name="connsiteY0" fmla="*/ 0 h 257442"/>
                <a:gd name="connsiteX1" fmla="*/ 4230136 w 4286774"/>
                <a:gd name="connsiteY1" fmla="*/ 257442 h 257442"/>
                <a:gd name="connsiteX2" fmla="*/ 0 w 4286774"/>
                <a:gd name="connsiteY2" fmla="*/ 257442 h 257442"/>
                <a:gd name="connsiteX3" fmla="*/ 56638 w 4286774"/>
                <a:gd name="connsiteY3" fmla="*/ 0 h 257442"/>
                <a:gd name="connsiteX0" fmla="*/ 4286774 w 4286774"/>
                <a:gd name="connsiteY0" fmla="*/ 0 h 257442"/>
                <a:gd name="connsiteX1" fmla="*/ 4230136 w 4286774"/>
                <a:gd name="connsiteY1" fmla="*/ 257442 h 257442"/>
                <a:gd name="connsiteX2" fmla="*/ 0 w 4286774"/>
                <a:gd name="connsiteY2" fmla="*/ 257442 h 257442"/>
                <a:gd name="connsiteX3" fmla="*/ 56638 w 4286774"/>
                <a:gd name="connsiteY3" fmla="*/ 0 h 257442"/>
                <a:gd name="connsiteX0" fmla="*/ 4286774 w 4286774"/>
                <a:gd name="connsiteY0" fmla="*/ 0 h 257442"/>
                <a:gd name="connsiteX1" fmla="*/ 4230136 w 4286774"/>
                <a:gd name="connsiteY1" fmla="*/ 257442 h 257442"/>
                <a:gd name="connsiteX2" fmla="*/ 0 w 4286774"/>
                <a:gd name="connsiteY2" fmla="*/ 257442 h 257442"/>
                <a:gd name="connsiteX3" fmla="*/ 56638 w 4286774"/>
                <a:gd name="connsiteY3" fmla="*/ 0 h 257442"/>
                <a:gd name="connsiteX0" fmla="*/ 4495827 w 4495827"/>
                <a:gd name="connsiteY0" fmla="*/ 0 h 257442"/>
                <a:gd name="connsiteX1" fmla="*/ 4230136 w 4495827"/>
                <a:gd name="connsiteY1" fmla="*/ 257442 h 257442"/>
                <a:gd name="connsiteX2" fmla="*/ 0 w 4495827"/>
                <a:gd name="connsiteY2" fmla="*/ 257442 h 257442"/>
                <a:gd name="connsiteX3" fmla="*/ 56638 w 4495827"/>
                <a:gd name="connsiteY3" fmla="*/ 0 h 257442"/>
                <a:gd name="connsiteX0" fmla="*/ 4495827 w 4495827"/>
                <a:gd name="connsiteY0" fmla="*/ 0 h 257442"/>
                <a:gd name="connsiteX1" fmla="*/ 4439189 w 4495827"/>
                <a:gd name="connsiteY1" fmla="*/ 257442 h 257442"/>
                <a:gd name="connsiteX2" fmla="*/ 0 w 4495827"/>
                <a:gd name="connsiteY2" fmla="*/ 257442 h 257442"/>
                <a:gd name="connsiteX3" fmla="*/ 56638 w 4495827"/>
                <a:gd name="connsiteY3" fmla="*/ 0 h 257442"/>
                <a:gd name="connsiteX0" fmla="*/ 4495828 w 4495828"/>
                <a:gd name="connsiteY0" fmla="*/ 0 h 257442"/>
                <a:gd name="connsiteX1" fmla="*/ 4439190 w 4495828"/>
                <a:gd name="connsiteY1" fmla="*/ 257442 h 257442"/>
                <a:gd name="connsiteX2" fmla="*/ 0 w 4495828"/>
                <a:gd name="connsiteY2" fmla="*/ 257442 h 257442"/>
                <a:gd name="connsiteX3" fmla="*/ 56639 w 4495828"/>
                <a:gd name="connsiteY3" fmla="*/ 0 h 257442"/>
                <a:gd name="connsiteX0" fmla="*/ 4495828 w 4495828"/>
                <a:gd name="connsiteY0" fmla="*/ 0 h 257442"/>
                <a:gd name="connsiteX1" fmla="*/ 4439190 w 4495828"/>
                <a:gd name="connsiteY1" fmla="*/ 257442 h 257442"/>
                <a:gd name="connsiteX2" fmla="*/ 0 w 4495828"/>
                <a:gd name="connsiteY2" fmla="*/ 257442 h 257442"/>
                <a:gd name="connsiteX3" fmla="*/ 56639 w 4495828"/>
                <a:gd name="connsiteY3" fmla="*/ 0 h 257442"/>
                <a:gd name="connsiteX0" fmla="*/ 4688292 w 4688292"/>
                <a:gd name="connsiteY0" fmla="*/ 0 h 257442"/>
                <a:gd name="connsiteX1" fmla="*/ 4439190 w 4688292"/>
                <a:gd name="connsiteY1" fmla="*/ 257442 h 257442"/>
                <a:gd name="connsiteX2" fmla="*/ 0 w 4688292"/>
                <a:gd name="connsiteY2" fmla="*/ 257442 h 257442"/>
                <a:gd name="connsiteX3" fmla="*/ 56639 w 4688292"/>
                <a:gd name="connsiteY3" fmla="*/ 0 h 257442"/>
                <a:gd name="connsiteX0" fmla="*/ 4688292 w 4688292"/>
                <a:gd name="connsiteY0" fmla="*/ 0 h 257442"/>
                <a:gd name="connsiteX1" fmla="*/ 4631653 w 4688292"/>
                <a:gd name="connsiteY1" fmla="*/ 257442 h 257442"/>
                <a:gd name="connsiteX2" fmla="*/ 0 w 4688292"/>
                <a:gd name="connsiteY2" fmla="*/ 257442 h 257442"/>
                <a:gd name="connsiteX3" fmla="*/ 56639 w 4688292"/>
                <a:gd name="connsiteY3" fmla="*/ 0 h 257442"/>
                <a:gd name="connsiteX0" fmla="*/ 4688292 w 4688292"/>
                <a:gd name="connsiteY0" fmla="*/ 0 h 257442"/>
                <a:gd name="connsiteX1" fmla="*/ 4631653 w 4688292"/>
                <a:gd name="connsiteY1" fmla="*/ 257442 h 257442"/>
                <a:gd name="connsiteX2" fmla="*/ 0 w 4688292"/>
                <a:gd name="connsiteY2" fmla="*/ 257442 h 257442"/>
                <a:gd name="connsiteX3" fmla="*/ 56639 w 4688292"/>
                <a:gd name="connsiteY3" fmla="*/ 0 h 257442"/>
                <a:gd name="connsiteX0" fmla="*/ 4688292 w 4688292"/>
                <a:gd name="connsiteY0" fmla="*/ 0 h 257442"/>
                <a:gd name="connsiteX1" fmla="*/ 4631653 w 4688292"/>
                <a:gd name="connsiteY1" fmla="*/ 257442 h 257442"/>
                <a:gd name="connsiteX2" fmla="*/ 0 w 4688292"/>
                <a:gd name="connsiteY2" fmla="*/ 257442 h 257442"/>
                <a:gd name="connsiteX3" fmla="*/ 56638 w 4688292"/>
                <a:gd name="connsiteY3" fmla="*/ 0 h 257442"/>
                <a:gd name="connsiteX0" fmla="*/ 4862502 w 4862502"/>
                <a:gd name="connsiteY0" fmla="*/ 0 h 257442"/>
                <a:gd name="connsiteX1" fmla="*/ 4631653 w 4862502"/>
                <a:gd name="connsiteY1" fmla="*/ 257442 h 257442"/>
                <a:gd name="connsiteX2" fmla="*/ 0 w 4862502"/>
                <a:gd name="connsiteY2" fmla="*/ 257442 h 257442"/>
                <a:gd name="connsiteX3" fmla="*/ 56638 w 4862502"/>
                <a:gd name="connsiteY3" fmla="*/ 0 h 257442"/>
                <a:gd name="connsiteX0" fmla="*/ 4862502 w 4862502"/>
                <a:gd name="connsiteY0" fmla="*/ 0 h 257442"/>
                <a:gd name="connsiteX1" fmla="*/ 4805865 w 4862502"/>
                <a:gd name="connsiteY1" fmla="*/ 257442 h 257442"/>
                <a:gd name="connsiteX2" fmla="*/ 0 w 4862502"/>
                <a:gd name="connsiteY2" fmla="*/ 257442 h 257442"/>
                <a:gd name="connsiteX3" fmla="*/ 56638 w 4862502"/>
                <a:gd name="connsiteY3" fmla="*/ 0 h 257442"/>
                <a:gd name="connsiteX0" fmla="*/ 4862502 w 4862502"/>
                <a:gd name="connsiteY0" fmla="*/ 0 h 257442"/>
                <a:gd name="connsiteX1" fmla="*/ 4805865 w 4862502"/>
                <a:gd name="connsiteY1" fmla="*/ 257442 h 257442"/>
                <a:gd name="connsiteX2" fmla="*/ 0 w 4862502"/>
                <a:gd name="connsiteY2" fmla="*/ 257442 h 257442"/>
                <a:gd name="connsiteX3" fmla="*/ 56638 w 4862502"/>
                <a:gd name="connsiteY3" fmla="*/ 0 h 257442"/>
                <a:gd name="connsiteX0" fmla="*/ 4862502 w 4862502"/>
                <a:gd name="connsiteY0" fmla="*/ 0 h 257442"/>
                <a:gd name="connsiteX1" fmla="*/ 4805865 w 4862502"/>
                <a:gd name="connsiteY1" fmla="*/ 257442 h 257442"/>
                <a:gd name="connsiteX2" fmla="*/ 0 w 4862502"/>
                <a:gd name="connsiteY2" fmla="*/ 257442 h 257442"/>
                <a:gd name="connsiteX3" fmla="*/ 56638 w 4862502"/>
                <a:gd name="connsiteY3" fmla="*/ 0 h 257442"/>
                <a:gd name="connsiteX0" fmla="*/ 5046670 w 5046670"/>
                <a:gd name="connsiteY0" fmla="*/ 0 h 257442"/>
                <a:gd name="connsiteX1" fmla="*/ 4805865 w 5046670"/>
                <a:gd name="connsiteY1" fmla="*/ 257442 h 257442"/>
                <a:gd name="connsiteX2" fmla="*/ 0 w 5046670"/>
                <a:gd name="connsiteY2" fmla="*/ 257442 h 257442"/>
                <a:gd name="connsiteX3" fmla="*/ 56638 w 5046670"/>
                <a:gd name="connsiteY3" fmla="*/ 0 h 257442"/>
                <a:gd name="connsiteX0" fmla="*/ 5046670 w 5046670"/>
                <a:gd name="connsiteY0" fmla="*/ 0 h 257442"/>
                <a:gd name="connsiteX1" fmla="*/ 4990033 w 5046670"/>
                <a:gd name="connsiteY1" fmla="*/ 257442 h 257442"/>
                <a:gd name="connsiteX2" fmla="*/ 0 w 5046670"/>
                <a:gd name="connsiteY2" fmla="*/ 257442 h 257442"/>
                <a:gd name="connsiteX3" fmla="*/ 56638 w 5046670"/>
                <a:gd name="connsiteY3" fmla="*/ 0 h 257442"/>
                <a:gd name="connsiteX0" fmla="*/ 5046670 w 5046670"/>
                <a:gd name="connsiteY0" fmla="*/ 0 h 257442"/>
                <a:gd name="connsiteX1" fmla="*/ 4990033 w 5046670"/>
                <a:gd name="connsiteY1" fmla="*/ 257442 h 257442"/>
                <a:gd name="connsiteX2" fmla="*/ 0 w 5046670"/>
                <a:gd name="connsiteY2" fmla="*/ 257442 h 257442"/>
                <a:gd name="connsiteX3" fmla="*/ 56638 w 5046670"/>
                <a:gd name="connsiteY3" fmla="*/ 0 h 257442"/>
                <a:gd name="connsiteX0" fmla="*/ 5046670 w 5046670"/>
                <a:gd name="connsiteY0" fmla="*/ 0 h 257442"/>
                <a:gd name="connsiteX1" fmla="*/ 4990033 w 5046670"/>
                <a:gd name="connsiteY1" fmla="*/ 257442 h 257442"/>
                <a:gd name="connsiteX2" fmla="*/ 0 w 5046670"/>
                <a:gd name="connsiteY2" fmla="*/ 257442 h 257442"/>
                <a:gd name="connsiteX3" fmla="*/ 56638 w 5046670"/>
                <a:gd name="connsiteY3" fmla="*/ 0 h 257442"/>
                <a:gd name="connsiteX0" fmla="*/ 4688292 w 4990033"/>
                <a:gd name="connsiteY0" fmla="*/ 0 h 257442"/>
                <a:gd name="connsiteX1" fmla="*/ 4990033 w 4990033"/>
                <a:gd name="connsiteY1" fmla="*/ 257442 h 257442"/>
                <a:gd name="connsiteX2" fmla="*/ 0 w 4990033"/>
                <a:gd name="connsiteY2" fmla="*/ 257442 h 257442"/>
                <a:gd name="connsiteX3" fmla="*/ 56638 w 4990033"/>
                <a:gd name="connsiteY3" fmla="*/ 0 h 257442"/>
                <a:gd name="connsiteX0" fmla="*/ 4688292 w 4688292"/>
                <a:gd name="connsiteY0" fmla="*/ 0 h 257442"/>
                <a:gd name="connsiteX1" fmla="*/ 4631653 w 4688292"/>
                <a:gd name="connsiteY1" fmla="*/ 257442 h 257442"/>
                <a:gd name="connsiteX2" fmla="*/ 0 w 4688292"/>
                <a:gd name="connsiteY2" fmla="*/ 257442 h 257442"/>
                <a:gd name="connsiteX3" fmla="*/ 56638 w 4688292"/>
                <a:gd name="connsiteY3" fmla="*/ 0 h 257442"/>
                <a:gd name="connsiteX0" fmla="*/ 4688292 w 4688292"/>
                <a:gd name="connsiteY0" fmla="*/ 0 h 257442"/>
                <a:gd name="connsiteX1" fmla="*/ 4631653 w 4688292"/>
                <a:gd name="connsiteY1" fmla="*/ 257442 h 257442"/>
                <a:gd name="connsiteX2" fmla="*/ 0 w 4688292"/>
                <a:gd name="connsiteY2" fmla="*/ 257442 h 257442"/>
                <a:gd name="connsiteX3" fmla="*/ 56638 w 4688292"/>
                <a:gd name="connsiteY3" fmla="*/ 0 h 257442"/>
                <a:gd name="connsiteX0" fmla="*/ 4688292 w 4688292"/>
                <a:gd name="connsiteY0" fmla="*/ 0 h 257442"/>
                <a:gd name="connsiteX1" fmla="*/ 4631653 w 4688292"/>
                <a:gd name="connsiteY1" fmla="*/ 257442 h 257442"/>
                <a:gd name="connsiteX2" fmla="*/ 0 w 4688292"/>
                <a:gd name="connsiteY2" fmla="*/ 257442 h 257442"/>
                <a:gd name="connsiteX3" fmla="*/ 56638 w 4688292"/>
                <a:gd name="connsiteY3" fmla="*/ 0 h 257442"/>
                <a:gd name="connsiteX0" fmla="*/ 4872458 w 4872458"/>
                <a:gd name="connsiteY0" fmla="*/ 0 h 257442"/>
                <a:gd name="connsiteX1" fmla="*/ 4631653 w 4872458"/>
                <a:gd name="connsiteY1" fmla="*/ 257442 h 257442"/>
                <a:gd name="connsiteX2" fmla="*/ 0 w 4872458"/>
                <a:gd name="connsiteY2" fmla="*/ 257442 h 257442"/>
                <a:gd name="connsiteX3" fmla="*/ 56638 w 4872458"/>
                <a:gd name="connsiteY3" fmla="*/ 0 h 257442"/>
                <a:gd name="connsiteX0" fmla="*/ 4872458 w 4872458"/>
                <a:gd name="connsiteY0" fmla="*/ 0 h 257442"/>
                <a:gd name="connsiteX1" fmla="*/ 4815821 w 4872458"/>
                <a:gd name="connsiteY1" fmla="*/ 257442 h 257442"/>
                <a:gd name="connsiteX2" fmla="*/ 0 w 4872458"/>
                <a:gd name="connsiteY2" fmla="*/ 257442 h 257442"/>
                <a:gd name="connsiteX3" fmla="*/ 56638 w 4872458"/>
                <a:gd name="connsiteY3" fmla="*/ 0 h 257442"/>
                <a:gd name="connsiteX0" fmla="*/ 4872458 w 4872458"/>
                <a:gd name="connsiteY0" fmla="*/ 0 h 257442"/>
                <a:gd name="connsiteX1" fmla="*/ 4815821 w 4872458"/>
                <a:gd name="connsiteY1" fmla="*/ 257442 h 257442"/>
                <a:gd name="connsiteX2" fmla="*/ 0 w 4872458"/>
                <a:gd name="connsiteY2" fmla="*/ 257442 h 257442"/>
                <a:gd name="connsiteX3" fmla="*/ 56638 w 4872458"/>
                <a:gd name="connsiteY3" fmla="*/ 0 h 257442"/>
                <a:gd name="connsiteX0" fmla="*/ 4872458 w 4872458"/>
                <a:gd name="connsiteY0" fmla="*/ 0 h 257442"/>
                <a:gd name="connsiteX1" fmla="*/ 4815821 w 4872458"/>
                <a:gd name="connsiteY1" fmla="*/ 257442 h 257442"/>
                <a:gd name="connsiteX2" fmla="*/ 0 w 4872458"/>
                <a:gd name="connsiteY2" fmla="*/ 257442 h 257442"/>
                <a:gd name="connsiteX3" fmla="*/ 56638 w 4872458"/>
                <a:gd name="connsiteY3" fmla="*/ 0 h 257442"/>
                <a:gd name="connsiteX0" fmla="*/ 5046671 w 5046671"/>
                <a:gd name="connsiteY0" fmla="*/ 0 h 257442"/>
                <a:gd name="connsiteX1" fmla="*/ 4815821 w 5046671"/>
                <a:gd name="connsiteY1" fmla="*/ 257442 h 257442"/>
                <a:gd name="connsiteX2" fmla="*/ 0 w 5046671"/>
                <a:gd name="connsiteY2" fmla="*/ 257442 h 257442"/>
                <a:gd name="connsiteX3" fmla="*/ 56638 w 5046671"/>
                <a:gd name="connsiteY3" fmla="*/ 0 h 257442"/>
                <a:gd name="connsiteX0" fmla="*/ 5046671 w 5046671"/>
                <a:gd name="connsiteY0" fmla="*/ 0 h 257442"/>
                <a:gd name="connsiteX1" fmla="*/ 4990034 w 5046671"/>
                <a:gd name="connsiteY1" fmla="*/ 257442 h 257442"/>
                <a:gd name="connsiteX2" fmla="*/ 0 w 5046671"/>
                <a:gd name="connsiteY2" fmla="*/ 257442 h 257442"/>
                <a:gd name="connsiteX3" fmla="*/ 56638 w 5046671"/>
                <a:gd name="connsiteY3" fmla="*/ 0 h 257442"/>
                <a:gd name="connsiteX0" fmla="*/ 5046671 w 5046671"/>
                <a:gd name="connsiteY0" fmla="*/ 0 h 257442"/>
                <a:gd name="connsiteX1" fmla="*/ 4990034 w 5046671"/>
                <a:gd name="connsiteY1" fmla="*/ 257442 h 257442"/>
                <a:gd name="connsiteX2" fmla="*/ 0 w 5046671"/>
                <a:gd name="connsiteY2" fmla="*/ 257442 h 257442"/>
                <a:gd name="connsiteX3" fmla="*/ 56638 w 5046671"/>
                <a:gd name="connsiteY3" fmla="*/ 0 h 257442"/>
                <a:gd name="connsiteX0" fmla="*/ 5046671 w 5046671"/>
                <a:gd name="connsiteY0" fmla="*/ 0 h 257442"/>
                <a:gd name="connsiteX1" fmla="*/ 4990034 w 5046671"/>
                <a:gd name="connsiteY1" fmla="*/ 257442 h 257442"/>
                <a:gd name="connsiteX2" fmla="*/ 0 w 5046671"/>
                <a:gd name="connsiteY2" fmla="*/ 257442 h 257442"/>
                <a:gd name="connsiteX3" fmla="*/ 56638 w 5046671"/>
                <a:gd name="connsiteY3" fmla="*/ 0 h 257442"/>
                <a:gd name="connsiteX0" fmla="*/ 5308819 w 5308819"/>
                <a:gd name="connsiteY0" fmla="*/ 0 h 257442"/>
                <a:gd name="connsiteX1" fmla="*/ 4990034 w 5308819"/>
                <a:gd name="connsiteY1" fmla="*/ 257442 h 257442"/>
                <a:gd name="connsiteX2" fmla="*/ 0 w 5308819"/>
                <a:gd name="connsiteY2" fmla="*/ 257442 h 257442"/>
                <a:gd name="connsiteX3" fmla="*/ 56638 w 5308819"/>
                <a:gd name="connsiteY3" fmla="*/ 0 h 257442"/>
                <a:gd name="connsiteX0" fmla="*/ 5308819 w 5308819"/>
                <a:gd name="connsiteY0" fmla="*/ 0 h 257442"/>
                <a:gd name="connsiteX1" fmla="*/ 5252180 w 5308819"/>
                <a:gd name="connsiteY1" fmla="*/ 257442 h 257442"/>
                <a:gd name="connsiteX2" fmla="*/ 0 w 5308819"/>
                <a:gd name="connsiteY2" fmla="*/ 257442 h 257442"/>
                <a:gd name="connsiteX3" fmla="*/ 56638 w 5308819"/>
                <a:gd name="connsiteY3" fmla="*/ 0 h 257442"/>
                <a:gd name="connsiteX0" fmla="*/ 5308820 w 5308820"/>
                <a:gd name="connsiteY0" fmla="*/ 0 h 257442"/>
                <a:gd name="connsiteX1" fmla="*/ 5252181 w 5308820"/>
                <a:gd name="connsiteY1" fmla="*/ 257442 h 257442"/>
                <a:gd name="connsiteX2" fmla="*/ 0 w 5308820"/>
                <a:gd name="connsiteY2" fmla="*/ 257442 h 257442"/>
                <a:gd name="connsiteX3" fmla="*/ 56639 w 5308820"/>
                <a:gd name="connsiteY3" fmla="*/ 0 h 257442"/>
                <a:gd name="connsiteX0" fmla="*/ 5308820 w 5308820"/>
                <a:gd name="connsiteY0" fmla="*/ 0 h 257442"/>
                <a:gd name="connsiteX1" fmla="*/ 5252181 w 5308820"/>
                <a:gd name="connsiteY1" fmla="*/ 257442 h 257442"/>
                <a:gd name="connsiteX2" fmla="*/ 0 w 5308820"/>
                <a:gd name="connsiteY2" fmla="*/ 257442 h 257442"/>
                <a:gd name="connsiteX3" fmla="*/ 56639 w 5308820"/>
                <a:gd name="connsiteY3" fmla="*/ 0 h 257442"/>
                <a:gd name="connsiteX0" fmla="*/ 5474737 w 5474737"/>
                <a:gd name="connsiteY0" fmla="*/ 0 h 257442"/>
                <a:gd name="connsiteX1" fmla="*/ 5252181 w 5474737"/>
                <a:gd name="connsiteY1" fmla="*/ 257442 h 257442"/>
                <a:gd name="connsiteX2" fmla="*/ 0 w 5474737"/>
                <a:gd name="connsiteY2" fmla="*/ 257442 h 257442"/>
                <a:gd name="connsiteX3" fmla="*/ 56639 w 5474737"/>
                <a:gd name="connsiteY3" fmla="*/ 0 h 257442"/>
                <a:gd name="connsiteX0" fmla="*/ 5474737 w 5474737"/>
                <a:gd name="connsiteY0" fmla="*/ 0 h 257442"/>
                <a:gd name="connsiteX1" fmla="*/ 5418098 w 5474737"/>
                <a:gd name="connsiteY1" fmla="*/ 257442 h 257442"/>
                <a:gd name="connsiteX2" fmla="*/ 0 w 5474737"/>
                <a:gd name="connsiteY2" fmla="*/ 257442 h 257442"/>
                <a:gd name="connsiteX3" fmla="*/ 56639 w 5474737"/>
                <a:gd name="connsiteY3" fmla="*/ 0 h 257442"/>
                <a:gd name="connsiteX0" fmla="*/ 5474737 w 5474737"/>
                <a:gd name="connsiteY0" fmla="*/ 0 h 257442"/>
                <a:gd name="connsiteX1" fmla="*/ 5418098 w 5474737"/>
                <a:gd name="connsiteY1" fmla="*/ 257442 h 257442"/>
                <a:gd name="connsiteX2" fmla="*/ 0 w 5474737"/>
                <a:gd name="connsiteY2" fmla="*/ 257442 h 257442"/>
                <a:gd name="connsiteX3" fmla="*/ 56639 w 5474737"/>
                <a:gd name="connsiteY3" fmla="*/ 0 h 257442"/>
                <a:gd name="connsiteX0" fmla="*/ 5474737 w 5474737"/>
                <a:gd name="connsiteY0" fmla="*/ 0 h 257442"/>
                <a:gd name="connsiteX1" fmla="*/ 5418098 w 5474737"/>
                <a:gd name="connsiteY1" fmla="*/ 257442 h 257442"/>
                <a:gd name="connsiteX2" fmla="*/ 0 w 5474737"/>
                <a:gd name="connsiteY2" fmla="*/ 257442 h 257442"/>
                <a:gd name="connsiteX3" fmla="*/ 56638 w 5474737"/>
                <a:gd name="connsiteY3" fmla="*/ 0 h 257442"/>
                <a:gd name="connsiteX0" fmla="*/ 994067 w 5418098"/>
                <a:gd name="connsiteY0" fmla="*/ 0 h 257442"/>
                <a:gd name="connsiteX1" fmla="*/ 5418098 w 5418098"/>
                <a:gd name="connsiteY1" fmla="*/ 257442 h 257442"/>
                <a:gd name="connsiteX2" fmla="*/ 0 w 5418098"/>
                <a:gd name="connsiteY2" fmla="*/ 257442 h 257442"/>
                <a:gd name="connsiteX3" fmla="*/ 56638 w 5418098"/>
                <a:gd name="connsiteY3" fmla="*/ 0 h 257442"/>
                <a:gd name="connsiteX0" fmla="*/ 994067 w 994067"/>
                <a:gd name="connsiteY0" fmla="*/ 0 h 257442"/>
                <a:gd name="connsiteX1" fmla="*/ 937428 w 994067"/>
                <a:gd name="connsiteY1" fmla="*/ 257442 h 257442"/>
                <a:gd name="connsiteX2" fmla="*/ 0 w 994067"/>
                <a:gd name="connsiteY2" fmla="*/ 257442 h 257442"/>
                <a:gd name="connsiteX3" fmla="*/ 56638 w 994067"/>
                <a:gd name="connsiteY3" fmla="*/ 0 h 257442"/>
                <a:gd name="connsiteX0" fmla="*/ 994066 w 994066"/>
                <a:gd name="connsiteY0" fmla="*/ 0 h 257442"/>
                <a:gd name="connsiteX1" fmla="*/ 937427 w 994066"/>
                <a:gd name="connsiteY1" fmla="*/ 257442 h 257442"/>
                <a:gd name="connsiteX2" fmla="*/ 0 w 994066"/>
                <a:gd name="connsiteY2" fmla="*/ 257442 h 257442"/>
                <a:gd name="connsiteX3" fmla="*/ 56637 w 994066"/>
                <a:gd name="connsiteY3" fmla="*/ 0 h 257442"/>
                <a:gd name="connsiteX0" fmla="*/ 994066 w 994066"/>
                <a:gd name="connsiteY0" fmla="*/ 0 h 257442"/>
                <a:gd name="connsiteX1" fmla="*/ 937427 w 994066"/>
                <a:gd name="connsiteY1" fmla="*/ 257442 h 257442"/>
                <a:gd name="connsiteX2" fmla="*/ 0 w 994066"/>
                <a:gd name="connsiteY2" fmla="*/ 257442 h 257442"/>
                <a:gd name="connsiteX3" fmla="*/ 56637 w 994066"/>
                <a:gd name="connsiteY3" fmla="*/ 0 h 257442"/>
                <a:gd name="connsiteX0" fmla="*/ 1168278 w 1168278"/>
                <a:gd name="connsiteY0" fmla="*/ 0 h 257442"/>
                <a:gd name="connsiteX1" fmla="*/ 937427 w 1168278"/>
                <a:gd name="connsiteY1" fmla="*/ 257442 h 257442"/>
                <a:gd name="connsiteX2" fmla="*/ 0 w 1168278"/>
                <a:gd name="connsiteY2" fmla="*/ 257442 h 257442"/>
                <a:gd name="connsiteX3" fmla="*/ 56637 w 1168278"/>
                <a:gd name="connsiteY3" fmla="*/ 0 h 257442"/>
                <a:gd name="connsiteX0" fmla="*/ 1168278 w 1168278"/>
                <a:gd name="connsiteY0" fmla="*/ 0 h 257442"/>
                <a:gd name="connsiteX1" fmla="*/ 1111640 w 1168278"/>
                <a:gd name="connsiteY1" fmla="*/ 257442 h 257442"/>
                <a:gd name="connsiteX2" fmla="*/ 0 w 1168278"/>
                <a:gd name="connsiteY2" fmla="*/ 257442 h 257442"/>
                <a:gd name="connsiteX3" fmla="*/ 56637 w 1168278"/>
                <a:gd name="connsiteY3" fmla="*/ 0 h 257442"/>
                <a:gd name="connsiteX0" fmla="*/ 1168279 w 1168279"/>
                <a:gd name="connsiteY0" fmla="*/ 0 h 257442"/>
                <a:gd name="connsiteX1" fmla="*/ 1111641 w 1168279"/>
                <a:gd name="connsiteY1" fmla="*/ 257442 h 257442"/>
                <a:gd name="connsiteX2" fmla="*/ 0 w 1168279"/>
                <a:gd name="connsiteY2" fmla="*/ 257442 h 257442"/>
                <a:gd name="connsiteX3" fmla="*/ 56638 w 1168279"/>
                <a:gd name="connsiteY3" fmla="*/ 0 h 257442"/>
                <a:gd name="connsiteX0" fmla="*/ 1168279 w 1168279"/>
                <a:gd name="connsiteY0" fmla="*/ 0 h 257442"/>
                <a:gd name="connsiteX1" fmla="*/ 1111641 w 1168279"/>
                <a:gd name="connsiteY1" fmla="*/ 257442 h 257442"/>
                <a:gd name="connsiteX2" fmla="*/ 0 w 1168279"/>
                <a:gd name="connsiteY2" fmla="*/ 257442 h 257442"/>
                <a:gd name="connsiteX3" fmla="*/ 56638 w 1168279"/>
                <a:gd name="connsiteY3" fmla="*/ 0 h 257442"/>
                <a:gd name="connsiteX0" fmla="*/ 1334195 w 1334195"/>
                <a:gd name="connsiteY0" fmla="*/ 0 h 257442"/>
                <a:gd name="connsiteX1" fmla="*/ 1111641 w 1334195"/>
                <a:gd name="connsiteY1" fmla="*/ 257442 h 257442"/>
                <a:gd name="connsiteX2" fmla="*/ 0 w 1334195"/>
                <a:gd name="connsiteY2" fmla="*/ 257442 h 257442"/>
                <a:gd name="connsiteX3" fmla="*/ 56638 w 1334195"/>
                <a:gd name="connsiteY3" fmla="*/ 0 h 257442"/>
                <a:gd name="connsiteX0" fmla="*/ 1334195 w 1334195"/>
                <a:gd name="connsiteY0" fmla="*/ 0 h 257442"/>
                <a:gd name="connsiteX1" fmla="*/ 1277557 w 1334195"/>
                <a:gd name="connsiteY1" fmla="*/ 257442 h 257442"/>
                <a:gd name="connsiteX2" fmla="*/ 0 w 1334195"/>
                <a:gd name="connsiteY2" fmla="*/ 257442 h 257442"/>
                <a:gd name="connsiteX3" fmla="*/ 56638 w 1334195"/>
                <a:gd name="connsiteY3" fmla="*/ 0 h 257442"/>
                <a:gd name="connsiteX0" fmla="*/ 1334195 w 1334195"/>
                <a:gd name="connsiteY0" fmla="*/ 0 h 257442"/>
                <a:gd name="connsiteX1" fmla="*/ 1277557 w 1334195"/>
                <a:gd name="connsiteY1" fmla="*/ 257442 h 257442"/>
                <a:gd name="connsiteX2" fmla="*/ 0 w 1334195"/>
                <a:gd name="connsiteY2" fmla="*/ 257442 h 257442"/>
                <a:gd name="connsiteX3" fmla="*/ 56638 w 1334195"/>
                <a:gd name="connsiteY3" fmla="*/ 0 h 257442"/>
                <a:gd name="connsiteX0" fmla="*/ 1334195 w 1334195"/>
                <a:gd name="connsiteY0" fmla="*/ 0 h 257442"/>
                <a:gd name="connsiteX1" fmla="*/ 1277557 w 1334195"/>
                <a:gd name="connsiteY1" fmla="*/ 257442 h 257442"/>
                <a:gd name="connsiteX2" fmla="*/ 0 w 1334195"/>
                <a:gd name="connsiteY2" fmla="*/ 257442 h 257442"/>
                <a:gd name="connsiteX3" fmla="*/ 56638 w 1334195"/>
                <a:gd name="connsiteY3" fmla="*/ 0 h 257442"/>
                <a:gd name="connsiteX0" fmla="*/ 1518363 w 1518363"/>
                <a:gd name="connsiteY0" fmla="*/ 0 h 257442"/>
                <a:gd name="connsiteX1" fmla="*/ 1277557 w 1518363"/>
                <a:gd name="connsiteY1" fmla="*/ 257442 h 257442"/>
                <a:gd name="connsiteX2" fmla="*/ 0 w 1518363"/>
                <a:gd name="connsiteY2" fmla="*/ 257442 h 257442"/>
                <a:gd name="connsiteX3" fmla="*/ 56638 w 1518363"/>
                <a:gd name="connsiteY3" fmla="*/ 0 h 257442"/>
                <a:gd name="connsiteX0" fmla="*/ 1518363 w 1518363"/>
                <a:gd name="connsiteY0" fmla="*/ 0 h 257442"/>
                <a:gd name="connsiteX1" fmla="*/ 1461725 w 1518363"/>
                <a:gd name="connsiteY1" fmla="*/ 257442 h 257442"/>
                <a:gd name="connsiteX2" fmla="*/ 0 w 1518363"/>
                <a:gd name="connsiteY2" fmla="*/ 257442 h 257442"/>
                <a:gd name="connsiteX3" fmla="*/ 56638 w 1518363"/>
                <a:gd name="connsiteY3" fmla="*/ 0 h 257442"/>
                <a:gd name="connsiteX0" fmla="*/ 1518363 w 1518363"/>
                <a:gd name="connsiteY0" fmla="*/ 0 h 257442"/>
                <a:gd name="connsiteX1" fmla="*/ 1461725 w 1518363"/>
                <a:gd name="connsiteY1" fmla="*/ 257442 h 257442"/>
                <a:gd name="connsiteX2" fmla="*/ 0 w 1518363"/>
                <a:gd name="connsiteY2" fmla="*/ 257442 h 257442"/>
                <a:gd name="connsiteX3" fmla="*/ 56638 w 1518363"/>
                <a:gd name="connsiteY3" fmla="*/ 0 h 257442"/>
                <a:gd name="connsiteX0" fmla="*/ 1518363 w 1518363"/>
                <a:gd name="connsiteY0" fmla="*/ 0 h 257442"/>
                <a:gd name="connsiteX1" fmla="*/ 1461725 w 1518363"/>
                <a:gd name="connsiteY1" fmla="*/ 257442 h 257442"/>
                <a:gd name="connsiteX2" fmla="*/ 0 w 1518363"/>
                <a:gd name="connsiteY2" fmla="*/ 257442 h 257442"/>
                <a:gd name="connsiteX3" fmla="*/ 56638 w 1518363"/>
                <a:gd name="connsiteY3" fmla="*/ 0 h 257442"/>
                <a:gd name="connsiteX0" fmla="*/ 1334195 w 1461725"/>
                <a:gd name="connsiteY0" fmla="*/ 0 h 257442"/>
                <a:gd name="connsiteX1" fmla="*/ 1461725 w 1461725"/>
                <a:gd name="connsiteY1" fmla="*/ 257442 h 257442"/>
                <a:gd name="connsiteX2" fmla="*/ 0 w 1461725"/>
                <a:gd name="connsiteY2" fmla="*/ 257442 h 257442"/>
                <a:gd name="connsiteX3" fmla="*/ 56638 w 1461725"/>
                <a:gd name="connsiteY3" fmla="*/ 0 h 257442"/>
                <a:gd name="connsiteX0" fmla="*/ 1334195 w 1334195"/>
                <a:gd name="connsiteY0" fmla="*/ 0 h 257442"/>
                <a:gd name="connsiteX1" fmla="*/ 1277558 w 1334195"/>
                <a:gd name="connsiteY1" fmla="*/ 257442 h 257442"/>
                <a:gd name="connsiteX2" fmla="*/ 0 w 1334195"/>
                <a:gd name="connsiteY2" fmla="*/ 257442 h 257442"/>
                <a:gd name="connsiteX3" fmla="*/ 56638 w 1334195"/>
                <a:gd name="connsiteY3" fmla="*/ 0 h 257442"/>
                <a:gd name="connsiteX0" fmla="*/ 1334194 w 1334194"/>
                <a:gd name="connsiteY0" fmla="*/ 0 h 257442"/>
                <a:gd name="connsiteX1" fmla="*/ 1277557 w 1334194"/>
                <a:gd name="connsiteY1" fmla="*/ 257442 h 257442"/>
                <a:gd name="connsiteX2" fmla="*/ 0 w 1334194"/>
                <a:gd name="connsiteY2" fmla="*/ 257442 h 257442"/>
                <a:gd name="connsiteX3" fmla="*/ 56637 w 1334194"/>
                <a:gd name="connsiteY3" fmla="*/ 0 h 257442"/>
                <a:gd name="connsiteX0" fmla="*/ 1334194 w 1334194"/>
                <a:gd name="connsiteY0" fmla="*/ 0 h 257442"/>
                <a:gd name="connsiteX1" fmla="*/ 1277557 w 1334194"/>
                <a:gd name="connsiteY1" fmla="*/ 257442 h 257442"/>
                <a:gd name="connsiteX2" fmla="*/ 0 w 1334194"/>
                <a:gd name="connsiteY2" fmla="*/ 257442 h 257442"/>
                <a:gd name="connsiteX3" fmla="*/ 56638 w 1334194"/>
                <a:gd name="connsiteY3" fmla="*/ 0 h 257442"/>
                <a:gd name="connsiteX0" fmla="*/ 1168279 w 1277557"/>
                <a:gd name="connsiteY0" fmla="*/ 0 h 257442"/>
                <a:gd name="connsiteX1" fmla="*/ 1277557 w 1277557"/>
                <a:gd name="connsiteY1" fmla="*/ 257442 h 257442"/>
                <a:gd name="connsiteX2" fmla="*/ 0 w 1277557"/>
                <a:gd name="connsiteY2" fmla="*/ 257442 h 257442"/>
                <a:gd name="connsiteX3" fmla="*/ 56638 w 1277557"/>
                <a:gd name="connsiteY3" fmla="*/ 0 h 257442"/>
                <a:gd name="connsiteX0" fmla="*/ 1168279 w 1168279"/>
                <a:gd name="connsiteY0" fmla="*/ 0 h 257442"/>
                <a:gd name="connsiteX1" fmla="*/ 1111641 w 1168279"/>
                <a:gd name="connsiteY1" fmla="*/ 257442 h 257442"/>
                <a:gd name="connsiteX2" fmla="*/ 0 w 1168279"/>
                <a:gd name="connsiteY2" fmla="*/ 257442 h 257442"/>
                <a:gd name="connsiteX3" fmla="*/ 56638 w 1168279"/>
                <a:gd name="connsiteY3" fmla="*/ 0 h 257442"/>
                <a:gd name="connsiteX0" fmla="*/ 1168279 w 1168279"/>
                <a:gd name="connsiteY0" fmla="*/ 0 h 257442"/>
                <a:gd name="connsiteX1" fmla="*/ 1111641 w 1168279"/>
                <a:gd name="connsiteY1" fmla="*/ 257442 h 257442"/>
                <a:gd name="connsiteX2" fmla="*/ 0 w 1168279"/>
                <a:gd name="connsiteY2" fmla="*/ 257442 h 257442"/>
                <a:gd name="connsiteX3" fmla="*/ 56638 w 1168279"/>
                <a:gd name="connsiteY3" fmla="*/ 0 h 257442"/>
                <a:gd name="connsiteX0" fmla="*/ 1168279 w 1168279"/>
                <a:gd name="connsiteY0" fmla="*/ 0 h 257442"/>
                <a:gd name="connsiteX1" fmla="*/ 1111641 w 1168279"/>
                <a:gd name="connsiteY1" fmla="*/ 257442 h 257442"/>
                <a:gd name="connsiteX2" fmla="*/ 0 w 1168279"/>
                <a:gd name="connsiteY2" fmla="*/ 257442 h 257442"/>
                <a:gd name="connsiteX3" fmla="*/ 56638 w 1168279"/>
                <a:gd name="connsiteY3" fmla="*/ 0 h 257442"/>
                <a:gd name="connsiteX0" fmla="*/ 994067 w 1111641"/>
                <a:gd name="connsiteY0" fmla="*/ 0 h 257442"/>
                <a:gd name="connsiteX1" fmla="*/ 1111641 w 1111641"/>
                <a:gd name="connsiteY1" fmla="*/ 257442 h 257442"/>
                <a:gd name="connsiteX2" fmla="*/ 0 w 1111641"/>
                <a:gd name="connsiteY2" fmla="*/ 257442 h 257442"/>
                <a:gd name="connsiteX3" fmla="*/ 56638 w 1111641"/>
                <a:gd name="connsiteY3" fmla="*/ 0 h 257442"/>
                <a:gd name="connsiteX0" fmla="*/ 994067 w 994067"/>
                <a:gd name="connsiteY0" fmla="*/ 0 h 257442"/>
                <a:gd name="connsiteX1" fmla="*/ 937430 w 994067"/>
                <a:gd name="connsiteY1" fmla="*/ 257442 h 257442"/>
                <a:gd name="connsiteX2" fmla="*/ 0 w 994067"/>
                <a:gd name="connsiteY2" fmla="*/ 257442 h 257442"/>
                <a:gd name="connsiteX3" fmla="*/ 56638 w 994067"/>
                <a:gd name="connsiteY3" fmla="*/ 0 h 257442"/>
                <a:gd name="connsiteX0" fmla="*/ 994066 w 994066"/>
                <a:gd name="connsiteY0" fmla="*/ 0 h 257442"/>
                <a:gd name="connsiteX1" fmla="*/ 937429 w 994066"/>
                <a:gd name="connsiteY1" fmla="*/ 257442 h 257442"/>
                <a:gd name="connsiteX2" fmla="*/ 0 w 994066"/>
                <a:gd name="connsiteY2" fmla="*/ 257442 h 257442"/>
                <a:gd name="connsiteX3" fmla="*/ 56637 w 994066"/>
                <a:gd name="connsiteY3" fmla="*/ 0 h 257442"/>
                <a:gd name="connsiteX0" fmla="*/ 994066 w 994066"/>
                <a:gd name="connsiteY0" fmla="*/ 0 h 257442"/>
                <a:gd name="connsiteX1" fmla="*/ 937429 w 994066"/>
                <a:gd name="connsiteY1" fmla="*/ 257442 h 257442"/>
                <a:gd name="connsiteX2" fmla="*/ 0 w 994066"/>
                <a:gd name="connsiteY2" fmla="*/ 257442 h 257442"/>
                <a:gd name="connsiteX3" fmla="*/ 56637 w 994066"/>
                <a:gd name="connsiteY3" fmla="*/ 0 h 257442"/>
                <a:gd name="connsiteX0" fmla="*/ 1168278 w 1168278"/>
                <a:gd name="connsiteY0" fmla="*/ 0 h 257442"/>
                <a:gd name="connsiteX1" fmla="*/ 937429 w 1168278"/>
                <a:gd name="connsiteY1" fmla="*/ 257442 h 257442"/>
                <a:gd name="connsiteX2" fmla="*/ 0 w 1168278"/>
                <a:gd name="connsiteY2" fmla="*/ 257442 h 257442"/>
                <a:gd name="connsiteX3" fmla="*/ 56637 w 1168278"/>
                <a:gd name="connsiteY3" fmla="*/ 0 h 257442"/>
                <a:gd name="connsiteX0" fmla="*/ 1168278 w 1168278"/>
                <a:gd name="connsiteY0" fmla="*/ 0 h 257442"/>
                <a:gd name="connsiteX1" fmla="*/ 1111640 w 1168278"/>
                <a:gd name="connsiteY1" fmla="*/ 257442 h 257442"/>
                <a:gd name="connsiteX2" fmla="*/ 0 w 1168278"/>
                <a:gd name="connsiteY2" fmla="*/ 257442 h 257442"/>
                <a:gd name="connsiteX3" fmla="*/ 56637 w 1168278"/>
                <a:gd name="connsiteY3" fmla="*/ 0 h 257442"/>
                <a:gd name="connsiteX0" fmla="*/ 1168279 w 1168279"/>
                <a:gd name="connsiteY0" fmla="*/ 0 h 257442"/>
                <a:gd name="connsiteX1" fmla="*/ 1111641 w 1168279"/>
                <a:gd name="connsiteY1" fmla="*/ 257442 h 257442"/>
                <a:gd name="connsiteX2" fmla="*/ 0 w 1168279"/>
                <a:gd name="connsiteY2" fmla="*/ 257442 h 257442"/>
                <a:gd name="connsiteX3" fmla="*/ 56638 w 1168279"/>
                <a:gd name="connsiteY3" fmla="*/ 0 h 257442"/>
                <a:gd name="connsiteX0" fmla="*/ 1168279 w 1168279"/>
                <a:gd name="connsiteY0" fmla="*/ 0 h 257442"/>
                <a:gd name="connsiteX1" fmla="*/ 1111641 w 1168279"/>
                <a:gd name="connsiteY1" fmla="*/ 257442 h 257442"/>
                <a:gd name="connsiteX2" fmla="*/ 0 w 1168279"/>
                <a:gd name="connsiteY2" fmla="*/ 257442 h 257442"/>
                <a:gd name="connsiteX3" fmla="*/ 56638 w 1168279"/>
                <a:gd name="connsiteY3" fmla="*/ 0 h 257442"/>
                <a:gd name="connsiteX0" fmla="*/ 1352447 w 1352447"/>
                <a:gd name="connsiteY0" fmla="*/ 0 h 257442"/>
                <a:gd name="connsiteX1" fmla="*/ 1111641 w 1352447"/>
                <a:gd name="connsiteY1" fmla="*/ 257442 h 257442"/>
                <a:gd name="connsiteX2" fmla="*/ 0 w 1352447"/>
                <a:gd name="connsiteY2" fmla="*/ 257442 h 257442"/>
                <a:gd name="connsiteX3" fmla="*/ 56638 w 1352447"/>
                <a:gd name="connsiteY3" fmla="*/ 0 h 257442"/>
                <a:gd name="connsiteX0" fmla="*/ 1352447 w 1352447"/>
                <a:gd name="connsiteY0" fmla="*/ 0 h 257442"/>
                <a:gd name="connsiteX1" fmla="*/ 1295809 w 1352447"/>
                <a:gd name="connsiteY1" fmla="*/ 257442 h 257442"/>
                <a:gd name="connsiteX2" fmla="*/ 0 w 1352447"/>
                <a:gd name="connsiteY2" fmla="*/ 257442 h 257442"/>
                <a:gd name="connsiteX3" fmla="*/ 56638 w 1352447"/>
                <a:gd name="connsiteY3" fmla="*/ 0 h 257442"/>
                <a:gd name="connsiteX0" fmla="*/ 1352447 w 1352447"/>
                <a:gd name="connsiteY0" fmla="*/ 0 h 257442"/>
                <a:gd name="connsiteX1" fmla="*/ 1295809 w 1352447"/>
                <a:gd name="connsiteY1" fmla="*/ 257442 h 257442"/>
                <a:gd name="connsiteX2" fmla="*/ 0 w 1352447"/>
                <a:gd name="connsiteY2" fmla="*/ 257442 h 257442"/>
                <a:gd name="connsiteX3" fmla="*/ 56638 w 1352447"/>
                <a:gd name="connsiteY3" fmla="*/ 0 h 257442"/>
                <a:gd name="connsiteX0" fmla="*/ 1352447 w 1352447"/>
                <a:gd name="connsiteY0" fmla="*/ 0 h 257442"/>
                <a:gd name="connsiteX1" fmla="*/ 1295809 w 1352447"/>
                <a:gd name="connsiteY1" fmla="*/ 257442 h 257442"/>
                <a:gd name="connsiteX2" fmla="*/ 0 w 1352447"/>
                <a:gd name="connsiteY2" fmla="*/ 257442 h 257442"/>
                <a:gd name="connsiteX3" fmla="*/ 56638 w 1352447"/>
                <a:gd name="connsiteY3" fmla="*/ 0 h 257442"/>
                <a:gd name="connsiteX0" fmla="*/ 1526659 w 1526659"/>
                <a:gd name="connsiteY0" fmla="*/ 0 h 257442"/>
                <a:gd name="connsiteX1" fmla="*/ 1295809 w 1526659"/>
                <a:gd name="connsiteY1" fmla="*/ 257442 h 257442"/>
                <a:gd name="connsiteX2" fmla="*/ 0 w 1526659"/>
                <a:gd name="connsiteY2" fmla="*/ 257442 h 257442"/>
                <a:gd name="connsiteX3" fmla="*/ 56638 w 1526659"/>
                <a:gd name="connsiteY3" fmla="*/ 0 h 257442"/>
                <a:gd name="connsiteX0" fmla="*/ 1526659 w 1526659"/>
                <a:gd name="connsiteY0" fmla="*/ 0 h 257442"/>
                <a:gd name="connsiteX1" fmla="*/ 1470021 w 1526659"/>
                <a:gd name="connsiteY1" fmla="*/ 257442 h 257442"/>
                <a:gd name="connsiteX2" fmla="*/ 0 w 1526659"/>
                <a:gd name="connsiteY2" fmla="*/ 257442 h 257442"/>
                <a:gd name="connsiteX3" fmla="*/ 56638 w 1526659"/>
                <a:gd name="connsiteY3" fmla="*/ 0 h 257442"/>
                <a:gd name="connsiteX0" fmla="*/ 1526659 w 1526659"/>
                <a:gd name="connsiteY0" fmla="*/ 0 h 257442"/>
                <a:gd name="connsiteX1" fmla="*/ 1470021 w 1526659"/>
                <a:gd name="connsiteY1" fmla="*/ 257442 h 257442"/>
                <a:gd name="connsiteX2" fmla="*/ 0 w 1526659"/>
                <a:gd name="connsiteY2" fmla="*/ 257442 h 257442"/>
                <a:gd name="connsiteX3" fmla="*/ 56638 w 1526659"/>
                <a:gd name="connsiteY3" fmla="*/ 0 h 257442"/>
                <a:gd name="connsiteX0" fmla="*/ 1526659 w 1526659"/>
                <a:gd name="connsiteY0" fmla="*/ 0 h 257442"/>
                <a:gd name="connsiteX1" fmla="*/ 1470021 w 1526659"/>
                <a:gd name="connsiteY1" fmla="*/ 257442 h 257442"/>
                <a:gd name="connsiteX2" fmla="*/ 0 w 1526659"/>
                <a:gd name="connsiteY2" fmla="*/ 257442 h 257442"/>
                <a:gd name="connsiteX3" fmla="*/ 56638 w 1526659"/>
                <a:gd name="connsiteY3" fmla="*/ 0 h 257442"/>
                <a:gd name="connsiteX0" fmla="*/ 1700871 w 1700871"/>
                <a:gd name="connsiteY0" fmla="*/ 0 h 257442"/>
                <a:gd name="connsiteX1" fmla="*/ 1470021 w 1700871"/>
                <a:gd name="connsiteY1" fmla="*/ 257442 h 257442"/>
                <a:gd name="connsiteX2" fmla="*/ 0 w 1700871"/>
                <a:gd name="connsiteY2" fmla="*/ 257442 h 257442"/>
                <a:gd name="connsiteX3" fmla="*/ 56638 w 1700871"/>
                <a:gd name="connsiteY3" fmla="*/ 0 h 257442"/>
                <a:gd name="connsiteX0" fmla="*/ 1700871 w 1700871"/>
                <a:gd name="connsiteY0" fmla="*/ 0 h 257442"/>
                <a:gd name="connsiteX1" fmla="*/ 1644232 w 1700871"/>
                <a:gd name="connsiteY1" fmla="*/ 257442 h 257442"/>
                <a:gd name="connsiteX2" fmla="*/ 0 w 1700871"/>
                <a:gd name="connsiteY2" fmla="*/ 257442 h 257442"/>
                <a:gd name="connsiteX3" fmla="*/ 56638 w 1700871"/>
                <a:gd name="connsiteY3" fmla="*/ 0 h 257442"/>
                <a:gd name="connsiteX0" fmla="*/ 1700872 w 1700872"/>
                <a:gd name="connsiteY0" fmla="*/ 0 h 257442"/>
                <a:gd name="connsiteX1" fmla="*/ 1644233 w 1700872"/>
                <a:gd name="connsiteY1" fmla="*/ 257442 h 257442"/>
                <a:gd name="connsiteX2" fmla="*/ 0 w 1700872"/>
                <a:gd name="connsiteY2" fmla="*/ 257442 h 257442"/>
                <a:gd name="connsiteX3" fmla="*/ 56639 w 1700872"/>
                <a:gd name="connsiteY3" fmla="*/ 0 h 257442"/>
                <a:gd name="connsiteX0" fmla="*/ 1700872 w 1700872"/>
                <a:gd name="connsiteY0" fmla="*/ 0 h 257442"/>
                <a:gd name="connsiteX1" fmla="*/ 1644233 w 1700872"/>
                <a:gd name="connsiteY1" fmla="*/ 257442 h 257442"/>
                <a:gd name="connsiteX2" fmla="*/ 0 w 1700872"/>
                <a:gd name="connsiteY2" fmla="*/ 257442 h 257442"/>
                <a:gd name="connsiteX3" fmla="*/ 56639 w 1700872"/>
                <a:gd name="connsiteY3" fmla="*/ 0 h 257442"/>
                <a:gd name="connsiteX0" fmla="*/ 1979612 w 1979612"/>
                <a:gd name="connsiteY0" fmla="*/ 0 h 257442"/>
                <a:gd name="connsiteX1" fmla="*/ 1644233 w 1979612"/>
                <a:gd name="connsiteY1" fmla="*/ 257442 h 257442"/>
                <a:gd name="connsiteX2" fmla="*/ 0 w 1979612"/>
                <a:gd name="connsiteY2" fmla="*/ 257442 h 257442"/>
                <a:gd name="connsiteX3" fmla="*/ 56639 w 1979612"/>
                <a:gd name="connsiteY3" fmla="*/ 0 h 257442"/>
                <a:gd name="connsiteX0" fmla="*/ 1979612 w 1979612"/>
                <a:gd name="connsiteY0" fmla="*/ 0 h 257442"/>
                <a:gd name="connsiteX1" fmla="*/ 1922973 w 1979612"/>
                <a:gd name="connsiteY1" fmla="*/ 257442 h 257442"/>
                <a:gd name="connsiteX2" fmla="*/ 0 w 1979612"/>
                <a:gd name="connsiteY2" fmla="*/ 257442 h 257442"/>
                <a:gd name="connsiteX3" fmla="*/ 56639 w 1979612"/>
                <a:gd name="connsiteY3" fmla="*/ 0 h 257442"/>
                <a:gd name="connsiteX0" fmla="*/ 1979612 w 1979612"/>
                <a:gd name="connsiteY0" fmla="*/ 0 h 257442"/>
                <a:gd name="connsiteX1" fmla="*/ 1922973 w 1979612"/>
                <a:gd name="connsiteY1" fmla="*/ 257442 h 257442"/>
                <a:gd name="connsiteX2" fmla="*/ 0 w 1979612"/>
                <a:gd name="connsiteY2" fmla="*/ 257442 h 257442"/>
                <a:gd name="connsiteX3" fmla="*/ 56639 w 1979612"/>
                <a:gd name="connsiteY3" fmla="*/ 0 h 257442"/>
                <a:gd name="connsiteX0" fmla="*/ 1979612 w 1979612"/>
                <a:gd name="connsiteY0" fmla="*/ 0 h 257442"/>
                <a:gd name="connsiteX1" fmla="*/ 1922973 w 1979612"/>
                <a:gd name="connsiteY1" fmla="*/ 257442 h 257442"/>
                <a:gd name="connsiteX2" fmla="*/ 0 w 1979612"/>
                <a:gd name="connsiteY2" fmla="*/ 257442 h 257442"/>
                <a:gd name="connsiteX3" fmla="*/ 56638 w 1979612"/>
                <a:gd name="connsiteY3" fmla="*/ 0 h 257442"/>
                <a:gd name="connsiteX0" fmla="*/ 2250054 w 2250054"/>
                <a:gd name="connsiteY0" fmla="*/ 0 h 257442"/>
                <a:gd name="connsiteX1" fmla="*/ 1922973 w 2250054"/>
                <a:gd name="connsiteY1" fmla="*/ 257442 h 257442"/>
                <a:gd name="connsiteX2" fmla="*/ 0 w 2250054"/>
                <a:gd name="connsiteY2" fmla="*/ 257442 h 257442"/>
                <a:gd name="connsiteX3" fmla="*/ 56638 w 2250054"/>
                <a:gd name="connsiteY3" fmla="*/ 0 h 257442"/>
                <a:gd name="connsiteX0" fmla="*/ 2250054 w 2250054"/>
                <a:gd name="connsiteY0" fmla="*/ 0 h 257442"/>
                <a:gd name="connsiteX1" fmla="*/ 2193416 w 2250054"/>
                <a:gd name="connsiteY1" fmla="*/ 257442 h 257442"/>
                <a:gd name="connsiteX2" fmla="*/ 0 w 2250054"/>
                <a:gd name="connsiteY2" fmla="*/ 257442 h 257442"/>
                <a:gd name="connsiteX3" fmla="*/ 56638 w 2250054"/>
                <a:gd name="connsiteY3" fmla="*/ 0 h 257442"/>
                <a:gd name="connsiteX0" fmla="*/ 2250054 w 2250054"/>
                <a:gd name="connsiteY0" fmla="*/ 0 h 257442"/>
                <a:gd name="connsiteX1" fmla="*/ 2193416 w 2250054"/>
                <a:gd name="connsiteY1" fmla="*/ 257442 h 257442"/>
                <a:gd name="connsiteX2" fmla="*/ 0 w 2250054"/>
                <a:gd name="connsiteY2" fmla="*/ 257442 h 257442"/>
                <a:gd name="connsiteX3" fmla="*/ 56638 w 2250054"/>
                <a:gd name="connsiteY3" fmla="*/ 0 h 257442"/>
                <a:gd name="connsiteX0" fmla="*/ 2250054 w 2250054"/>
                <a:gd name="connsiteY0" fmla="*/ 0 h 257442"/>
                <a:gd name="connsiteX1" fmla="*/ 2193416 w 2250054"/>
                <a:gd name="connsiteY1" fmla="*/ 257442 h 257442"/>
                <a:gd name="connsiteX2" fmla="*/ 0 w 2250054"/>
                <a:gd name="connsiteY2" fmla="*/ 257442 h 257442"/>
                <a:gd name="connsiteX3" fmla="*/ 56638 w 2250054"/>
                <a:gd name="connsiteY3" fmla="*/ 0 h 257442"/>
                <a:gd name="connsiteX0" fmla="*/ 2424267 w 2424267"/>
                <a:gd name="connsiteY0" fmla="*/ 0 h 257442"/>
                <a:gd name="connsiteX1" fmla="*/ 2193416 w 2424267"/>
                <a:gd name="connsiteY1" fmla="*/ 257442 h 257442"/>
                <a:gd name="connsiteX2" fmla="*/ 0 w 2424267"/>
                <a:gd name="connsiteY2" fmla="*/ 257442 h 257442"/>
                <a:gd name="connsiteX3" fmla="*/ 56638 w 2424267"/>
                <a:gd name="connsiteY3" fmla="*/ 0 h 257442"/>
                <a:gd name="connsiteX0" fmla="*/ 2424267 w 2424267"/>
                <a:gd name="connsiteY0" fmla="*/ 0 h 257442"/>
                <a:gd name="connsiteX1" fmla="*/ 2367629 w 2424267"/>
                <a:gd name="connsiteY1" fmla="*/ 257442 h 257442"/>
                <a:gd name="connsiteX2" fmla="*/ 0 w 2424267"/>
                <a:gd name="connsiteY2" fmla="*/ 257442 h 257442"/>
                <a:gd name="connsiteX3" fmla="*/ 56638 w 2424267"/>
                <a:gd name="connsiteY3" fmla="*/ 0 h 257442"/>
                <a:gd name="connsiteX0" fmla="*/ 2424267 w 2424267"/>
                <a:gd name="connsiteY0" fmla="*/ 0 h 257442"/>
                <a:gd name="connsiteX1" fmla="*/ 2367629 w 2424267"/>
                <a:gd name="connsiteY1" fmla="*/ 257442 h 257442"/>
                <a:gd name="connsiteX2" fmla="*/ 0 w 2424267"/>
                <a:gd name="connsiteY2" fmla="*/ 257442 h 257442"/>
                <a:gd name="connsiteX3" fmla="*/ 56638 w 2424267"/>
                <a:gd name="connsiteY3" fmla="*/ 0 h 257442"/>
                <a:gd name="connsiteX0" fmla="*/ 2424267 w 2424267"/>
                <a:gd name="connsiteY0" fmla="*/ 0 h 257442"/>
                <a:gd name="connsiteX1" fmla="*/ 2367629 w 2424267"/>
                <a:gd name="connsiteY1" fmla="*/ 257442 h 257442"/>
                <a:gd name="connsiteX2" fmla="*/ 0 w 2424267"/>
                <a:gd name="connsiteY2" fmla="*/ 257442 h 257442"/>
                <a:gd name="connsiteX3" fmla="*/ 56638 w 2424267"/>
                <a:gd name="connsiteY3" fmla="*/ 0 h 257442"/>
                <a:gd name="connsiteX0" fmla="*/ 2608434 w 2608434"/>
                <a:gd name="connsiteY0" fmla="*/ 0 h 257442"/>
                <a:gd name="connsiteX1" fmla="*/ 2367629 w 2608434"/>
                <a:gd name="connsiteY1" fmla="*/ 257442 h 257442"/>
                <a:gd name="connsiteX2" fmla="*/ 0 w 2608434"/>
                <a:gd name="connsiteY2" fmla="*/ 257442 h 257442"/>
                <a:gd name="connsiteX3" fmla="*/ 56638 w 2608434"/>
                <a:gd name="connsiteY3" fmla="*/ 0 h 257442"/>
                <a:gd name="connsiteX0" fmla="*/ 2608434 w 2608434"/>
                <a:gd name="connsiteY0" fmla="*/ 0 h 257442"/>
                <a:gd name="connsiteX1" fmla="*/ 2551796 w 2608434"/>
                <a:gd name="connsiteY1" fmla="*/ 257442 h 257442"/>
                <a:gd name="connsiteX2" fmla="*/ 0 w 2608434"/>
                <a:gd name="connsiteY2" fmla="*/ 257442 h 257442"/>
                <a:gd name="connsiteX3" fmla="*/ 56638 w 2608434"/>
                <a:gd name="connsiteY3" fmla="*/ 0 h 257442"/>
                <a:gd name="connsiteX0" fmla="*/ 2608434 w 2608434"/>
                <a:gd name="connsiteY0" fmla="*/ 0 h 257442"/>
                <a:gd name="connsiteX1" fmla="*/ 2551796 w 2608434"/>
                <a:gd name="connsiteY1" fmla="*/ 257442 h 257442"/>
                <a:gd name="connsiteX2" fmla="*/ 0 w 2608434"/>
                <a:gd name="connsiteY2" fmla="*/ 257442 h 257442"/>
                <a:gd name="connsiteX3" fmla="*/ 56638 w 2608434"/>
                <a:gd name="connsiteY3" fmla="*/ 0 h 257442"/>
                <a:gd name="connsiteX0" fmla="*/ 2608434 w 2608434"/>
                <a:gd name="connsiteY0" fmla="*/ 0 h 257442"/>
                <a:gd name="connsiteX1" fmla="*/ 2551796 w 2608434"/>
                <a:gd name="connsiteY1" fmla="*/ 257442 h 257442"/>
                <a:gd name="connsiteX2" fmla="*/ 0 w 2608434"/>
                <a:gd name="connsiteY2" fmla="*/ 257442 h 257442"/>
                <a:gd name="connsiteX3" fmla="*/ 56638 w 2608434"/>
                <a:gd name="connsiteY3" fmla="*/ 0 h 257442"/>
                <a:gd name="connsiteX0" fmla="*/ 2782646 w 2782646"/>
                <a:gd name="connsiteY0" fmla="*/ 0 h 257442"/>
                <a:gd name="connsiteX1" fmla="*/ 2551796 w 2782646"/>
                <a:gd name="connsiteY1" fmla="*/ 257442 h 257442"/>
                <a:gd name="connsiteX2" fmla="*/ 0 w 2782646"/>
                <a:gd name="connsiteY2" fmla="*/ 257442 h 257442"/>
                <a:gd name="connsiteX3" fmla="*/ 56638 w 2782646"/>
                <a:gd name="connsiteY3" fmla="*/ 0 h 257442"/>
                <a:gd name="connsiteX0" fmla="*/ 2782646 w 2782646"/>
                <a:gd name="connsiteY0" fmla="*/ 0 h 257442"/>
                <a:gd name="connsiteX1" fmla="*/ 2726007 w 2782646"/>
                <a:gd name="connsiteY1" fmla="*/ 257442 h 257442"/>
                <a:gd name="connsiteX2" fmla="*/ 0 w 2782646"/>
                <a:gd name="connsiteY2" fmla="*/ 257442 h 257442"/>
                <a:gd name="connsiteX3" fmla="*/ 56638 w 2782646"/>
                <a:gd name="connsiteY3" fmla="*/ 0 h 257442"/>
                <a:gd name="connsiteX0" fmla="*/ 2782647 w 2782647"/>
                <a:gd name="connsiteY0" fmla="*/ 0 h 257442"/>
                <a:gd name="connsiteX1" fmla="*/ 2726008 w 2782647"/>
                <a:gd name="connsiteY1" fmla="*/ 257442 h 257442"/>
                <a:gd name="connsiteX2" fmla="*/ 0 w 2782647"/>
                <a:gd name="connsiteY2" fmla="*/ 257442 h 257442"/>
                <a:gd name="connsiteX3" fmla="*/ 56639 w 2782647"/>
                <a:gd name="connsiteY3" fmla="*/ 0 h 257442"/>
                <a:gd name="connsiteX0" fmla="*/ 2782647 w 2782647"/>
                <a:gd name="connsiteY0" fmla="*/ 0 h 257442"/>
                <a:gd name="connsiteX1" fmla="*/ 2726008 w 2782647"/>
                <a:gd name="connsiteY1" fmla="*/ 257442 h 257442"/>
                <a:gd name="connsiteX2" fmla="*/ 0 w 2782647"/>
                <a:gd name="connsiteY2" fmla="*/ 257442 h 257442"/>
                <a:gd name="connsiteX3" fmla="*/ 56639 w 2782647"/>
                <a:gd name="connsiteY3" fmla="*/ 0 h 257442"/>
                <a:gd name="connsiteX0" fmla="*/ 2948564 w 2948564"/>
                <a:gd name="connsiteY0" fmla="*/ 0 h 257442"/>
                <a:gd name="connsiteX1" fmla="*/ 2726008 w 2948564"/>
                <a:gd name="connsiteY1" fmla="*/ 257442 h 257442"/>
                <a:gd name="connsiteX2" fmla="*/ 0 w 2948564"/>
                <a:gd name="connsiteY2" fmla="*/ 257442 h 257442"/>
                <a:gd name="connsiteX3" fmla="*/ 56639 w 2948564"/>
                <a:gd name="connsiteY3" fmla="*/ 0 h 257442"/>
                <a:gd name="connsiteX0" fmla="*/ 2948564 w 2948564"/>
                <a:gd name="connsiteY0" fmla="*/ 0 h 257442"/>
                <a:gd name="connsiteX1" fmla="*/ 2891925 w 2948564"/>
                <a:gd name="connsiteY1" fmla="*/ 257442 h 257442"/>
                <a:gd name="connsiteX2" fmla="*/ 0 w 2948564"/>
                <a:gd name="connsiteY2" fmla="*/ 257442 h 257442"/>
                <a:gd name="connsiteX3" fmla="*/ 56639 w 2948564"/>
                <a:gd name="connsiteY3" fmla="*/ 0 h 257442"/>
                <a:gd name="connsiteX0" fmla="*/ 2948564 w 2948564"/>
                <a:gd name="connsiteY0" fmla="*/ 0 h 257442"/>
                <a:gd name="connsiteX1" fmla="*/ 2891925 w 2948564"/>
                <a:gd name="connsiteY1" fmla="*/ 257442 h 257442"/>
                <a:gd name="connsiteX2" fmla="*/ 0 w 2948564"/>
                <a:gd name="connsiteY2" fmla="*/ 257442 h 257442"/>
                <a:gd name="connsiteX3" fmla="*/ 56639 w 2948564"/>
                <a:gd name="connsiteY3" fmla="*/ 0 h 257442"/>
                <a:gd name="connsiteX0" fmla="*/ 2948564 w 2948564"/>
                <a:gd name="connsiteY0" fmla="*/ 0 h 257442"/>
                <a:gd name="connsiteX1" fmla="*/ 2891925 w 2948564"/>
                <a:gd name="connsiteY1" fmla="*/ 257442 h 257442"/>
                <a:gd name="connsiteX2" fmla="*/ 0 w 2948564"/>
                <a:gd name="connsiteY2" fmla="*/ 257442 h 257442"/>
                <a:gd name="connsiteX3" fmla="*/ 56638 w 2948564"/>
                <a:gd name="connsiteY3" fmla="*/ 0 h 257442"/>
                <a:gd name="connsiteX0" fmla="*/ 3122774 w 3122774"/>
                <a:gd name="connsiteY0" fmla="*/ 0 h 257442"/>
                <a:gd name="connsiteX1" fmla="*/ 2891925 w 3122774"/>
                <a:gd name="connsiteY1" fmla="*/ 257442 h 257442"/>
                <a:gd name="connsiteX2" fmla="*/ 0 w 3122774"/>
                <a:gd name="connsiteY2" fmla="*/ 257442 h 257442"/>
                <a:gd name="connsiteX3" fmla="*/ 56638 w 3122774"/>
                <a:gd name="connsiteY3" fmla="*/ 0 h 257442"/>
                <a:gd name="connsiteX0" fmla="*/ 3122774 w 3122774"/>
                <a:gd name="connsiteY0" fmla="*/ 0 h 257442"/>
                <a:gd name="connsiteX1" fmla="*/ 3066136 w 3122774"/>
                <a:gd name="connsiteY1" fmla="*/ 257442 h 257442"/>
                <a:gd name="connsiteX2" fmla="*/ 0 w 3122774"/>
                <a:gd name="connsiteY2" fmla="*/ 257442 h 257442"/>
                <a:gd name="connsiteX3" fmla="*/ 56638 w 3122774"/>
                <a:gd name="connsiteY3" fmla="*/ 0 h 257442"/>
                <a:gd name="connsiteX0" fmla="*/ 3122774 w 3122774"/>
                <a:gd name="connsiteY0" fmla="*/ 0 h 257442"/>
                <a:gd name="connsiteX1" fmla="*/ 3066136 w 3122774"/>
                <a:gd name="connsiteY1" fmla="*/ 257442 h 257442"/>
                <a:gd name="connsiteX2" fmla="*/ 0 w 3122774"/>
                <a:gd name="connsiteY2" fmla="*/ 257442 h 257442"/>
                <a:gd name="connsiteX3" fmla="*/ 56638 w 3122774"/>
                <a:gd name="connsiteY3" fmla="*/ 0 h 257442"/>
                <a:gd name="connsiteX0" fmla="*/ 3122774 w 3122774"/>
                <a:gd name="connsiteY0" fmla="*/ 0 h 257442"/>
                <a:gd name="connsiteX1" fmla="*/ 3066136 w 3122774"/>
                <a:gd name="connsiteY1" fmla="*/ 257442 h 257442"/>
                <a:gd name="connsiteX2" fmla="*/ 0 w 3122774"/>
                <a:gd name="connsiteY2" fmla="*/ 257442 h 257442"/>
                <a:gd name="connsiteX3" fmla="*/ 56638 w 3122774"/>
                <a:gd name="connsiteY3" fmla="*/ 0 h 257442"/>
                <a:gd name="connsiteX0" fmla="*/ 3296987 w 3296987"/>
                <a:gd name="connsiteY0" fmla="*/ 0 h 257442"/>
                <a:gd name="connsiteX1" fmla="*/ 3066136 w 3296987"/>
                <a:gd name="connsiteY1" fmla="*/ 257442 h 257442"/>
                <a:gd name="connsiteX2" fmla="*/ 0 w 3296987"/>
                <a:gd name="connsiteY2" fmla="*/ 257442 h 257442"/>
                <a:gd name="connsiteX3" fmla="*/ 56638 w 3296987"/>
                <a:gd name="connsiteY3" fmla="*/ 0 h 257442"/>
                <a:gd name="connsiteX0" fmla="*/ 3296987 w 3296987"/>
                <a:gd name="connsiteY0" fmla="*/ 0 h 257442"/>
                <a:gd name="connsiteX1" fmla="*/ 3240349 w 3296987"/>
                <a:gd name="connsiteY1" fmla="*/ 257442 h 257442"/>
                <a:gd name="connsiteX2" fmla="*/ 0 w 3296987"/>
                <a:gd name="connsiteY2" fmla="*/ 257442 h 257442"/>
                <a:gd name="connsiteX3" fmla="*/ 56638 w 3296987"/>
                <a:gd name="connsiteY3" fmla="*/ 0 h 257442"/>
                <a:gd name="connsiteX0" fmla="*/ 3296987 w 3296987"/>
                <a:gd name="connsiteY0" fmla="*/ 0 h 257442"/>
                <a:gd name="connsiteX1" fmla="*/ 3240349 w 3296987"/>
                <a:gd name="connsiteY1" fmla="*/ 257442 h 257442"/>
                <a:gd name="connsiteX2" fmla="*/ 0 w 3296987"/>
                <a:gd name="connsiteY2" fmla="*/ 257442 h 257442"/>
                <a:gd name="connsiteX3" fmla="*/ 56638 w 3296987"/>
                <a:gd name="connsiteY3" fmla="*/ 0 h 257442"/>
                <a:gd name="connsiteX0" fmla="*/ 3296987 w 3296987"/>
                <a:gd name="connsiteY0" fmla="*/ 0 h 257442"/>
                <a:gd name="connsiteX1" fmla="*/ 3240349 w 3296987"/>
                <a:gd name="connsiteY1" fmla="*/ 257442 h 257442"/>
                <a:gd name="connsiteX2" fmla="*/ 0 w 3296987"/>
                <a:gd name="connsiteY2" fmla="*/ 257442 h 257442"/>
                <a:gd name="connsiteX3" fmla="*/ 56638 w 3296987"/>
                <a:gd name="connsiteY3" fmla="*/ 0 h 257442"/>
                <a:gd name="connsiteX0" fmla="*/ 3471199 w 3471199"/>
                <a:gd name="connsiteY0" fmla="*/ 0 h 257442"/>
                <a:gd name="connsiteX1" fmla="*/ 3240349 w 3471199"/>
                <a:gd name="connsiteY1" fmla="*/ 257442 h 257442"/>
                <a:gd name="connsiteX2" fmla="*/ 0 w 3471199"/>
                <a:gd name="connsiteY2" fmla="*/ 257442 h 257442"/>
                <a:gd name="connsiteX3" fmla="*/ 56638 w 3471199"/>
                <a:gd name="connsiteY3" fmla="*/ 0 h 257442"/>
                <a:gd name="connsiteX0" fmla="*/ 3471199 w 3471199"/>
                <a:gd name="connsiteY0" fmla="*/ 0 h 257442"/>
                <a:gd name="connsiteX1" fmla="*/ 3414560 w 3471199"/>
                <a:gd name="connsiteY1" fmla="*/ 257442 h 257442"/>
                <a:gd name="connsiteX2" fmla="*/ 0 w 3471199"/>
                <a:gd name="connsiteY2" fmla="*/ 257442 h 257442"/>
                <a:gd name="connsiteX3" fmla="*/ 56638 w 3471199"/>
                <a:gd name="connsiteY3" fmla="*/ 0 h 257442"/>
                <a:gd name="connsiteX0" fmla="*/ 3471200 w 3471200"/>
                <a:gd name="connsiteY0" fmla="*/ 0 h 257442"/>
                <a:gd name="connsiteX1" fmla="*/ 3414561 w 3471200"/>
                <a:gd name="connsiteY1" fmla="*/ 257442 h 257442"/>
                <a:gd name="connsiteX2" fmla="*/ 0 w 3471200"/>
                <a:gd name="connsiteY2" fmla="*/ 257442 h 257442"/>
                <a:gd name="connsiteX3" fmla="*/ 56639 w 3471200"/>
                <a:gd name="connsiteY3" fmla="*/ 0 h 257442"/>
                <a:gd name="connsiteX0" fmla="*/ 3471200 w 3471200"/>
                <a:gd name="connsiteY0" fmla="*/ 0 h 257442"/>
                <a:gd name="connsiteX1" fmla="*/ 3414561 w 3471200"/>
                <a:gd name="connsiteY1" fmla="*/ 257442 h 257442"/>
                <a:gd name="connsiteX2" fmla="*/ 0 w 3471200"/>
                <a:gd name="connsiteY2" fmla="*/ 257442 h 257442"/>
                <a:gd name="connsiteX3" fmla="*/ 56639 w 3471200"/>
                <a:gd name="connsiteY3" fmla="*/ 0 h 257442"/>
                <a:gd name="connsiteX0" fmla="*/ 3645412 w 3645412"/>
                <a:gd name="connsiteY0" fmla="*/ 0 h 257442"/>
                <a:gd name="connsiteX1" fmla="*/ 3414561 w 3645412"/>
                <a:gd name="connsiteY1" fmla="*/ 257442 h 257442"/>
                <a:gd name="connsiteX2" fmla="*/ 0 w 3645412"/>
                <a:gd name="connsiteY2" fmla="*/ 257442 h 257442"/>
                <a:gd name="connsiteX3" fmla="*/ 56639 w 3645412"/>
                <a:gd name="connsiteY3" fmla="*/ 0 h 257442"/>
                <a:gd name="connsiteX0" fmla="*/ 3645412 w 3645412"/>
                <a:gd name="connsiteY0" fmla="*/ 0 h 257442"/>
                <a:gd name="connsiteX1" fmla="*/ 3588774 w 3645412"/>
                <a:gd name="connsiteY1" fmla="*/ 257442 h 257442"/>
                <a:gd name="connsiteX2" fmla="*/ 0 w 3645412"/>
                <a:gd name="connsiteY2" fmla="*/ 257442 h 257442"/>
                <a:gd name="connsiteX3" fmla="*/ 56639 w 3645412"/>
                <a:gd name="connsiteY3" fmla="*/ 0 h 257442"/>
                <a:gd name="connsiteX0" fmla="*/ 3645412 w 3645412"/>
                <a:gd name="connsiteY0" fmla="*/ 0 h 257442"/>
                <a:gd name="connsiteX1" fmla="*/ 3588774 w 3645412"/>
                <a:gd name="connsiteY1" fmla="*/ 257442 h 257442"/>
                <a:gd name="connsiteX2" fmla="*/ 0 w 3645412"/>
                <a:gd name="connsiteY2" fmla="*/ 257442 h 257442"/>
                <a:gd name="connsiteX3" fmla="*/ 56639 w 3645412"/>
                <a:gd name="connsiteY3" fmla="*/ 0 h 257442"/>
                <a:gd name="connsiteX0" fmla="*/ 3645412 w 3645412"/>
                <a:gd name="connsiteY0" fmla="*/ 0 h 257442"/>
                <a:gd name="connsiteX1" fmla="*/ 3588774 w 3645412"/>
                <a:gd name="connsiteY1" fmla="*/ 257442 h 257442"/>
                <a:gd name="connsiteX2" fmla="*/ 0 w 3645412"/>
                <a:gd name="connsiteY2" fmla="*/ 257442 h 257442"/>
                <a:gd name="connsiteX3" fmla="*/ 56638 w 3645412"/>
                <a:gd name="connsiteY3" fmla="*/ 0 h 257442"/>
                <a:gd name="connsiteX0" fmla="*/ 975817 w 3588774"/>
                <a:gd name="connsiteY0" fmla="*/ 0 h 257442"/>
                <a:gd name="connsiteX1" fmla="*/ 3588774 w 3588774"/>
                <a:gd name="connsiteY1" fmla="*/ 257442 h 257442"/>
                <a:gd name="connsiteX2" fmla="*/ 0 w 3588774"/>
                <a:gd name="connsiteY2" fmla="*/ 257442 h 257442"/>
                <a:gd name="connsiteX3" fmla="*/ 56638 w 3588774"/>
                <a:gd name="connsiteY3" fmla="*/ 0 h 257442"/>
                <a:gd name="connsiteX0" fmla="*/ 975817 w 975817"/>
                <a:gd name="connsiteY0" fmla="*/ 0 h 257442"/>
                <a:gd name="connsiteX1" fmla="*/ 919179 w 975817"/>
                <a:gd name="connsiteY1" fmla="*/ 257442 h 257442"/>
                <a:gd name="connsiteX2" fmla="*/ 0 w 975817"/>
                <a:gd name="connsiteY2" fmla="*/ 257442 h 257442"/>
                <a:gd name="connsiteX3" fmla="*/ 56638 w 975817"/>
                <a:gd name="connsiteY3" fmla="*/ 0 h 257442"/>
                <a:gd name="connsiteX0" fmla="*/ 975816 w 975816"/>
                <a:gd name="connsiteY0" fmla="*/ 0 h 257442"/>
                <a:gd name="connsiteX1" fmla="*/ 919178 w 975816"/>
                <a:gd name="connsiteY1" fmla="*/ 257442 h 257442"/>
                <a:gd name="connsiteX2" fmla="*/ 0 w 975816"/>
                <a:gd name="connsiteY2" fmla="*/ 257442 h 257442"/>
                <a:gd name="connsiteX3" fmla="*/ 56637 w 975816"/>
                <a:gd name="connsiteY3" fmla="*/ 0 h 257442"/>
                <a:gd name="connsiteX0" fmla="*/ 975816 w 975816"/>
                <a:gd name="connsiteY0" fmla="*/ 0 h 257442"/>
                <a:gd name="connsiteX1" fmla="*/ 919178 w 975816"/>
                <a:gd name="connsiteY1" fmla="*/ 257442 h 257442"/>
                <a:gd name="connsiteX2" fmla="*/ 0 w 975816"/>
                <a:gd name="connsiteY2" fmla="*/ 257442 h 257442"/>
                <a:gd name="connsiteX3" fmla="*/ 56638 w 975816"/>
                <a:gd name="connsiteY3" fmla="*/ 0 h 257442"/>
                <a:gd name="connsiteX0" fmla="*/ 1242743 w 1242743"/>
                <a:gd name="connsiteY0" fmla="*/ 0 h 257442"/>
                <a:gd name="connsiteX1" fmla="*/ 919178 w 1242743"/>
                <a:gd name="connsiteY1" fmla="*/ 257442 h 257442"/>
                <a:gd name="connsiteX2" fmla="*/ 0 w 1242743"/>
                <a:gd name="connsiteY2" fmla="*/ 257442 h 257442"/>
                <a:gd name="connsiteX3" fmla="*/ 56638 w 1242743"/>
                <a:gd name="connsiteY3" fmla="*/ 0 h 257442"/>
                <a:gd name="connsiteX0" fmla="*/ 1242743 w 1242743"/>
                <a:gd name="connsiteY0" fmla="*/ 0 h 257442"/>
                <a:gd name="connsiteX1" fmla="*/ 1186105 w 1242743"/>
                <a:gd name="connsiteY1" fmla="*/ 257442 h 257442"/>
                <a:gd name="connsiteX2" fmla="*/ 0 w 1242743"/>
                <a:gd name="connsiteY2" fmla="*/ 257442 h 257442"/>
                <a:gd name="connsiteX3" fmla="*/ 56638 w 1242743"/>
                <a:gd name="connsiteY3" fmla="*/ 0 h 257442"/>
                <a:gd name="connsiteX0" fmla="*/ 1242743 w 1242743"/>
                <a:gd name="connsiteY0" fmla="*/ 0 h 257442"/>
                <a:gd name="connsiteX1" fmla="*/ 1186105 w 1242743"/>
                <a:gd name="connsiteY1" fmla="*/ 257442 h 257442"/>
                <a:gd name="connsiteX2" fmla="*/ 0 w 1242743"/>
                <a:gd name="connsiteY2" fmla="*/ 257442 h 257442"/>
                <a:gd name="connsiteX3" fmla="*/ 56638 w 1242743"/>
                <a:gd name="connsiteY3" fmla="*/ 0 h 257442"/>
                <a:gd name="connsiteX0" fmla="*/ 1242743 w 1242743"/>
                <a:gd name="connsiteY0" fmla="*/ 0 h 257442"/>
                <a:gd name="connsiteX1" fmla="*/ 1186105 w 1242743"/>
                <a:gd name="connsiteY1" fmla="*/ 257442 h 257442"/>
                <a:gd name="connsiteX2" fmla="*/ 0 w 1242743"/>
                <a:gd name="connsiteY2" fmla="*/ 257442 h 257442"/>
                <a:gd name="connsiteX3" fmla="*/ 56638 w 1242743"/>
                <a:gd name="connsiteY3" fmla="*/ 0 h 257442"/>
                <a:gd name="connsiteX0" fmla="*/ 1416956 w 1416956"/>
                <a:gd name="connsiteY0" fmla="*/ 0 h 257442"/>
                <a:gd name="connsiteX1" fmla="*/ 1186105 w 1416956"/>
                <a:gd name="connsiteY1" fmla="*/ 257442 h 257442"/>
                <a:gd name="connsiteX2" fmla="*/ 0 w 1416956"/>
                <a:gd name="connsiteY2" fmla="*/ 257442 h 257442"/>
                <a:gd name="connsiteX3" fmla="*/ 56638 w 1416956"/>
                <a:gd name="connsiteY3" fmla="*/ 0 h 257442"/>
                <a:gd name="connsiteX0" fmla="*/ 1416956 w 1416956"/>
                <a:gd name="connsiteY0" fmla="*/ 0 h 257442"/>
                <a:gd name="connsiteX1" fmla="*/ 1360318 w 1416956"/>
                <a:gd name="connsiteY1" fmla="*/ 257442 h 257442"/>
                <a:gd name="connsiteX2" fmla="*/ 0 w 1416956"/>
                <a:gd name="connsiteY2" fmla="*/ 257442 h 257442"/>
                <a:gd name="connsiteX3" fmla="*/ 56638 w 1416956"/>
                <a:gd name="connsiteY3" fmla="*/ 0 h 257442"/>
                <a:gd name="connsiteX0" fmla="*/ 1416956 w 1416956"/>
                <a:gd name="connsiteY0" fmla="*/ 0 h 257442"/>
                <a:gd name="connsiteX1" fmla="*/ 1360318 w 1416956"/>
                <a:gd name="connsiteY1" fmla="*/ 257442 h 257442"/>
                <a:gd name="connsiteX2" fmla="*/ 0 w 1416956"/>
                <a:gd name="connsiteY2" fmla="*/ 257442 h 257442"/>
                <a:gd name="connsiteX3" fmla="*/ 56638 w 1416956"/>
                <a:gd name="connsiteY3" fmla="*/ 0 h 257442"/>
                <a:gd name="connsiteX0" fmla="*/ 1416956 w 1416956"/>
                <a:gd name="connsiteY0" fmla="*/ 0 h 257442"/>
                <a:gd name="connsiteX1" fmla="*/ 1360318 w 1416956"/>
                <a:gd name="connsiteY1" fmla="*/ 257442 h 257442"/>
                <a:gd name="connsiteX2" fmla="*/ 0 w 1416956"/>
                <a:gd name="connsiteY2" fmla="*/ 257442 h 257442"/>
                <a:gd name="connsiteX3" fmla="*/ 56638 w 1416956"/>
                <a:gd name="connsiteY3" fmla="*/ 0 h 257442"/>
                <a:gd name="connsiteX0" fmla="*/ 1687399 w 1687399"/>
                <a:gd name="connsiteY0" fmla="*/ 0 h 257442"/>
                <a:gd name="connsiteX1" fmla="*/ 1360318 w 1687399"/>
                <a:gd name="connsiteY1" fmla="*/ 257442 h 257442"/>
                <a:gd name="connsiteX2" fmla="*/ 0 w 1687399"/>
                <a:gd name="connsiteY2" fmla="*/ 257442 h 257442"/>
                <a:gd name="connsiteX3" fmla="*/ 56638 w 1687399"/>
                <a:gd name="connsiteY3" fmla="*/ 0 h 257442"/>
                <a:gd name="connsiteX0" fmla="*/ 1687399 w 1687399"/>
                <a:gd name="connsiteY0" fmla="*/ 0 h 257442"/>
                <a:gd name="connsiteX1" fmla="*/ 1630760 w 1687399"/>
                <a:gd name="connsiteY1" fmla="*/ 257442 h 257442"/>
                <a:gd name="connsiteX2" fmla="*/ 0 w 1687399"/>
                <a:gd name="connsiteY2" fmla="*/ 257442 h 257442"/>
                <a:gd name="connsiteX3" fmla="*/ 56638 w 1687399"/>
                <a:gd name="connsiteY3" fmla="*/ 0 h 257442"/>
                <a:gd name="connsiteX0" fmla="*/ 1687400 w 1687400"/>
                <a:gd name="connsiteY0" fmla="*/ 0 h 257442"/>
                <a:gd name="connsiteX1" fmla="*/ 1630761 w 1687400"/>
                <a:gd name="connsiteY1" fmla="*/ 257442 h 257442"/>
                <a:gd name="connsiteX2" fmla="*/ 0 w 1687400"/>
                <a:gd name="connsiteY2" fmla="*/ 257442 h 257442"/>
                <a:gd name="connsiteX3" fmla="*/ 56639 w 1687400"/>
                <a:gd name="connsiteY3" fmla="*/ 0 h 257442"/>
                <a:gd name="connsiteX0" fmla="*/ 1687400 w 1687400"/>
                <a:gd name="connsiteY0" fmla="*/ 0 h 257442"/>
                <a:gd name="connsiteX1" fmla="*/ 1630761 w 1687400"/>
                <a:gd name="connsiteY1" fmla="*/ 257442 h 257442"/>
                <a:gd name="connsiteX2" fmla="*/ 0 w 1687400"/>
                <a:gd name="connsiteY2" fmla="*/ 257442 h 257442"/>
                <a:gd name="connsiteX3" fmla="*/ 56639 w 1687400"/>
                <a:gd name="connsiteY3" fmla="*/ 0 h 257442"/>
                <a:gd name="connsiteX0" fmla="*/ 1861612 w 1861612"/>
                <a:gd name="connsiteY0" fmla="*/ 0 h 257442"/>
                <a:gd name="connsiteX1" fmla="*/ 1630761 w 1861612"/>
                <a:gd name="connsiteY1" fmla="*/ 257442 h 257442"/>
                <a:gd name="connsiteX2" fmla="*/ 0 w 1861612"/>
                <a:gd name="connsiteY2" fmla="*/ 257442 h 257442"/>
                <a:gd name="connsiteX3" fmla="*/ 56639 w 1861612"/>
                <a:gd name="connsiteY3" fmla="*/ 0 h 257442"/>
                <a:gd name="connsiteX0" fmla="*/ 1861612 w 1861612"/>
                <a:gd name="connsiteY0" fmla="*/ 0 h 257442"/>
                <a:gd name="connsiteX1" fmla="*/ 1804973 w 1861612"/>
                <a:gd name="connsiteY1" fmla="*/ 257442 h 257442"/>
                <a:gd name="connsiteX2" fmla="*/ 0 w 1861612"/>
                <a:gd name="connsiteY2" fmla="*/ 257442 h 257442"/>
                <a:gd name="connsiteX3" fmla="*/ 56639 w 1861612"/>
                <a:gd name="connsiteY3" fmla="*/ 0 h 257442"/>
                <a:gd name="connsiteX0" fmla="*/ 1861612 w 1861612"/>
                <a:gd name="connsiteY0" fmla="*/ 0 h 257442"/>
                <a:gd name="connsiteX1" fmla="*/ 1804973 w 1861612"/>
                <a:gd name="connsiteY1" fmla="*/ 257442 h 257442"/>
                <a:gd name="connsiteX2" fmla="*/ 0 w 1861612"/>
                <a:gd name="connsiteY2" fmla="*/ 257442 h 257442"/>
                <a:gd name="connsiteX3" fmla="*/ 56639 w 1861612"/>
                <a:gd name="connsiteY3" fmla="*/ 0 h 257442"/>
                <a:gd name="connsiteX0" fmla="*/ 1861612 w 1861612"/>
                <a:gd name="connsiteY0" fmla="*/ 0 h 257442"/>
                <a:gd name="connsiteX1" fmla="*/ 1804973 w 1861612"/>
                <a:gd name="connsiteY1" fmla="*/ 257442 h 257442"/>
                <a:gd name="connsiteX2" fmla="*/ 0 w 1861612"/>
                <a:gd name="connsiteY2" fmla="*/ 257442 h 257442"/>
                <a:gd name="connsiteX3" fmla="*/ 56638 w 1861612"/>
                <a:gd name="connsiteY3" fmla="*/ 0 h 257442"/>
                <a:gd name="connsiteX0" fmla="*/ 2045778 w 2045778"/>
                <a:gd name="connsiteY0" fmla="*/ 0 h 257442"/>
                <a:gd name="connsiteX1" fmla="*/ 1804973 w 2045778"/>
                <a:gd name="connsiteY1" fmla="*/ 257442 h 257442"/>
                <a:gd name="connsiteX2" fmla="*/ 0 w 2045778"/>
                <a:gd name="connsiteY2" fmla="*/ 257442 h 257442"/>
                <a:gd name="connsiteX3" fmla="*/ 56638 w 2045778"/>
                <a:gd name="connsiteY3" fmla="*/ 0 h 257442"/>
                <a:gd name="connsiteX0" fmla="*/ 2045778 w 2045778"/>
                <a:gd name="connsiteY0" fmla="*/ 0 h 257442"/>
                <a:gd name="connsiteX1" fmla="*/ 1989140 w 2045778"/>
                <a:gd name="connsiteY1" fmla="*/ 257442 h 257442"/>
                <a:gd name="connsiteX2" fmla="*/ 0 w 2045778"/>
                <a:gd name="connsiteY2" fmla="*/ 257442 h 257442"/>
                <a:gd name="connsiteX3" fmla="*/ 56638 w 2045778"/>
                <a:gd name="connsiteY3" fmla="*/ 0 h 257442"/>
                <a:gd name="connsiteX0" fmla="*/ 2045778 w 2045778"/>
                <a:gd name="connsiteY0" fmla="*/ 0 h 257442"/>
                <a:gd name="connsiteX1" fmla="*/ 1989140 w 2045778"/>
                <a:gd name="connsiteY1" fmla="*/ 257442 h 257442"/>
                <a:gd name="connsiteX2" fmla="*/ 0 w 2045778"/>
                <a:gd name="connsiteY2" fmla="*/ 257442 h 257442"/>
                <a:gd name="connsiteX3" fmla="*/ 56638 w 2045778"/>
                <a:gd name="connsiteY3" fmla="*/ 0 h 257442"/>
                <a:gd name="connsiteX0" fmla="*/ 2045778 w 2045778"/>
                <a:gd name="connsiteY0" fmla="*/ 0 h 257442"/>
                <a:gd name="connsiteX1" fmla="*/ 1989140 w 2045778"/>
                <a:gd name="connsiteY1" fmla="*/ 257442 h 257442"/>
                <a:gd name="connsiteX2" fmla="*/ 0 w 2045778"/>
                <a:gd name="connsiteY2" fmla="*/ 257442 h 257442"/>
                <a:gd name="connsiteX3" fmla="*/ 56638 w 2045778"/>
                <a:gd name="connsiteY3" fmla="*/ 0 h 257442"/>
                <a:gd name="connsiteX0" fmla="*/ 2219991 w 2219991"/>
                <a:gd name="connsiteY0" fmla="*/ 0 h 257442"/>
                <a:gd name="connsiteX1" fmla="*/ 1989140 w 2219991"/>
                <a:gd name="connsiteY1" fmla="*/ 257442 h 257442"/>
                <a:gd name="connsiteX2" fmla="*/ 0 w 2219991"/>
                <a:gd name="connsiteY2" fmla="*/ 257442 h 257442"/>
                <a:gd name="connsiteX3" fmla="*/ 56638 w 2219991"/>
                <a:gd name="connsiteY3" fmla="*/ 0 h 257442"/>
                <a:gd name="connsiteX0" fmla="*/ 2219991 w 2219991"/>
                <a:gd name="connsiteY0" fmla="*/ 0 h 257442"/>
                <a:gd name="connsiteX1" fmla="*/ 2163353 w 2219991"/>
                <a:gd name="connsiteY1" fmla="*/ 257442 h 257442"/>
                <a:gd name="connsiteX2" fmla="*/ 0 w 2219991"/>
                <a:gd name="connsiteY2" fmla="*/ 257442 h 257442"/>
                <a:gd name="connsiteX3" fmla="*/ 56638 w 2219991"/>
                <a:gd name="connsiteY3" fmla="*/ 0 h 257442"/>
                <a:gd name="connsiteX0" fmla="*/ 2219991 w 2219991"/>
                <a:gd name="connsiteY0" fmla="*/ 0 h 257442"/>
                <a:gd name="connsiteX1" fmla="*/ 2163353 w 2219991"/>
                <a:gd name="connsiteY1" fmla="*/ 257442 h 257442"/>
                <a:gd name="connsiteX2" fmla="*/ 0 w 2219991"/>
                <a:gd name="connsiteY2" fmla="*/ 257442 h 257442"/>
                <a:gd name="connsiteX3" fmla="*/ 56638 w 2219991"/>
                <a:gd name="connsiteY3" fmla="*/ 0 h 257442"/>
                <a:gd name="connsiteX0" fmla="*/ 2219991 w 2219991"/>
                <a:gd name="connsiteY0" fmla="*/ 0 h 257442"/>
                <a:gd name="connsiteX1" fmla="*/ 2163353 w 2219991"/>
                <a:gd name="connsiteY1" fmla="*/ 257442 h 257442"/>
                <a:gd name="connsiteX2" fmla="*/ 0 w 2219991"/>
                <a:gd name="connsiteY2" fmla="*/ 257442 h 257442"/>
                <a:gd name="connsiteX3" fmla="*/ 56638 w 2219991"/>
                <a:gd name="connsiteY3" fmla="*/ 0 h 257442"/>
                <a:gd name="connsiteX0" fmla="*/ 2385907 w 2385907"/>
                <a:gd name="connsiteY0" fmla="*/ 0 h 257442"/>
                <a:gd name="connsiteX1" fmla="*/ 2163353 w 2385907"/>
                <a:gd name="connsiteY1" fmla="*/ 257442 h 257442"/>
                <a:gd name="connsiteX2" fmla="*/ 0 w 2385907"/>
                <a:gd name="connsiteY2" fmla="*/ 257442 h 257442"/>
                <a:gd name="connsiteX3" fmla="*/ 56638 w 2385907"/>
                <a:gd name="connsiteY3" fmla="*/ 0 h 257442"/>
                <a:gd name="connsiteX0" fmla="*/ 2385907 w 2385907"/>
                <a:gd name="connsiteY0" fmla="*/ 0 h 257442"/>
                <a:gd name="connsiteX1" fmla="*/ 2329269 w 2385907"/>
                <a:gd name="connsiteY1" fmla="*/ 257442 h 257442"/>
                <a:gd name="connsiteX2" fmla="*/ 0 w 2385907"/>
                <a:gd name="connsiteY2" fmla="*/ 257442 h 257442"/>
                <a:gd name="connsiteX3" fmla="*/ 56638 w 2385907"/>
                <a:gd name="connsiteY3" fmla="*/ 0 h 257442"/>
                <a:gd name="connsiteX0" fmla="*/ 2385907 w 2385907"/>
                <a:gd name="connsiteY0" fmla="*/ 0 h 257442"/>
                <a:gd name="connsiteX1" fmla="*/ 2329269 w 2385907"/>
                <a:gd name="connsiteY1" fmla="*/ 257442 h 257442"/>
                <a:gd name="connsiteX2" fmla="*/ 0 w 2385907"/>
                <a:gd name="connsiteY2" fmla="*/ 257442 h 257442"/>
                <a:gd name="connsiteX3" fmla="*/ 56638 w 2385907"/>
                <a:gd name="connsiteY3" fmla="*/ 0 h 257442"/>
                <a:gd name="connsiteX0" fmla="*/ 2385907 w 2385907"/>
                <a:gd name="connsiteY0" fmla="*/ 0 h 257442"/>
                <a:gd name="connsiteX1" fmla="*/ 2329269 w 2385907"/>
                <a:gd name="connsiteY1" fmla="*/ 257442 h 257442"/>
                <a:gd name="connsiteX2" fmla="*/ 0 w 2385907"/>
                <a:gd name="connsiteY2" fmla="*/ 257442 h 257442"/>
                <a:gd name="connsiteX3" fmla="*/ 56638 w 2385907"/>
                <a:gd name="connsiteY3" fmla="*/ 0 h 257442"/>
                <a:gd name="connsiteX0" fmla="*/ 2560119 w 2560119"/>
                <a:gd name="connsiteY0" fmla="*/ 0 h 257442"/>
                <a:gd name="connsiteX1" fmla="*/ 2329269 w 2560119"/>
                <a:gd name="connsiteY1" fmla="*/ 257442 h 257442"/>
                <a:gd name="connsiteX2" fmla="*/ 0 w 2560119"/>
                <a:gd name="connsiteY2" fmla="*/ 257442 h 257442"/>
                <a:gd name="connsiteX3" fmla="*/ 56638 w 2560119"/>
                <a:gd name="connsiteY3" fmla="*/ 0 h 257442"/>
                <a:gd name="connsiteX0" fmla="*/ 2560119 w 2560119"/>
                <a:gd name="connsiteY0" fmla="*/ 0 h 257442"/>
                <a:gd name="connsiteX1" fmla="*/ 2503481 w 2560119"/>
                <a:gd name="connsiteY1" fmla="*/ 257442 h 257442"/>
                <a:gd name="connsiteX2" fmla="*/ 0 w 2560119"/>
                <a:gd name="connsiteY2" fmla="*/ 257442 h 257442"/>
                <a:gd name="connsiteX3" fmla="*/ 56638 w 2560119"/>
                <a:gd name="connsiteY3" fmla="*/ 0 h 257442"/>
                <a:gd name="connsiteX0" fmla="*/ 2560119 w 2560119"/>
                <a:gd name="connsiteY0" fmla="*/ 0 h 257442"/>
                <a:gd name="connsiteX1" fmla="*/ 2503481 w 2560119"/>
                <a:gd name="connsiteY1" fmla="*/ 257442 h 257442"/>
                <a:gd name="connsiteX2" fmla="*/ 0 w 2560119"/>
                <a:gd name="connsiteY2" fmla="*/ 257442 h 257442"/>
                <a:gd name="connsiteX3" fmla="*/ 56638 w 2560119"/>
                <a:gd name="connsiteY3" fmla="*/ 0 h 257442"/>
                <a:gd name="connsiteX0" fmla="*/ 2560119 w 2560119"/>
                <a:gd name="connsiteY0" fmla="*/ 0 h 257442"/>
                <a:gd name="connsiteX1" fmla="*/ 2503481 w 2560119"/>
                <a:gd name="connsiteY1" fmla="*/ 257442 h 257442"/>
                <a:gd name="connsiteX2" fmla="*/ 0 w 2560119"/>
                <a:gd name="connsiteY2" fmla="*/ 257442 h 257442"/>
                <a:gd name="connsiteX3" fmla="*/ 56638 w 2560119"/>
                <a:gd name="connsiteY3" fmla="*/ 0 h 257442"/>
                <a:gd name="connsiteX0" fmla="*/ 2734332 w 2734332"/>
                <a:gd name="connsiteY0" fmla="*/ 0 h 257442"/>
                <a:gd name="connsiteX1" fmla="*/ 2503481 w 2734332"/>
                <a:gd name="connsiteY1" fmla="*/ 257442 h 257442"/>
                <a:gd name="connsiteX2" fmla="*/ 0 w 2734332"/>
                <a:gd name="connsiteY2" fmla="*/ 257442 h 257442"/>
                <a:gd name="connsiteX3" fmla="*/ 56638 w 2734332"/>
                <a:gd name="connsiteY3" fmla="*/ 0 h 257442"/>
                <a:gd name="connsiteX0" fmla="*/ 2734332 w 2734332"/>
                <a:gd name="connsiteY0" fmla="*/ 0 h 257442"/>
                <a:gd name="connsiteX1" fmla="*/ 2677694 w 2734332"/>
                <a:gd name="connsiteY1" fmla="*/ 257442 h 257442"/>
                <a:gd name="connsiteX2" fmla="*/ 0 w 2734332"/>
                <a:gd name="connsiteY2" fmla="*/ 257442 h 257442"/>
                <a:gd name="connsiteX3" fmla="*/ 56638 w 2734332"/>
                <a:gd name="connsiteY3" fmla="*/ 0 h 257442"/>
                <a:gd name="connsiteX0" fmla="*/ 2734332 w 2734332"/>
                <a:gd name="connsiteY0" fmla="*/ 0 h 257442"/>
                <a:gd name="connsiteX1" fmla="*/ 2677694 w 2734332"/>
                <a:gd name="connsiteY1" fmla="*/ 257442 h 257442"/>
                <a:gd name="connsiteX2" fmla="*/ 0 w 2734332"/>
                <a:gd name="connsiteY2" fmla="*/ 257442 h 257442"/>
                <a:gd name="connsiteX3" fmla="*/ 56638 w 2734332"/>
                <a:gd name="connsiteY3" fmla="*/ 0 h 257442"/>
                <a:gd name="connsiteX0" fmla="*/ 2734332 w 2734332"/>
                <a:gd name="connsiteY0" fmla="*/ 0 h 257442"/>
                <a:gd name="connsiteX1" fmla="*/ 2677694 w 2734332"/>
                <a:gd name="connsiteY1" fmla="*/ 257442 h 257442"/>
                <a:gd name="connsiteX2" fmla="*/ 0 w 2734332"/>
                <a:gd name="connsiteY2" fmla="*/ 257442 h 257442"/>
                <a:gd name="connsiteX3" fmla="*/ 56638 w 2734332"/>
                <a:gd name="connsiteY3" fmla="*/ 0 h 257442"/>
                <a:gd name="connsiteX0" fmla="*/ 2908544 w 2908544"/>
                <a:gd name="connsiteY0" fmla="*/ 0 h 257442"/>
                <a:gd name="connsiteX1" fmla="*/ 2677694 w 2908544"/>
                <a:gd name="connsiteY1" fmla="*/ 257442 h 257442"/>
                <a:gd name="connsiteX2" fmla="*/ 0 w 2908544"/>
                <a:gd name="connsiteY2" fmla="*/ 257442 h 257442"/>
                <a:gd name="connsiteX3" fmla="*/ 56638 w 2908544"/>
                <a:gd name="connsiteY3" fmla="*/ 0 h 257442"/>
                <a:gd name="connsiteX0" fmla="*/ 2908544 w 2908544"/>
                <a:gd name="connsiteY0" fmla="*/ 0 h 257442"/>
                <a:gd name="connsiteX1" fmla="*/ 2851905 w 2908544"/>
                <a:gd name="connsiteY1" fmla="*/ 257442 h 257442"/>
                <a:gd name="connsiteX2" fmla="*/ 0 w 2908544"/>
                <a:gd name="connsiteY2" fmla="*/ 257442 h 257442"/>
                <a:gd name="connsiteX3" fmla="*/ 56638 w 2908544"/>
                <a:gd name="connsiteY3" fmla="*/ 0 h 257442"/>
                <a:gd name="connsiteX0" fmla="*/ 2908545 w 2908545"/>
                <a:gd name="connsiteY0" fmla="*/ 0 h 257442"/>
                <a:gd name="connsiteX1" fmla="*/ 2851906 w 2908545"/>
                <a:gd name="connsiteY1" fmla="*/ 257442 h 257442"/>
                <a:gd name="connsiteX2" fmla="*/ 0 w 2908545"/>
                <a:gd name="connsiteY2" fmla="*/ 257442 h 257442"/>
                <a:gd name="connsiteX3" fmla="*/ 56639 w 2908545"/>
                <a:gd name="connsiteY3" fmla="*/ 0 h 257442"/>
                <a:gd name="connsiteX0" fmla="*/ 2908545 w 2908545"/>
                <a:gd name="connsiteY0" fmla="*/ 0 h 257442"/>
                <a:gd name="connsiteX1" fmla="*/ 2851906 w 2908545"/>
                <a:gd name="connsiteY1" fmla="*/ 257442 h 257442"/>
                <a:gd name="connsiteX2" fmla="*/ 0 w 2908545"/>
                <a:gd name="connsiteY2" fmla="*/ 257442 h 257442"/>
                <a:gd name="connsiteX3" fmla="*/ 56639 w 2908545"/>
                <a:gd name="connsiteY3" fmla="*/ 0 h 257442"/>
                <a:gd name="connsiteX0" fmla="*/ 3082757 w 3082757"/>
                <a:gd name="connsiteY0" fmla="*/ 0 h 257442"/>
                <a:gd name="connsiteX1" fmla="*/ 2851906 w 3082757"/>
                <a:gd name="connsiteY1" fmla="*/ 257442 h 257442"/>
                <a:gd name="connsiteX2" fmla="*/ 0 w 3082757"/>
                <a:gd name="connsiteY2" fmla="*/ 257442 h 257442"/>
                <a:gd name="connsiteX3" fmla="*/ 56639 w 3082757"/>
                <a:gd name="connsiteY3" fmla="*/ 0 h 257442"/>
                <a:gd name="connsiteX0" fmla="*/ 3082757 w 3082757"/>
                <a:gd name="connsiteY0" fmla="*/ 0 h 257442"/>
                <a:gd name="connsiteX1" fmla="*/ 3026118 w 3082757"/>
                <a:gd name="connsiteY1" fmla="*/ 257442 h 257442"/>
                <a:gd name="connsiteX2" fmla="*/ 0 w 3082757"/>
                <a:gd name="connsiteY2" fmla="*/ 257442 h 257442"/>
                <a:gd name="connsiteX3" fmla="*/ 56639 w 3082757"/>
                <a:gd name="connsiteY3" fmla="*/ 0 h 257442"/>
                <a:gd name="connsiteX0" fmla="*/ 3082757 w 3082757"/>
                <a:gd name="connsiteY0" fmla="*/ 0 h 257442"/>
                <a:gd name="connsiteX1" fmla="*/ 3026118 w 3082757"/>
                <a:gd name="connsiteY1" fmla="*/ 257442 h 257442"/>
                <a:gd name="connsiteX2" fmla="*/ 0 w 3082757"/>
                <a:gd name="connsiteY2" fmla="*/ 257442 h 257442"/>
                <a:gd name="connsiteX3" fmla="*/ 56639 w 3082757"/>
                <a:gd name="connsiteY3" fmla="*/ 0 h 257442"/>
                <a:gd name="connsiteX0" fmla="*/ 3082757 w 3082757"/>
                <a:gd name="connsiteY0" fmla="*/ 0 h 257442"/>
                <a:gd name="connsiteX1" fmla="*/ 3026118 w 3082757"/>
                <a:gd name="connsiteY1" fmla="*/ 257442 h 257442"/>
                <a:gd name="connsiteX2" fmla="*/ 0 w 3082757"/>
                <a:gd name="connsiteY2" fmla="*/ 257442 h 257442"/>
                <a:gd name="connsiteX3" fmla="*/ 56638 w 3082757"/>
                <a:gd name="connsiteY3" fmla="*/ 0 h 257442"/>
                <a:gd name="connsiteX0" fmla="*/ 1695695 w 3026118"/>
                <a:gd name="connsiteY0" fmla="*/ 0 h 257442"/>
                <a:gd name="connsiteX1" fmla="*/ 3026118 w 3026118"/>
                <a:gd name="connsiteY1" fmla="*/ 257442 h 257442"/>
                <a:gd name="connsiteX2" fmla="*/ 0 w 3026118"/>
                <a:gd name="connsiteY2" fmla="*/ 257442 h 257442"/>
                <a:gd name="connsiteX3" fmla="*/ 56638 w 3026118"/>
                <a:gd name="connsiteY3" fmla="*/ 0 h 257442"/>
                <a:gd name="connsiteX0" fmla="*/ 1695695 w 1695695"/>
                <a:gd name="connsiteY0" fmla="*/ 0 h 257442"/>
                <a:gd name="connsiteX1" fmla="*/ 1639057 w 1695695"/>
                <a:gd name="connsiteY1" fmla="*/ 257442 h 257442"/>
                <a:gd name="connsiteX2" fmla="*/ 0 w 1695695"/>
                <a:gd name="connsiteY2" fmla="*/ 257442 h 257442"/>
                <a:gd name="connsiteX3" fmla="*/ 56638 w 1695695"/>
                <a:gd name="connsiteY3" fmla="*/ 0 h 257442"/>
                <a:gd name="connsiteX0" fmla="*/ 1695694 w 1695694"/>
                <a:gd name="connsiteY0" fmla="*/ 0 h 257442"/>
                <a:gd name="connsiteX1" fmla="*/ 1639056 w 1695694"/>
                <a:gd name="connsiteY1" fmla="*/ 257442 h 257442"/>
                <a:gd name="connsiteX2" fmla="*/ 0 w 1695694"/>
                <a:gd name="connsiteY2" fmla="*/ 257442 h 257442"/>
                <a:gd name="connsiteX3" fmla="*/ 56637 w 1695694"/>
                <a:gd name="connsiteY3" fmla="*/ 0 h 257442"/>
                <a:gd name="connsiteX0" fmla="*/ 1695694 w 1695694"/>
                <a:gd name="connsiteY0" fmla="*/ 0 h 257442"/>
                <a:gd name="connsiteX1" fmla="*/ 1639056 w 1695694"/>
                <a:gd name="connsiteY1" fmla="*/ 257442 h 257442"/>
                <a:gd name="connsiteX2" fmla="*/ 0 w 1695694"/>
                <a:gd name="connsiteY2" fmla="*/ 257442 h 257442"/>
                <a:gd name="connsiteX3" fmla="*/ 56637 w 1695694"/>
                <a:gd name="connsiteY3" fmla="*/ 0 h 257442"/>
                <a:gd name="connsiteX0" fmla="*/ 1861610 w 1861610"/>
                <a:gd name="connsiteY0" fmla="*/ 0 h 257442"/>
                <a:gd name="connsiteX1" fmla="*/ 1639056 w 1861610"/>
                <a:gd name="connsiteY1" fmla="*/ 257442 h 257442"/>
                <a:gd name="connsiteX2" fmla="*/ 0 w 1861610"/>
                <a:gd name="connsiteY2" fmla="*/ 257442 h 257442"/>
                <a:gd name="connsiteX3" fmla="*/ 56637 w 1861610"/>
                <a:gd name="connsiteY3" fmla="*/ 0 h 257442"/>
                <a:gd name="connsiteX0" fmla="*/ 1861610 w 1861610"/>
                <a:gd name="connsiteY0" fmla="*/ 0 h 257442"/>
                <a:gd name="connsiteX1" fmla="*/ 1804972 w 1861610"/>
                <a:gd name="connsiteY1" fmla="*/ 257442 h 257442"/>
                <a:gd name="connsiteX2" fmla="*/ 0 w 1861610"/>
                <a:gd name="connsiteY2" fmla="*/ 257442 h 257442"/>
                <a:gd name="connsiteX3" fmla="*/ 56637 w 1861610"/>
                <a:gd name="connsiteY3" fmla="*/ 0 h 257442"/>
                <a:gd name="connsiteX0" fmla="*/ 1861611 w 1861611"/>
                <a:gd name="connsiteY0" fmla="*/ 0 h 257442"/>
                <a:gd name="connsiteX1" fmla="*/ 1804973 w 1861611"/>
                <a:gd name="connsiteY1" fmla="*/ 257442 h 257442"/>
                <a:gd name="connsiteX2" fmla="*/ 0 w 1861611"/>
                <a:gd name="connsiteY2" fmla="*/ 257442 h 257442"/>
                <a:gd name="connsiteX3" fmla="*/ 56638 w 1861611"/>
                <a:gd name="connsiteY3" fmla="*/ 0 h 257442"/>
                <a:gd name="connsiteX0" fmla="*/ 1861611 w 1861611"/>
                <a:gd name="connsiteY0" fmla="*/ 0 h 257442"/>
                <a:gd name="connsiteX1" fmla="*/ 1804973 w 1861611"/>
                <a:gd name="connsiteY1" fmla="*/ 257442 h 257442"/>
                <a:gd name="connsiteX2" fmla="*/ 0 w 1861611"/>
                <a:gd name="connsiteY2" fmla="*/ 257442 h 257442"/>
                <a:gd name="connsiteX3" fmla="*/ 56639 w 1861611"/>
                <a:gd name="connsiteY3" fmla="*/ 0 h 257442"/>
                <a:gd name="connsiteX0" fmla="*/ 2027529 w 2027529"/>
                <a:gd name="connsiteY0" fmla="*/ 0 h 257442"/>
                <a:gd name="connsiteX1" fmla="*/ 1804973 w 2027529"/>
                <a:gd name="connsiteY1" fmla="*/ 257442 h 257442"/>
                <a:gd name="connsiteX2" fmla="*/ 0 w 2027529"/>
                <a:gd name="connsiteY2" fmla="*/ 257442 h 257442"/>
                <a:gd name="connsiteX3" fmla="*/ 56639 w 2027529"/>
                <a:gd name="connsiteY3" fmla="*/ 0 h 257442"/>
                <a:gd name="connsiteX0" fmla="*/ 2027529 w 2027529"/>
                <a:gd name="connsiteY0" fmla="*/ 0 h 257442"/>
                <a:gd name="connsiteX1" fmla="*/ 1970891 w 2027529"/>
                <a:gd name="connsiteY1" fmla="*/ 257442 h 257442"/>
                <a:gd name="connsiteX2" fmla="*/ 0 w 2027529"/>
                <a:gd name="connsiteY2" fmla="*/ 257442 h 257442"/>
                <a:gd name="connsiteX3" fmla="*/ 56639 w 2027529"/>
                <a:gd name="connsiteY3" fmla="*/ 0 h 257442"/>
                <a:gd name="connsiteX0" fmla="*/ 2027528 w 2027528"/>
                <a:gd name="connsiteY0" fmla="*/ 0 h 257442"/>
                <a:gd name="connsiteX1" fmla="*/ 1970890 w 2027528"/>
                <a:gd name="connsiteY1" fmla="*/ 257442 h 257442"/>
                <a:gd name="connsiteX2" fmla="*/ 0 w 2027528"/>
                <a:gd name="connsiteY2" fmla="*/ 257442 h 257442"/>
                <a:gd name="connsiteX3" fmla="*/ 56638 w 2027528"/>
                <a:gd name="connsiteY3" fmla="*/ 0 h 257442"/>
                <a:gd name="connsiteX0" fmla="*/ 2027528 w 2027528"/>
                <a:gd name="connsiteY0" fmla="*/ 0 h 257442"/>
                <a:gd name="connsiteX1" fmla="*/ 1970890 w 2027528"/>
                <a:gd name="connsiteY1" fmla="*/ 257442 h 257442"/>
                <a:gd name="connsiteX2" fmla="*/ 0 w 2027528"/>
                <a:gd name="connsiteY2" fmla="*/ 257442 h 257442"/>
                <a:gd name="connsiteX3" fmla="*/ 56637 w 2027528"/>
                <a:gd name="connsiteY3" fmla="*/ 0 h 257442"/>
                <a:gd name="connsiteX0" fmla="*/ 2238240 w 2238240"/>
                <a:gd name="connsiteY0" fmla="*/ 0 h 257442"/>
                <a:gd name="connsiteX1" fmla="*/ 1970890 w 2238240"/>
                <a:gd name="connsiteY1" fmla="*/ 257442 h 257442"/>
                <a:gd name="connsiteX2" fmla="*/ 0 w 2238240"/>
                <a:gd name="connsiteY2" fmla="*/ 257442 h 257442"/>
                <a:gd name="connsiteX3" fmla="*/ 56637 w 2238240"/>
                <a:gd name="connsiteY3" fmla="*/ 0 h 257442"/>
                <a:gd name="connsiteX0" fmla="*/ 2238240 w 2238240"/>
                <a:gd name="connsiteY0" fmla="*/ 0 h 257442"/>
                <a:gd name="connsiteX1" fmla="*/ 2181602 w 2238240"/>
                <a:gd name="connsiteY1" fmla="*/ 257442 h 257442"/>
                <a:gd name="connsiteX2" fmla="*/ 0 w 2238240"/>
                <a:gd name="connsiteY2" fmla="*/ 257442 h 257442"/>
                <a:gd name="connsiteX3" fmla="*/ 56637 w 2238240"/>
                <a:gd name="connsiteY3" fmla="*/ 0 h 257442"/>
                <a:gd name="connsiteX0" fmla="*/ 2238241 w 2238241"/>
                <a:gd name="connsiteY0" fmla="*/ 0 h 257442"/>
                <a:gd name="connsiteX1" fmla="*/ 2181603 w 2238241"/>
                <a:gd name="connsiteY1" fmla="*/ 257442 h 257442"/>
                <a:gd name="connsiteX2" fmla="*/ 0 w 2238241"/>
                <a:gd name="connsiteY2" fmla="*/ 257442 h 257442"/>
                <a:gd name="connsiteX3" fmla="*/ 56638 w 2238241"/>
                <a:gd name="connsiteY3" fmla="*/ 0 h 257442"/>
                <a:gd name="connsiteX0" fmla="*/ 2238241 w 2238241"/>
                <a:gd name="connsiteY0" fmla="*/ 0 h 257442"/>
                <a:gd name="connsiteX1" fmla="*/ 2181603 w 2238241"/>
                <a:gd name="connsiteY1" fmla="*/ 257442 h 257442"/>
                <a:gd name="connsiteX2" fmla="*/ 0 w 2238241"/>
                <a:gd name="connsiteY2" fmla="*/ 257442 h 257442"/>
                <a:gd name="connsiteX3" fmla="*/ 56639 w 2238241"/>
                <a:gd name="connsiteY3" fmla="*/ 0 h 257442"/>
                <a:gd name="connsiteX0" fmla="*/ 2422409 w 2422409"/>
                <a:gd name="connsiteY0" fmla="*/ 0 h 257442"/>
                <a:gd name="connsiteX1" fmla="*/ 2181603 w 2422409"/>
                <a:gd name="connsiteY1" fmla="*/ 257442 h 257442"/>
                <a:gd name="connsiteX2" fmla="*/ 0 w 2422409"/>
                <a:gd name="connsiteY2" fmla="*/ 257442 h 257442"/>
                <a:gd name="connsiteX3" fmla="*/ 56639 w 2422409"/>
                <a:gd name="connsiteY3" fmla="*/ 0 h 257442"/>
                <a:gd name="connsiteX0" fmla="*/ 2422409 w 2422409"/>
                <a:gd name="connsiteY0" fmla="*/ 0 h 257442"/>
                <a:gd name="connsiteX1" fmla="*/ 2365771 w 2422409"/>
                <a:gd name="connsiteY1" fmla="*/ 257442 h 257442"/>
                <a:gd name="connsiteX2" fmla="*/ 0 w 2422409"/>
                <a:gd name="connsiteY2" fmla="*/ 257442 h 257442"/>
                <a:gd name="connsiteX3" fmla="*/ 56639 w 2422409"/>
                <a:gd name="connsiteY3" fmla="*/ 0 h 257442"/>
                <a:gd name="connsiteX0" fmla="*/ 2422408 w 2422408"/>
                <a:gd name="connsiteY0" fmla="*/ 0 h 257442"/>
                <a:gd name="connsiteX1" fmla="*/ 2365770 w 2422408"/>
                <a:gd name="connsiteY1" fmla="*/ 257442 h 257442"/>
                <a:gd name="connsiteX2" fmla="*/ 0 w 2422408"/>
                <a:gd name="connsiteY2" fmla="*/ 257442 h 257442"/>
                <a:gd name="connsiteX3" fmla="*/ 56638 w 2422408"/>
                <a:gd name="connsiteY3" fmla="*/ 0 h 257442"/>
                <a:gd name="connsiteX0" fmla="*/ 2422408 w 2422408"/>
                <a:gd name="connsiteY0" fmla="*/ 0 h 257442"/>
                <a:gd name="connsiteX1" fmla="*/ 2365770 w 2422408"/>
                <a:gd name="connsiteY1" fmla="*/ 257442 h 257442"/>
                <a:gd name="connsiteX2" fmla="*/ 0 w 2422408"/>
                <a:gd name="connsiteY2" fmla="*/ 257442 h 257442"/>
                <a:gd name="connsiteX3" fmla="*/ 56637 w 2422408"/>
                <a:gd name="connsiteY3" fmla="*/ 0 h 257442"/>
                <a:gd name="connsiteX0" fmla="*/ 2596619 w 2596619"/>
                <a:gd name="connsiteY0" fmla="*/ 0 h 257442"/>
                <a:gd name="connsiteX1" fmla="*/ 2365770 w 2596619"/>
                <a:gd name="connsiteY1" fmla="*/ 257442 h 257442"/>
                <a:gd name="connsiteX2" fmla="*/ 0 w 2596619"/>
                <a:gd name="connsiteY2" fmla="*/ 257442 h 257442"/>
                <a:gd name="connsiteX3" fmla="*/ 56637 w 2596619"/>
                <a:gd name="connsiteY3" fmla="*/ 0 h 257442"/>
                <a:gd name="connsiteX0" fmla="*/ 2596619 w 2596619"/>
                <a:gd name="connsiteY0" fmla="*/ 0 h 257442"/>
                <a:gd name="connsiteX1" fmla="*/ 2539981 w 2596619"/>
                <a:gd name="connsiteY1" fmla="*/ 257442 h 257442"/>
                <a:gd name="connsiteX2" fmla="*/ 0 w 2596619"/>
                <a:gd name="connsiteY2" fmla="*/ 257442 h 257442"/>
                <a:gd name="connsiteX3" fmla="*/ 56637 w 2596619"/>
                <a:gd name="connsiteY3" fmla="*/ 0 h 257442"/>
                <a:gd name="connsiteX0" fmla="*/ 2596620 w 2596620"/>
                <a:gd name="connsiteY0" fmla="*/ 0 h 257442"/>
                <a:gd name="connsiteX1" fmla="*/ 2539982 w 2596620"/>
                <a:gd name="connsiteY1" fmla="*/ 257442 h 257442"/>
                <a:gd name="connsiteX2" fmla="*/ 0 w 2596620"/>
                <a:gd name="connsiteY2" fmla="*/ 257442 h 257442"/>
                <a:gd name="connsiteX3" fmla="*/ 56638 w 2596620"/>
                <a:gd name="connsiteY3" fmla="*/ 0 h 257442"/>
                <a:gd name="connsiteX0" fmla="*/ 2596620 w 2596620"/>
                <a:gd name="connsiteY0" fmla="*/ 0 h 257442"/>
                <a:gd name="connsiteX1" fmla="*/ 2539982 w 2596620"/>
                <a:gd name="connsiteY1" fmla="*/ 257442 h 257442"/>
                <a:gd name="connsiteX2" fmla="*/ 0 w 2596620"/>
                <a:gd name="connsiteY2" fmla="*/ 257442 h 257442"/>
                <a:gd name="connsiteX3" fmla="*/ 56639 w 2596620"/>
                <a:gd name="connsiteY3" fmla="*/ 0 h 257442"/>
                <a:gd name="connsiteX0" fmla="*/ 2770834 w 2770834"/>
                <a:gd name="connsiteY0" fmla="*/ 0 h 257442"/>
                <a:gd name="connsiteX1" fmla="*/ 2539982 w 2770834"/>
                <a:gd name="connsiteY1" fmla="*/ 257442 h 257442"/>
                <a:gd name="connsiteX2" fmla="*/ 0 w 2770834"/>
                <a:gd name="connsiteY2" fmla="*/ 257442 h 257442"/>
                <a:gd name="connsiteX3" fmla="*/ 56639 w 2770834"/>
                <a:gd name="connsiteY3" fmla="*/ 0 h 257442"/>
                <a:gd name="connsiteX0" fmla="*/ 2770834 w 2770834"/>
                <a:gd name="connsiteY0" fmla="*/ 0 h 257442"/>
                <a:gd name="connsiteX1" fmla="*/ 2714195 w 2770834"/>
                <a:gd name="connsiteY1" fmla="*/ 257442 h 257442"/>
                <a:gd name="connsiteX2" fmla="*/ 0 w 2770834"/>
                <a:gd name="connsiteY2" fmla="*/ 257442 h 257442"/>
                <a:gd name="connsiteX3" fmla="*/ 56639 w 2770834"/>
                <a:gd name="connsiteY3" fmla="*/ 0 h 257442"/>
                <a:gd name="connsiteX0" fmla="*/ 2770834 w 2770834"/>
                <a:gd name="connsiteY0" fmla="*/ 0 h 257442"/>
                <a:gd name="connsiteX1" fmla="*/ 2714195 w 2770834"/>
                <a:gd name="connsiteY1" fmla="*/ 257442 h 257442"/>
                <a:gd name="connsiteX2" fmla="*/ 0 w 2770834"/>
                <a:gd name="connsiteY2" fmla="*/ 257442 h 257442"/>
                <a:gd name="connsiteX3" fmla="*/ 56639 w 2770834"/>
                <a:gd name="connsiteY3" fmla="*/ 0 h 257442"/>
                <a:gd name="connsiteX0" fmla="*/ 2770834 w 2770834"/>
                <a:gd name="connsiteY0" fmla="*/ 0 h 257442"/>
                <a:gd name="connsiteX1" fmla="*/ 2714195 w 2770834"/>
                <a:gd name="connsiteY1" fmla="*/ 257442 h 257442"/>
                <a:gd name="connsiteX2" fmla="*/ 0 w 2770834"/>
                <a:gd name="connsiteY2" fmla="*/ 257442 h 257442"/>
                <a:gd name="connsiteX3" fmla="*/ 56638 w 2770834"/>
                <a:gd name="connsiteY3" fmla="*/ 0 h 257442"/>
                <a:gd name="connsiteX0" fmla="*/ 2936749 w 2936749"/>
                <a:gd name="connsiteY0" fmla="*/ 0 h 257442"/>
                <a:gd name="connsiteX1" fmla="*/ 2714195 w 2936749"/>
                <a:gd name="connsiteY1" fmla="*/ 257442 h 257442"/>
                <a:gd name="connsiteX2" fmla="*/ 0 w 2936749"/>
                <a:gd name="connsiteY2" fmla="*/ 257442 h 257442"/>
                <a:gd name="connsiteX3" fmla="*/ 56638 w 2936749"/>
                <a:gd name="connsiteY3" fmla="*/ 0 h 257442"/>
                <a:gd name="connsiteX0" fmla="*/ 2936749 w 2936749"/>
                <a:gd name="connsiteY0" fmla="*/ 0 h 257442"/>
                <a:gd name="connsiteX1" fmla="*/ 2880111 w 2936749"/>
                <a:gd name="connsiteY1" fmla="*/ 257442 h 257442"/>
                <a:gd name="connsiteX2" fmla="*/ 0 w 2936749"/>
                <a:gd name="connsiteY2" fmla="*/ 257442 h 257442"/>
                <a:gd name="connsiteX3" fmla="*/ 56638 w 2936749"/>
                <a:gd name="connsiteY3" fmla="*/ 0 h 257442"/>
                <a:gd name="connsiteX0" fmla="*/ 2936749 w 2936749"/>
                <a:gd name="connsiteY0" fmla="*/ 0 h 257442"/>
                <a:gd name="connsiteX1" fmla="*/ 2880111 w 2936749"/>
                <a:gd name="connsiteY1" fmla="*/ 257442 h 257442"/>
                <a:gd name="connsiteX2" fmla="*/ 0 w 2936749"/>
                <a:gd name="connsiteY2" fmla="*/ 257442 h 257442"/>
                <a:gd name="connsiteX3" fmla="*/ 56638 w 2936749"/>
                <a:gd name="connsiteY3" fmla="*/ 0 h 257442"/>
                <a:gd name="connsiteX0" fmla="*/ 2936749 w 2936749"/>
                <a:gd name="connsiteY0" fmla="*/ 0 h 257442"/>
                <a:gd name="connsiteX1" fmla="*/ 2880111 w 2936749"/>
                <a:gd name="connsiteY1" fmla="*/ 257442 h 257442"/>
                <a:gd name="connsiteX2" fmla="*/ 0 w 2936749"/>
                <a:gd name="connsiteY2" fmla="*/ 257442 h 257442"/>
                <a:gd name="connsiteX3" fmla="*/ 56638 w 2936749"/>
                <a:gd name="connsiteY3" fmla="*/ 0 h 257442"/>
                <a:gd name="connsiteX0" fmla="*/ 984112 w 2880111"/>
                <a:gd name="connsiteY0" fmla="*/ 0 h 257442"/>
                <a:gd name="connsiteX1" fmla="*/ 2880111 w 2880111"/>
                <a:gd name="connsiteY1" fmla="*/ 257442 h 257442"/>
                <a:gd name="connsiteX2" fmla="*/ 0 w 2880111"/>
                <a:gd name="connsiteY2" fmla="*/ 257442 h 257442"/>
                <a:gd name="connsiteX3" fmla="*/ 56638 w 2880111"/>
                <a:gd name="connsiteY3" fmla="*/ 0 h 257442"/>
                <a:gd name="connsiteX0" fmla="*/ 984112 w 984112"/>
                <a:gd name="connsiteY0" fmla="*/ 0 h 257442"/>
                <a:gd name="connsiteX1" fmla="*/ 927474 w 984112"/>
                <a:gd name="connsiteY1" fmla="*/ 257442 h 257442"/>
                <a:gd name="connsiteX2" fmla="*/ 0 w 984112"/>
                <a:gd name="connsiteY2" fmla="*/ 257442 h 257442"/>
                <a:gd name="connsiteX3" fmla="*/ 56638 w 984112"/>
                <a:gd name="connsiteY3" fmla="*/ 0 h 257442"/>
                <a:gd name="connsiteX0" fmla="*/ 984112 w 984112"/>
                <a:gd name="connsiteY0" fmla="*/ 0 h 257442"/>
                <a:gd name="connsiteX1" fmla="*/ 927474 w 984112"/>
                <a:gd name="connsiteY1" fmla="*/ 257442 h 257442"/>
                <a:gd name="connsiteX2" fmla="*/ 0 w 984112"/>
                <a:gd name="connsiteY2" fmla="*/ 257442 h 257442"/>
                <a:gd name="connsiteX3" fmla="*/ 56638 w 984112"/>
                <a:gd name="connsiteY3" fmla="*/ 0 h 257442"/>
                <a:gd name="connsiteX0" fmla="*/ 984112 w 984112"/>
                <a:gd name="connsiteY0" fmla="*/ 0 h 257442"/>
                <a:gd name="connsiteX1" fmla="*/ 927474 w 984112"/>
                <a:gd name="connsiteY1" fmla="*/ 257442 h 257442"/>
                <a:gd name="connsiteX2" fmla="*/ 0 w 984112"/>
                <a:gd name="connsiteY2" fmla="*/ 257442 h 257442"/>
                <a:gd name="connsiteX3" fmla="*/ 56638 w 984112"/>
                <a:gd name="connsiteY3" fmla="*/ 0 h 257442"/>
                <a:gd name="connsiteX0" fmla="*/ 1262853 w 1262853"/>
                <a:gd name="connsiteY0" fmla="*/ 0 h 257442"/>
                <a:gd name="connsiteX1" fmla="*/ 927474 w 1262853"/>
                <a:gd name="connsiteY1" fmla="*/ 257442 h 257442"/>
                <a:gd name="connsiteX2" fmla="*/ 0 w 1262853"/>
                <a:gd name="connsiteY2" fmla="*/ 257442 h 257442"/>
                <a:gd name="connsiteX3" fmla="*/ 56638 w 1262853"/>
                <a:gd name="connsiteY3" fmla="*/ 0 h 257442"/>
                <a:gd name="connsiteX0" fmla="*/ 1262853 w 1262853"/>
                <a:gd name="connsiteY0" fmla="*/ 0 h 257442"/>
                <a:gd name="connsiteX1" fmla="*/ 1206215 w 1262853"/>
                <a:gd name="connsiteY1" fmla="*/ 257442 h 257442"/>
                <a:gd name="connsiteX2" fmla="*/ 0 w 1262853"/>
                <a:gd name="connsiteY2" fmla="*/ 257442 h 257442"/>
                <a:gd name="connsiteX3" fmla="*/ 56638 w 1262853"/>
                <a:gd name="connsiteY3" fmla="*/ 0 h 257442"/>
                <a:gd name="connsiteX0" fmla="*/ 1262853 w 1262853"/>
                <a:gd name="connsiteY0" fmla="*/ 0 h 257442"/>
                <a:gd name="connsiteX1" fmla="*/ 1206215 w 1262853"/>
                <a:gd name="connsiteY1" fmla="*/ 257442 h 257442"/>
                <a:gd name="connsiteX2" fmla="*/ 0 w 1262853"/>
                <a:gd name="connsiteY2" fmla="*/ 257442 h 257442"/>
                <a:gd name="connsiteX3" fmla="*/ 56638 w 1262853"/>
                <a:gd name="connsiteY3" fmla="*/ 0 h 257442"/>
                <a:gd name="connsiteX0" fmla="*/ 1262853 w 1262853"/>
                <a:gd name="connsiteY0" fmla="*/ 0 h 257442"/>
                <a:gd name="connsiteX1" fmla="*/ 1206215 w 1262853"/>
                <a:gd name="connsiteY1" fmla="*/ 257442 h 257442"/>
                <a:gd name="connsiteX2" fmla="*/ 0 w 1262853"/>
                <a:gd name="connsiteY2" fmla="*/ 257442 h 257442"/>
                <a:gd name="connsiteX3" fmla="*/ 56638 w 1262853"/>
                <a:gd name="connsiteY3" fmla="*/ 0 h 257442"/>
                <a:gd name="connsiteX0" fmla="*/ 1088640 w 1206215"/>
                <a:gd name="connsiteY0" fmla="*/ 0 h 257442"/>
                <a:gd name="connsiteX1" fmla="*/ 1206215 w 1206215"/>
                <a:gd name="connsiteY1" fmla="*/ 257442 h 257442"/>
                <a:gd name="connsiteX2" fmla="*/ 0 w 1206215"/>
                <a:gd name="connsiteY2" fmla="*/ 257442 h 257442"/>
                <a:gd name="connsiteX3" fmla="*/ 56638 w 1206215"/>
                <a:gd name="connsiteY3" fmla="*/ 0 h 257442"/>
                <a:gd name="connsiteX0" fmla="*/ 1088640 w 1088640"/>
                <a:gd name="connsiteY0" fmla="*/ 0 h 257442"/>
                <a:gd name="connsiteX1" fmla="*/ 1032003 w 1088640"/>
                <a:gd name="connsiteY1" fmla="*/ 257442 h 257442"/>
                <a:gd name="connsiteX2" fmla="*/ 0 w 1088640"/>
                <a:gd name="connsiteY2" fmla="*/ 257442 h 257442"/>
                <a:gd name="connsiteX3" fmla="*/ 56638 w 1088640"/>
                <a:gd name="connsiteY3" fmla="*/ 0 h 257442"/>
                <a:gd name="connsiteX0" fmla="*/ 1088639 w 1088639"/>
                <a:gd name="connsiteY0" fmla="*/ 0 h 257442"/>
                <a:gd name="connsiteX1" fmla="*/ 1032002 w 1088639"/>
                <a:gd name="connsiteY1" fmla="*/ 257442 h 257442"/>
                <a:gd name="connsiteX2" fmla="*/ 0 w 1088639"/>
                <a:gd name="connsiteY2" fmla="*/ 257442 h 257442"/>
                <a:gd name="connsiteX3" fmla="*/ 56637 w 1088639"/>
                <a:gd name="connsiteY3" fmla="*/ 0 h 257442"/>
                <a:gd name="connsiteX0" fmla="*/ 1088639 w 1088639"/>
                <a:gd name="connsiteY0" fmla="*/ 0 h 257442"/>
                <a:gd name="connsiteX1" fmla="*/ 1032002 w 1088639"/>
                <a:gd name="connsiteY1" fmla="*/ 257442 h 257442"/>
                <a:gd name="connsiteX2" fmla="*/ 0 w 1088639"/>
                <a:gd name="connsiteY2" fmla="*/ 257442 h 257442"/>
                <a:gd name="connsiteX3" fmla="*/ 56638 w 1088639"/>
                <a:gd name="connsiteY3" fmla="*/ 0 h 257442"/>
                <a:gd name="connsiteX0" fmla="*/ 984113 w 1032002"/>
                <a:gd name="connsiteY0" fmla="*/ 0 h 257442"/>
                <a:gd name="connsiteX1" fmla="*/ 1032002 w 1032002"/>
                <a:gd name="connsiteY1" fmla="*/ 257442 h 257442"/>
                <a:gd name="connsiteX2" fmla="*/ 0 w 1032002"/>
                <a:gd name="connsiteY2" fmla="*/ 257442 h 257442"/>
                <a:gd name="connsiteX3" fmla="*/ 56638 w 1032002"/>
                <a:gd name="connsiteY3" fmla="*/ 0 h 257442"/>
                <a:gd name="connsiteX0" fmla="*/ 984113 w 984113"/>
                <a:gd name="connsiteY0" fmla="*/ 0 h 257442"/>
                <a:gd name="connsiteX1" fmla="*/ 927475 w 984113"/>
                <a:gd name="connsiteY1" fmla="*/ 257442 h 257442"/>
                <a:gd name="connsiteX2" fmla="*/ 0 w 984113"/>
                <a:gd name="connsiteY2" fmla="*/ 257442 h 257442"/>
                <a:gd name="connsiteX3" fmla="*/ 56638 w 984113"/>
                <a:gd name="connsiteY3" fmla="*/ 0 h 257442"/>
                <a:gd name="connsiteX0" fmla="*/ 984113 w 984113"/>
                <a:gd name="connsiteY0" fmla="*/ 0 h 257442"/>
                <a:gd name="connsiteX1" fmla="*/ 927475 w 984113"/>
                <a:gd name="connsiteY1" fmla="*/ 257442 h 257442"/>
                <a:gd name="connsiteX2" fmla="*/ 0 w 984113"/>
                <a:gd name="connsiteY2" fmla="*/ 257442 h 257442"/>
                <a:gd name="connsiteX3" fmla="*/ 56638 w 984113"/>
                <a:gd name="connsiteY3" fmla="*/ 0 h 257442"/>
                <a:gd name="connsiteX0" fmla="*/ 984113 w 984113"/>
                <a:gd name="connsiteY0" fmla="*/ 0 h 257442"/>
                <a:gd name="connsiteX1" fmla="*/ 927475 w 984113"/>
                <a:gd name="connsiteY1" fmla="*/ 257442 h 257442"/>
                <a:gd name="connsiteX2" fmla="*/ 0 w 984113"/>
                <a:gd name="connsiteY2" fmla="*/ 257442 h 257442"/>
                <a:gd name="connsiteX3" fmla="*/ 56638 w 984113"/>
                <a:gd name="connsiteY3" fmla="*/ 0 h 257442"/>
                <a:gd name="connsiteX0" fmla="*/ 1176576 w 1176576"/>
                <a:gd name="connsiteY0" fmla="*/ 0 h 257442"/>
                <a:gd name="connsiteX1" fmla="*/ 927475 w 1176576"/>
                <a:gd name="connsiteY1" fmla="*/ 257442 h 257442"/>
                <a:gd name="connsiteX2" fmla="*/ 0 w 1176576"/>
                <a:gd name="connsiteY2" fmla="*/ 257442 h 257442"/>
                <a:gd name="connsiteX3" fmla="*/ 56638 w 1176576"/>
                <a:gd name="connsiteY3" fmla="*/ 0 h 257442"/>
                <a:gd name="connsiteX0" fmla="*/ 1176576 w 1176576"/>
                <a:gd name="connsiteY0" fmla="*/ 0 h 257442"/>
                <a:gd name="connsiteX1" fmla="*/ 1119938 w 1176576"/>
                <a:gd name="connsiteY1" fmla="*/ 257442 h 257442"/>
                <a:gd name="connsiteX2" fmla="*/ 0 w 1176576"/>
                <a:gd name="connsiteY2" fmla="*/ 257442 h 257442"/>
                <a:gd name="connsiteX3" fmla="*/ 56638 w 1176576"/>
                <a:gd name="connsiteY3" fmla="*/ 0 h 257442"/>
                <a:gd name="connsiteX0" fmla="*/ 1176576 w 1176576"/>
                <a:gd name="connsiteY0" fmla="*/ 0 h 257442"/>
                <a:gd name="connsiteX1" fmla="*/ 1119938 w 1176576"/>
                <a:gd name="connsiteY1" fmla="*/ 257442 h 257442"/>
                <a:gd name="connsiteX2" fmla="*/ 0 w 1176576"/>
                <a:gd name="connsiteY2" fmla="*/ 257442 h 257442"/>
                <a:gd name="connsiteX3" fmla="*/ 56638 w 1176576"/>
                <a:gd name="connsiteY3" fmla="*/ 0 h 257442"/>
                <a:gd name="connsiteX0" fmla="*/ 1176576 w 1176576"/>
                <a:gd name="connsiteY0" fmla="*/ 0 h 257442"/>
                <a:gd name="connsiteX1" fmla="*/ 1119938 w 1176576"/>
                <a:gd name="connsiteY1" fmla="*/ 257442 h 257442"/>
                <a:gd name="connsiteX2" fmla="*/ 0 w 1176576"/>
                <a:gd name="connsiteY2" fmla="*/ 257442 h 257442"/>
                <a:gd name="connsiteX3" fmla="*/ 56638 w 1176576"/>
                <a:gd name="connsiteY3" fmla="*/ 0 h 257442"/>
                <a:gd name="connsiteX0" fmla="*/ 1350788 w 1350788"/>
                <a:gd name="connsiteY0" fmla="*/ 0 h 257442"/>
                <a:gd name="connsiteX1" fmla="*/ 1119938 w 1350788"/>
                <a:gd name="connsiteY1" fmla="*/ 257442 h 257442"/>
                <a:gd name="connsiteX2" fmla="*/ 0 w 1350788"/>
                <a:gd name="connsiteY2" fmla="*/ 257442 h 257442"/>
                <a:gd name="connsiteX3" fmla="*/ 56638 w 1350788"/>
                <a:gd name="connsiteY3" fmla="*/ 0 h 257442"/>
                <a:gd name="connsiteX0" fmla="*/ 1350788 w 1350788"/>
                <a:gd name="connsiteY0" fmla="*/ 0 h 257442"/>
                <a:gd name="connsiteX1" fmla="*/ 1294149 w 1350788"/>
                <a:gd name="connsiteY1" fmla="*/ 257442 h 257442"/>
                <a:gd name="connsiteX2" fmla="*/ 0 w 1350788"/>
                <a:gd name="connsiteY2" fmla="*/ 257442 h 257442"/>
                <a:gd name="connsiteX3" fmla="*/ 56638 w 1350788"/>
                <a:gd name="connsiteY3" fmla="*/ 0 h 257442"/>
                <a:gd name="connsiteX0" fmla="*/ 1350789 w 1350789"/>
                <a:gd name="connsiteY0" fmla="*/ 0 h 257442"/>
                <a:gd name="connsiteX1" fmla="*/ 1294150 w 1350789"/>
                <a:gd name="connsiteY1" fmla="*/ 257442 h 257442"/>
                <a:gd name="connsiteX2" fmla="*/ 0 w 1350789"/>
                <a:gd name="connsiteY2" fmla="*/ 257442 h 257442"/>
                <a:gd name="connsiteX3" fmla="*/ 56639 w 1350789"/>
                <a:gd name="connsiteY3" fmla="*/ 0 h 257442"/>
                <a:gd name="connsiteX0" fmla="*/ 1350789 w 1350789"/>
                <a:gd name="connsiteY0" fmla="*/ 0 h 257442"/>
                <a:gd name="connsiteX1" fmla="*/ 1294150 w 1350789"/>
                <a:gd name="connsiteY1" fmla="*/ 257442 h 257442"/>
                <a:gd name="connsiteX2" fmla="*/ 0 w 1350789"/>
                <a:gd name="connsiteY2" fmla="*/ 257442 h 257442"/>
                <a:gd name="connsiteX3" fmla="*/ 56639 w 1350789"/>
                <a:gd name="connsiteY3" fmla="*/ 0 h 257442"/>
                <a:gd name="connsiteX0" fmla="*/ 1692577 w 1692577"/>
                <a:gd name="connsiteY0" fmla="*/ 0 h 257442"/>
                <a:gd name="connsiteX1" fmla="*/ 1294150 w 1692577"/>
                <a:gd name="connsiteY1" fmla="*/ 257442 h 257442"/>
                <a:gd name="connsiteX2" fmla="*/ 0 w 1692577"/>
                <a:gd name="connsiteY2" fmla="*/ 257442 h 257442"/>
                <a:gd name="connsiteX3" fmla="*/ 56639 w 1692577"/>
                <a:gd name="connsiteY3" fmla="*/ 0 h 257442"/>
                <a:gd name="connsiteX0" fmla="*/ 1692577 w 1692577"/>
                <a:gd name="connsiteY0" fmla="*/ 0 h 257442"/>
                <a:gd name="connsiteX1" fmla="*/ 1635938 w 1692577"/>
                <a:gd name="connsiteY1" fmla="*/ 257442 h 257442"/>
                <a:gd name="connsiteX2" fmla="*/ 0 w 1692577"/>
                <a:gd name="connsiteY2" fmla="*/ 257442 h 257442"/>
                <a:gd name="connsiteX3" fmla="*/ 56639 w 1692577"/>
                <a:gd name="connsiteY3" fmla="*/ 0 h 257442"/>
                <a:gd name="connsiteX0" fmla="*/ 1692577 w 1692577"/>
                <a:gd name="connsiteY0" fmla="*/ 0 h 257442"/>
                <a:gd name="connsiteX1" fmla="*/ 1635938 w 1692577"/>
                <a:gd name="connsiteY1" fmla="*/ 257442 h 257442"/>
                <a:gd name="connsiteX2" fmla="*/ 0 w 1692577"/>
                <a:gd name="connsiteY2" fmla="*/ 257442 h 257442"/>
                <a:gd name="connsiteX3" fmla="*/ 56639 w 1692577"/>
                <a:gd name="connsiteY3" fmla="*/ 0 h 257442"/>
                <a:gd name="connsiteX0" fmla="*/ 1692577 w 1692577"/>
                <a:gd name="connsiteY0" fmla="*/ 0 h 257442"/>
                <a:gd name="connsiteX1" fmla="*/ 1635938 w 1692577"/>
                <a:gd name="connsiteY1" fmla="*/ 257442 h 257442"/>
                <a:gd name="connsiteX2" fmla="*/ 0 w 1692577"/>
                <a:gd name="connsiteY2" fmla="*/ 257442 h 257442"/>
                <a:gd name="connsiteX3" fmla="*/ 56638 w 1692577"/>
                <a:gd name="connsiteY3" fmla="*/ 0 h 257442"/>
                <a:gd name="connsiteX0" fmla="*/ 1885040 w 1885040"/>
                <a:gd name="connsiteY0" fmla="*/ 0 h 257442"/>
                <a:gd name="connsiteX1" fmla="*/ 1635938 w 1885040"/>
                <a:gd name="connsiteY1" fmla="*/ 257442 h 257442"/>
                <a:gd name="connsiteX2" fmla="*/ 0 w 1885040"/>
                <a:gd name="connsiteY2" fmla="*/ 257442 h 257442"/>
                <a:gd name="connsiteX3" fmla="*/ 56638 w 1885040"/>
                <a:gd name="connsiteY3" fmla="*/ 0 h 257442"/>
                <a:gd name="connsiteX0" fmla="*/ 1885040 w 1885040"/>
                <a:gd name="connsiteY0" fmla="*/ 0 h 257442"/>
                <a:gd name="connsiteX1" fmla="*/ 1828402 w 1885040"/>
                <a:gd name="connsiteY1" fmla="*/ 257442 h 257442"/>
                <a:gd name="connsiteX2" fmla="*/ 0 w 1885040"/>
                <a:gd name="connsiteY2" fmla="*/ 257442 h 257442"/>
                <a:gd name="connsiteX3" fmla="*/ 56638 w 1885040"/>
                <a:gd name="connsiteY3" fmla="*/ 0 h 257442"/>
                <a:gd name="connsiteX0" fmla="*/ 1885040 w 1885040"/>
                <a:gd name="connsiteY0" fmla="*/ 0 h 257442"/>
                <a:gd name="connsiteX1" fmla="*/ 1828402 w 1885040"/>
                <a:gd name="connsiteY1" fmla="*/ 257442 h 257442"/>
                <a:gd name="connsiteX2" fmla="*/ 0 w 1885040"/>
                <a:gd name="connsiteY2" fmla="*/ 257442 h 257442"/>
                <a:gd name="connsiteX3" fmla="*/ 56638 w 1885040"/>
                <a:gd name="connsiteY3" fmla="*/ 0 h 257442"/>
                <a:gd name="connsiteX0" fmla="*/ 1885040 w 1885040"/>
                <a:gd name="connsiteY0" fmla="*/ 0 h 257442"/>
                <a:gd name="connsiteX1" fmla="*/ 1828402 w 1885040"/>
                <a:gd name="connsiteY1" fmla="*/ 257442 h 257442"/>
                <a:gd name="connsiteX2" fmla="*/ 0 w 1885040"/>
                <a:gd name="connsiteY2" fmla="*/ 257442 h 257442"/>
                <a:gd name="connsiteX3" fmla="*/ 56638 w 1885040"/>
                <a:gd name="connsiteY3" fmla="*/ 0 h 257442"/>
                <a:gd name="connsiteX0" fmla="*/ 2059253 w 2059253"/>
                <a:gd name="connsiteY0" fmla="*/ 0 h 257442"/>
                <a:gd name="connsiteX1" fmla="*/ 1828402 w 2059253"/>
                <a:gd name="connsiteY1" fmla="*/ 257442 h 257442"/>
                <a:gd name="connsiteX2" fmla="*/ 0 w 2059253"/>
                <a:gd name="connsiteY2" fmla="*/ 257442 h 257442"/>
                <a:gd name="connsiteX3" fmla="*/ 56638 w 2059253"/>
                <a:gd name="connsiteY3" fmla="*/ 0 h 257442"/>
                <a:gd name="connsiteX0" fmla="*/ 2059253 w 2059253"/>
                <a:gd name="connsiteY0" fmla="*/ 0 h 257442"/>
                <a:gd name="connsiteX1" fmla="*/ 2002615 w 2059253"/>
                <a:gd name="connsiteY1" fmla="*/ 257442 h 257442"/>
                <a:gd name="connsiteX2" fmla="*/ 0 w 2059253"/>
                <a:gd name="connsiteY2" fmla="*/ 257442 h 257442"/>
                <a:gd name="connsiteX3" fmla="*/ 56638 w 2059253"/>
                <a:gd name="connsiteY3" fmla="*/ 0 h 257442"/>
                <a:gd name="connsiteX0" fmla="*/ 2059253 w 2059253"/>
                <a:gd name="connsiteY0" fmla="*/ 0 h 257442"/>
                <a:gd name="connsiteX1" fmla="*/ 2002615 w 2059253"/>
                <a:gd name="connsiteY1" fmla="*/ 257442 h 257442"/>
                <a:gd name="connsiteX2" fmla="*/ 0 w 2059253"/>
                <a:gd name="connsiteY2" fmla="*/ 257442 h 257442"/>
                <a:gd name="connsiteX3" fmla="*/ 56638 w 2059253"/>
                <a:gd name="connsiteY3" fmla="*/ 0 h 257442"/>
                <a:gd name="connsiteX0" fmla="*/ 2059253 w 2059253"/>
                <a:gd name="connsiteY0" fmla="*/ 0 h 257442"/>
                <a:gd name="connsiteX1" fmla="*/ 2002615 w 2059253"/>
                <a:gd name="connsiteY1" fmla="*/ 257442 h 257442"/>
                <a:gd name="connsiteX2" fmla="*/ 0 w 2059253"/>
                <a:gd name="connsiteY2" fmla="*/ 257442 h 257442"/>
                <a:gd name="connsiteX3" fmla="*/ 56638 w 2059253"/>
                <a:gd name="connsiteY3" fmla="*/ 0 h 257442"/>
                <a:gd name="connsiteX0" fmla="*/ 1885040 w 2002615"/>
                <a:gd name="connsiteY0" fmla="*/ 0 h 257442"/>
                <a:gd name="connsiteX1" fmla="*/ 2002615 w 2002615"/>
                <a:gd name="connsiteY1" fmla="*/ 257442 h 257442"/>
                <a:gd name="connsiteX2" fmla="*/ 0 w 2002615"/>
                <a:gd name="connsiteY2" fmla="*/ 257442 h 257442"/>
                <a:gd name="connsiteX3" fmla="*/ 56638 w 2002615"/>
                <a:gd name="connsiteY3" fmla="*/ 0 h 257442"/>
                <a:gd name="connsiteX0" fmla="*/ 1885040 w 1885040"/>
                <a:gd name="connsiteY0" fmla="*/ 0 h 257442"/>
                <a:gd name="connsiteX1" fmla="*/ 1828402 w 1885040"/>
                <a:gd name="connsiteY1" fmla="*/ 257442 h 257442"/>
                <a:gd name="connsiteX2" fmla="*/ 0 w 1885040"/>
                <a:gd name="connsiteY2" fmla="*/ 257442 h 257442"/>
                <a:gd name="connsiteX3" fmla="*/ 56638 w 1885040"/>
                <a:gd name="connsiteY3" fmla="*/ 0 h 257442"/>
                <a:gd name="connsiteX0" fmla="*/ 1885039 w 1885039"/>
                <a:gd name="connsiteY0" fmla="*/ 0 h 257442"/>
                <a:gd name="connsiteX1" fmla="*/ 1828401 w 1885039"/>
                <a:gd name="connsiteY1" fmla="*/ 257442 h 257442"/>
                <a:gd name="connsiteX2" fmla="*/ 0 w 1885039"/>
                <a:gd name="connsiteY2" fmla="*/ 257442 h 257442"/>
                <a:gd name="connsiteX3" fmla="*/ 56637 w 1885039"/>
                <a:gd name="connsiteY3" fmla="*/ 0 h 257442"/>
                <a:gd name="connsiteX0" fmla="*/ 1885039 w 1885039"/>
                <a:gd name="connsiteY0" fmla="*/ 0 h 257442"/>
                <a:gd name="connsiteX1" fmla="*/ 1828401 w 1885039"/>
                <a:gd name="connsiteY1" fmla="*/ 257442 h 257442"/>
                <a:gd name="connsiteX2" fmla="*/ 0 w 1885039"/>
                <a:gd name="connsiteY2" fmla="*/ 257442 h 257442"/>
                <a:gd name="connsiteX3" fmla="*/ 56637 w 1885039"/>
                <a:gd name="connsiteY3" fmla="*/ 0 h 257442"/>
                <a:gd name="connsiteX0" fmla="*/ 1692576 w 1828401"/>
                <a:gd name="connsiteY0" fmla="*/ 0 h 257442"/>
                <a:gd name="connsiteX1" fmla="*/ 1828401 w 1828401"/>
                <a:gd name="connsiteY1" fmla="*/ 257442 h 257442"/>
                <a:gd name="connsiteX2" fmla="*/ 0 w 1828401"/>
                <a:gd name="connsiteY2" fmla="*/ 257442 h 257442"/>
                <a:gd name="connsiteX3" fmla="*/ 56637 w 1828401"/>
                <a:gd name="connsiteY3" fmla="*/ 0 h 257442"/>
                <a:gd name="connsiteX0" fmla="*/ 1692576 w 1692576"/>
                <a:gd name="connsiteY0" fmla="*/ 0 h 257442"/>
                <a:gd name="connsiteX1" fmla="*/ 1635939 w 1692576"/>
                <a:gd name="connsiteY1" fmla="*/ 257442 h 257442"/>
                <a:gd name="connsiteX2" fmla="*/ 0 w 1692576"/>
                <a:gd name="connsiteY2" fmla="*/ 257442 h 257442"/>
                <a:gd name="connsiteX3" fmla="*/ 56637 w 1692576"/>
                <a:gd name="connsiteY3" fmla="*/ 0 h 257442"/>
                <a:gd name="connsiteX0" fmla="*/ 1692576 w 1692576"/>
                <a:gd name="connsiteY0" fmla="*/ 0 h 257442"/>
                <a:gd name="connsiteX1" fmla="*/ 1635939 w 1692576"/>
                <a:gd name="connsiteY1" fmla="*/ 257442 h 257442"/>
                <a:gd name="connsiteX2" fmla="*/ 0 w 1692576"/>
                <a:gd name="connsiteY2" fmla="*/ 257442 h 257442"/>
                <a:gd name="connsiteX3" fmla="*/ 56637 w 1692576"/>
                <a:gd name="connsiteY3" fmla="*/ 0 h 257442"/>
                <a:gd name="connsiteX0" fmla="*/ 1692576 w 1692576"/>
                <a:gd name="connsiteY0" fmla="*/ 0 h 257442"/>
                <a:gd name="connsiteX1" fmla="*/ 1635939 w 1692576"/>
                <a:gd name="connsiteY1" fmla="*/ 257442 h 257442"/>
                <a:gd name="connsiteX2" fmla="*/ 0 w 1692576"/>
                <a:gd name="connsiteY2" fmla="*/ 257442 h 257442"/>
                <a:gd name="connsiteX3" fmla="*/ 56638 w 1692576"/>
                <a:gd name="connsiteY3" fmla="*/ 0 h 257442"/>
                <a:gd name="connsiteX0" fmla="*/ 1866790 w 1866790"/>
                <a:gd name="connsiteY0" fmla="*/ 0 h 257442"/>
                <a:gd name="connsiteX1" fmla="*/ 1635939 w 1866790"/>
                <a:gd name="connsiteY1" fmla="*/ 257442 h 257442"/>
                <a:gd name="connsiteX2" fmla="*/ 0 w 1866790"/>
                <a:gd name="connsiteY2" fmla="*/ 257442 h 257442"/>
                <a:gd name="connsiteX3" fmla="*/ 56638 w 1866790"/>
                <a:gd name="connsiteY3" fmla="*/ 0 h 257442"/>
                <a:gd name="connsiteX0" fmla="*/ 1866790 w 1866790"/>
                <a:gd name="connsiteY0" fmla="*/ 0 h 257442"/>
                <a:gd name="connsiteX1" fmla="*/ 1810152 w 1866790"/>
                <a:gd name="connsiteY1" fmla="*/ 257442 h 257442"/>
                <a:gd name="connsiteX2" fmla="*/ 0 w 1866790"/>
                <a:gd name="connsiteY2" fmla="*/ 257442 h 257442"/>
                <a:gd name="connsiteX3" fmla="*/ 56638 w 1866790"/>
                <a:gd name="connsiteY3" fmla="*/ 0 h 257442"/>
                <a:gd name="connsiteX0" fmla="*/ 1866790 w 1866790"/>
                <a:gd name="connsiteY0" fmla="*/ 0 h 257442"/>
                <a:gd name="connsiteX1" fmla="*/ 1810152 w 1866790"/>
                <a:gd name="connsiteY1" fmla="*/ 257442 h 257442"/>
                <a:gd name="connsiteX2" fmla="*/ 0 w 1866790"/>
                <a:gd name="connsiteY2" fmla="*/ 257442 h 257442"/>
                <a:gd name="connsiteX3" fmla="*/ 56638 w 1866790"/>
                <a:gd name="connsiteY3" fmla="*/ 0 h 257442"/>
                <a:gd name="connsiteX0" fmla="*/ 1866790 w 1866790"/>
                <a:gd name="connsiteY0" fmla="*/ 0 h 257442"/>
                <a:gd name="connsiteX1" fmla="*/ 1810152 w 1866790"/>
                <a:gd name="connsiteY1" fmla="*/ 257442 h 257442"/>
                <a:gd name="connsiteX2" fmla="*/ 0 w 1866790"/>
                <a:gd name="connsiteY2" fmla="*/ 257442 h 257442"/>
                <a:gd name="connsiteX3" fmla="*/ 56638 w 1866790"/>
                <a:gd name="connsiteY3" fmla="*/ 0 h 257442"/>
                <a:gd name="connsiteX0" fmla="*/ 2137234 w 2137234"/>
                <a:gd name="connsiteY0" fmla="*/ 0 h 257442"/>
                <a:gd name="connsiteX1" fmla="*/ 1810152 w 2137234"/>
                <a:gd name="connsiteY1" fmla="*/ 257442 h 257442"/>
                <a:gd name="connsiteX2" fmla="*/ 0 w 2137234"/>
                <a:gd name="connsiteY2" fmla="*/ 257442 h 257442"/>
                <a:gd name="connsiteX3" fmla="*/ 56638 w 2137234"/>
                <a:gd name="connsiteY3" fmla="*/ 0 h 257442"/>
                <a:gd name="connsiteX0" fmla="*/ 2137234 w 2137234"/>
                <a:gd name="connsiteY0" fmla="*/ 0 h 257442"/>
                <a:gd name="connsiteX1" fmla="*/ 2080595 w 2137234"/>
                <a:gd name="connsiteY1" fmla="*/ 257442 h 257442"/>
                <a:gd name="connsiteX2" fmla="*/ 0 w 2137234"/>
                <a:gd name="connsiteY2" fmla="*/ 257442 h 257442"/>
                <a:gd name="connsiteX3" fmla="*/ 56638 w 2137234"/>
                <a:gd name="connsiteY3" fmla="*/ 0 h 257442"/>
                <a:gd name="connsiteX0" fmla="*/ 2137235 w 2137235"/>
                <a:gd name="connsiteY0" fmla="*/ 0 h 257442"/>
                <a:gd name="connsiteX1" fmla="*/ 2080596 w 2137235"/>
                <a:gd name="connsiteY1" fmla="*/ 257442 h 257442"/>
                <a:gd name="connsiteX2" fmla="*/ 0 w 2137235"/>
                <a:gd name="connsiteY2" fmla="*/ 257442 h 257442"/>
                <a:gd name="connsiteX3" fmla="*/ 56639 w 2137235"/>
                <a:gd name="connsiteY3" fmla="*/ 0 h 257442"/>
                <a:gd name="connsiteX0" fmla="*/ 2137235 w 2137235"/>
                <a:gd name="connsiteY0" fmla="*/ 0 h 257442"/>
                <a:gd name="connsiteX1" fmla="*/ 2080596 w 2137235"/>
                <a:gd name="connsiteY1" fmla="*/ 257442 h 257442"/>
                <a:gd name="connsiteX2" fmla="*/ 0 w 2137235"/>
                <a:gd name="connsiteY2" fmla="*/ 257442 h 257442"/>
                <a:gd name="connsiteX3" fmla="*/ 56639 w 2137235"/>
                <a:gd name="connsiteY3" fmla="*/ 0 h 257442"/>
                <a:gd name="connsiteX0" fmla="*/ 2424271 w 2424271"/>
                <a:gd name="connsiteY0" fmla="*/ 0 h 257442"/>
                <a:gd name="connsiteX1" fmla="*/ 2080596 w 2424271"/>
                <a:gd name="connsiteY1" fmla="*/ 257442 h 257442"/>
                <a:gd name="connsiteX2" fmla="*/ 0 w 2424271"/>
                <a:gd name="connsiteY2" fmla="*/ 257442 h 257442"/>
                <a:gd name="connsiteX3" fmla="*/ 56639 w 2424271"/>
                <a:gd name="connsiteY3" fmla="*/ 0 h 257442"/>
                <a:gd name="connsiteX0" fmla="*/ 2424271 w 2424271"/>
                <a:gd name="connsiteY0" fmla="*/ 0 h 257442"/>
                <a:gd name="connsiteX1" fmla="*/ 2367632 w 2424271"/>
                <a:gd name="connsiteY1" fmla="*/ 257442 h 257442"/>
                <a:gd name="connsiteX2" fmla="*/ 0 w 2424271"/>
                <a:gd name="connsiteY2" fmla="*/ 257442 h 257442"/>
                <a:gd name="connsiteX3" fmla="*/ 56639 w 2424271"/>
                <a:gd name="connsiteY3" fmla="*/ 0 h 257442"/>
                <a:gd name="connsiteX0" fmla="*/ 2424271 w 2424271"/>
                <a:gd name="connsiteY0" fmla="*/ 0 h 257442"/>
                <a:gd name="connsiteX1" fmla="*/ 2367632 w 2424271"/>
                <a:gd name="connsiteY1" fmla="*/ 257442 h 257442"/>
                <a:gd name="connsiteX2" fmla="*/ 0 w 2424271"/>
                <a:gd name="connsiteY2" fmla="*/ 257442 h 257442"/>
                <a:gd name="connsiteX3" fmla="*/ 56639 w 2424271"/>
                <a:gd name="connsiteY3" fmla="*/ 0 h 257442"/>
                <a:gd name="connsiteX0" fmla="*/ 2424271 w 2424271"/>
                <a:gd name="connsiteY0" fmla="*/ 0 h 257442"/>
                <a:gd name="connsiteX1" fmla="*/ 2367632 w 2424271"/>
                <a:gd name="connsiteY1" fmla="*/ 257442 h 257442"/>
                <a:gd name="connsiteX2" fmla="*/ 0 w 2424271"/>
                <a:gd name="connsiteY2" fmla="*/ 257442 h 257442"/>
                <a:gd name="connsiteX3" fmla="*/ 56638 w 2424271"/>
                <a:gd name="connsiteY3" fmla="*/ 0 h 257442"/>
                <a:gd name="connsiteX0" fmla="*/ 2608438 w 2608438"/>
                <a:gd name="connsiteY0" fmla="*/ 0 h 257442"/>
                <a:gd name="connsiteX1" fmla="*/ 2367632 w 2608438"/>
                <a:gd name="connsiteY1" fmla="*/ 257442 h 257442"/>
                <a:gd name="connsiteX2" fmla="*/ 0 w 2608438"/>
                <a:gd name="connsiteY2" fmla="*/ 257442 h 257442"/>
                <a:gd name="connsiteX3" fmla="*/ 56638 w 2608438"/>
                <a:gd name="connsiteY3" fmla="*/ 0 h 257442"/>
                <a:gd name="connsiteX0" fmla="*/ 2608438 w 2608438"/>
                <a:gd name="connsiteY0" fmla="*/ 0 h 257442"/>
                <a:gd name="connsiteX1" fmla="*/ 2551800 w 2608438"/>
                <a:gd name="connsiteY1" fmla="*/ 257442 h 257442"/>
                <a:gd name="connsiteX2" fmla="*/ 0 w 2608438"/>
                <a:gd name="connsiteY2" fmla="*/ 257442 h 257442"/>
                <a:gd name="connsiteX3" fmla="*/ 56638 w 2608438"/>
                <a:gd name="connsiteY3" fmla="*/ 0 h 257442"/>
                <a:gd name="connsiteX0" fmla="*/ 2608438 w 2608438"/>
                <a:gd name="connsiteY0" fmla="*/ 0 h 257442"/>
                <a:gd name="connsiteX1" fmla="*/ 2551800 w 2608438"/>
                <a:gd name="connsiteY1" fmla="*/ 257442 h 257442"/>
                <a:gd name="connsiteX2" fmla="*/ 0 w 2608438"/>
                <a:gd name="connsiteY2" fmla="*/ 257442 h 257442"/>
                <a:gd name="connsiteX3" fmla="*/ 56638 w 2608438"/>
                <a:gd name="connsiteY3" fmla="*/ 0 h 257442"/>
                <a:gd name="connsiteX0" fmla="*/ 2608438 w 2608438"/>
                <a:gd name="connsiteY0" fmla="*/ 0 h 257442"/>
                <a:gd name="connsiteX1" fmla="*/ 2551800 w 2608438"/>
                <a:gd name="connsiteY1" fmla="*/ 257442 h 257442"/>
                <a:gd name="connsiteX2" fmla="*/ 0 w 2608438"/>
                <a:gd name="connsiteY2" fmla="*/ 257442 h 257442"/>
                <a:gd name="connsiteX3" fmla="*/ 56638 w 2608438"/>
                <a:gd name="connsiteY3" fmla="*/ 0 h 257442"/>
                <a:gd name="connsiteX0" fmla="*/ 2800902 w 2800902"/>
                <a:gd name="connsiteY0" fmla="*/ 0 h 257442"/>
                <a:gd name="connsiteX1" fmla="*/ 2551800 w 2800902"/>
                <a:gd name="connsiteY1" fmla="*/ 257442 h 257442"/>
                <a:gd name="connsiteX2" fmla="*/ 0 w 2800902"/>
                <a:gd name="connsiteY2" fmla="*/ 257442 h 257442"/>
                <a:gd name="connsiteX3" fmla="*/ 56638 w 2800902"/>
                <a:gd name="connsiteY3" fmla="*/ 0 h 257442"/>
                <a:gd name="connsiteX0" fmla="*/ 2800902 w 2800902"/>
                <a:gd name="connsiteY0" fmla="*/ 0 h 257442"/>
                <a:gd name="connsiteX1" fmla="*/ 2744264 w 2800902"/>
                <a:gd name="connsiteY1" fmla="*/ 257442 h 257442"/>
                <a:gd name="connsiteX2" fmla="*/ 0 w 2800902"/>
                <a:gd name="connsiteY2" fmla="*/ 257442 h 257442"/>
                <a:gd name="connsiteX3" fmla="*/ 56638 w 2800902"/>
                <a:gd name="connsiteY3" fmla="*/ 0 h 257442"/>
                <a:gd name="connsiteX0" fmla="*/ 2800902 w 2800902"/>
                <a:gd name="connsiteY0" fmla="*/ 0 h 257442"/>
                <a:gd name="connsiteX1" fmla="*/ 2744264 w 2800902"/>
                <a:gd name="connsiteY1" fmla="*/ 257442 h 257442"/>
                <a:gd name="connsiteX2" fmla="*/ 0 w 2800902"/>
                <a:gd name="connsiteY2" fmla="*/ 257442 h 257442"/>
                <a:gd name="connsiteX3" fmla="*/ 56638 w 2800902"/>
                <a:gd name="connsiteY3" fmla="*/ 0 h 257442"/>
                <a:gd name="connsiteX0" fmla="*/ 2800902 w 2800902"/>
                <a:gd name="connsiteY0" fmla="*/ 0 h 257442"/>
                <a:gd name="connsiteX1" fmla="*/ 2744264 w 2800902"/>
                <a:gd name="connsiteY1" fmla="*/ 257442 h 257442"/>
                <a:gd name="connsiteX2" fmla="*/ 0 w 2800902"/>
                <a:gd name="connsiteY2" fmla="*/ 257442 h 257442"/>
                <a:gd name="connsiteX3" fmla="*/ 56638 w 2800902"/>
                <a:gd name="connsiteY3" fmla="*/ 0 h 257442"/>
                <a:gd name="connsiteX0" fmla="*/ 2993365 w 2993365"/>
                <a:gd name="connsiteY0" fmla="*/ 0 h 257442"/>
                <a:gd name="connsiteX1" fmla="*/ 2744264 w 2993365"/>
                <a:gd name="connsiteY1" fmla="*/ 257442 h 257442"/>
                <a:gd name="connsiteX2" fmla="*/ 0 w 2993365"/>
                <a:gd name="connsiteY2" fmla="*/ 257442 h 257442"/>
                <a:gd name="connsiteX3" fmla="*/ 56638 w 2993365"/>
                <a:gd name="connsiteY3" fmla="*/ 0 h 257442"/>
                <a:gd name="connsiteX0" fmla="*/ 2993365 w 2993365"/>
                <a:gd name="connsiteY0" fmla="*/ 0 h 257442"/>
                <a:gd name="connsiteX1" fmla="*/ 2936727 w 2993365"/>
                <a:gd name="connsiteY1" fmla="*/ 257442 h 257442"/>
                <a:gd name="connsiteX2" fmla="*/ 0 w 2993365"/>
                <a:gd name="connsiteY2" fmla="*/ 257442 h 257442"/>
                <a:gd name="connsiteX3" fmla="*/ 56638 w 2993365"/>
                <a:gd name="connsiteY3" fmla="*/ 0 h 257442"/>
                <a:gd name="connsiteX0" fmla="*/ 2993365 w 2993365"/>
                <a:gd name="connsiteY0" fmla="*/ 0 h 257442"/>
                <a:gd name="connsiteX1" fmla="*/ 2936727 w 2993365"/>
                <a:gd name="connsiteY1" fmla="*/ 257442 h 257442"/>
                <a:gd name="connsiteX2" fmla="*/ 0 w 2993365"/>
                <a:gd name="connsiteY2" fmla="*/ 257442 h 257442"/>
                <a:gd name="connsiteX3" fmla="*/ 56638 w 2993365"/>
                <a:gd name="connsiteY3" fmla="*/ 0 h 257442"/>
                <a:gd name="connsiteX0" fmla="*/ 2993365 w 2993365"/>
                <a:gd name="connsiteY0" fmla="*/ 0 h 257442"/>
                <a:gd name="connsiteX1" fmla="*/ 2936727 w 2993365"/>
                <a:gd name="connsiteY1" fmla="*/ 257442 h 257442"/>
                <a:gd name="connsiteX2" fmla="*/ 0 w 2993365"/>
                <a:gd name="connsiteY2" fmla="*/ 257442 h 257442"/>
                <a:gd name="connsiteX3" fmla="*/ 56638 w 2993365"/>
                <a:gd name="connsiteY3" fmla="*/ 0 h 257442"/>
                <a:gd name="connsiteX0" fmla="*/ 3159281 w 3159281"/>
                <a:gd name="connsiteY0" fmla="*/ 0 h 257442"/>
                <a:gd name="connsiteX1" fmla="*/ 2936727 w 3159281"/>
                <a:gd name="connsiteY1" fmla="*/ 257442 h 257442"/>
                <a:gd name="connsiteX2" fmla="*/ 0 w 3159281"/>
                <a:gd name="connsiteY2" fmla="*/ 257442 h 257442"/>
                <a:gd name="connsiteX3" fmla="*/ 56638 w 3159281"/>
                <a:gd name="connsiteY3" fmla="*/ 0 h 257442"/>
                <a:gd name="connsiteX0" fmla="*/ 3159281 w 3159281"/>
                <a:gd name="connsiteY0" fmla="*/ 0 h 257442"/>
                <a:gd name="connsiteX1" fmla="*/ 3102643 w 3159281"/>
                <a:gd name="connsiteY1" fmla="*/ 257442 h 257442"/>
                <a:gd name="connsiteX2" fmla="*/ 0 w 3159281"/>
                <a:gd name="connsiteY2" fmla="*/ 257442 h 257442"/>
                <a:gd name="connsiteX3" fmla="*/ 56638 w 3159281"/>
                <a:gd name="connsiteY3" fmla="*/ 0 h 257442"/>
                <a:gd name="connsiteX0" fmla="*/ 3159281 w 3159281"/>
                <a:gd name="connsiteY0" fmla="*/ 0 h 257442"/>
                <a:gd name="connsiteX1" fmla="*/ 3102643 w 3159281"/>
                <a:gd name="connsiteY1" fmla="*/ 257442 h 257442"/>
                <a:gd name="connsiteX2" fmla="*/ 0 w 3159281"/>
                <a:gd name="connsiteY2" fmla="*/ 257442 h 257442"/>
                <a:gd name="connsiteX3" fmla="*/ 56638 w 3159281"/>
                <a:gd name="connsiteY3" fmla="*/ 0 h 257442"/>
                <a:gd name="connsiteX0" fmla="*/ 3159281 w 3159281"/>
                <a:gd name="connsiteY0" fmla="*/ 0 h 257442"/>
                <a:gd name="connsiteX1" fmla="*/ 3102643 w 3159281"/>
                <a:gd name="connsiteY1" fmla="*/ 257442 h 257442"/>
                <a:gd name="connsiteX2" fmla="*/ 0 w 3159281"/>
                <a:gd name="connsiteY2" fmla="*/ 257442 h 257442"/>
                <a:gd name="connsiteX3" fmla="*/ 56638 w 3159281"/>
                <a:gd name="connsiteY3" fmla="*/ 0 h 257442"/>
                <a:gd name="connsiteX0" fmla="*/ 3333494 w 3333494"/>
                <a:gd name="connsiteY0" fmla="*/ 0 h 257442"/>
                <a:gd name="connsiteX1" fmla="*/ 3102643 w 3333494"/>
                <a:gd name="connsiteY1" fmla="*/ 257442 h 257442"/>
                <a:gd name="connsiteX2" fmla="*/ 0 w 3333494"/>
                <a:gd name="connsiteY2" fmla="*/ 257442 h 257442"/>
                <a:gd name="connsiteX3" fmla="*/ 56638 w 3333494"/>
                <a:gd name="connsiteY3" fmla="*/ 0 h 257442"/>
                <a:gd name="connsiteX0" fmla="*/ 3333494 w 3333494"/>
                <a:gd name="connsiteY0" fmla="*/ 0 h 257442"/>
                <a:gd name="connsiteX1" fmla="*/ 3276856 w 3333494"/>
                <a:gd name="connsiteY1" fmla="*/ 257442 h 257442"/>
                <a:gd name="connsiteX2" fmla="*/ 0 w 3333494"/>
                <a:gd name="connsiteY2" fmla="*/ 257442 h 257442"/>
                <a:gd name="connsiteX3" fmla="*/ 56638 w 3333494"/>
                <a:gd name="connsiteY3" fmla="*/ 0 h 257442"/>
                <a:gd name="connsiteX0" fmla="*/ 3333494 w 3333494"/>
                <a:gd name="connsiteY0" fmla="*/ 0 h 257442"/>
                <a:gd name="connsiteX1" fmla="*/ 3276856 w 3333494"/>
                <a:gd name="connsiteY1" fmla="*/ 257442 h 257442"/>
                <a:gd name="connsiteX2" fmla="*/ 0 w 3333494"/>
                <a:gd name="connsiteY2" fmla="*/ 257442 h 257442"/>
                <a:gd name="connsiteX3" fmla="*/ 56638 w 3333494"/>
                <a:gd name="connsiteY3" fmla="*/ 0 h 257442"/>
                <a:gd name="connsiteX0" fmla="*/ 3333494 w 3333494"/>
                <a:gd name="connsiteY0" fmla="*/ 0 h 257442"/>
                <a:gd name="connsiteX1" fmla="*/ 3276856 w 3333494"/>
                <a:gd name="connsiteY1" fmla="*/ 257442 h 257442"/>
                <a:gd name="connsiteX2" fmla="*/ 0 w 3333494"/>
                <a:gd name="connsiteY2" fmla="*/ 257442 h 257442"/>
                <a:gd name="connsiteX3" fmla="*/ 56638 w 3333494"/>
                <a:gd name="connsiteY3" fmla="*/ 0 h 257442"/>
                <a:gd name="connsiteX0" fmla="*/ 3507706 w 3507706"/>
                <a:gd name="connsiteY0" fmla="*/ 0 h 257442"/>
                <a:gd name="connsiteX1" fmla="*/ 3276856 w 3507706"/>
                <a:gd name="connsiteY1" fmla="*/ 257442 h 257442"/>
                <a:gd name="connsiteX2" fmla="*/ 0 w 3507706"/>
                <a:gd name="connsiteY2" fmla="*/ 257442 h 257442"/>
                <a:gd name="connsiteX3" fmla="*/ 56638 w 3507706"/>
                <a:gd name="connsiteY3" fmla="*/ 0 h 257442"/>
                <a:gd name="connsiteX0" fmla="*/ 3507706 w 3507706"/>
                <a:gd name="connsiteY0" fmla="*/ 0 h 257442"/>
                <a:gd name="connsiteX1" fmla="*/ 3451067 w 3507706"/>
                <a:gd name="connsiteY1" fmla="*/ 257442 h 257442"/>
                <a:gd name="connsiteX2" fmla="*/ 0 w 3507706"/>
                <a:gd name="connsiteY2" fmla="*/ 257442 h 257442"/>
                <a:gd name="connsiteX3" fmla="*/ 56638 w 3507706"/>
                <a:gd name="connsiteY3" fmla="*/ 0 h 257442"/>
                <a:gd name="connsiteX0" fmla="*/ 3507707 w 3507707"/>
                <a:gd name="connsiteY0" fmla="*/ 0 h 257442"/>
                <a:gd name="connsiteX1" fmla="*/ 3451068 w 3507707"/>
                <a:gd name="connsiteY1" fmla="*/ 257442 h 257442"/>
                <a:gd name="connsiteX2" fmla="*/ 0 w 3507707"/>
                <a:gd name="connsiteY2" fmla="*/ 257442 h 257442"/>
                <a:gd name="connsiteX3" fmla="*/ 56639 w 3507707"/>
                <a:gd name="connsiteY3" fmla="*/ 0 h 257442"/>
                <a:gd name="connsiteX0" fmla="*/ 3507707 w 3507707"/>
                <a:gd name="connsiteY0" fmla="*/ 0 h 257442"/>
                <a:gd name="connsiteX1" fmla="*/ 3451068 w 3507707"/>
                <a:gd name="connsiteY1" fmla="*/ 257442 h 257442"/>
                <a:gd name="connsiteX2" fmla="*/ 0 w 3507707"/>
                <a:gd name="connsiteY2" fmla="*/ 257442 h 257442"/>
                <a:gd name="connsiteX3" fmla="*/ 56639 w 3507707"/>
                <a:gd name="connsiteY3" fmla="*/ 0 h 257442"/>
                <a:gd name="connsiteX0" fmla="*/ 3673623 w 3673623"/>
                <a:gd name="connsiteY0" fmla="*/ 0 h 257442"/>
                <a:gd name="connsiteX1" fmla="*/ 3451068 w 3673623"/>
                <a:gd name="connsiteY1" fmla="*/ 257442 h 257442"/>
                <a:gd name="connsiteX2" fmla="*/ 0 w 3673623"/>
                <a:gd name="connsiteY2" fmla="*/ 257442 h 257442"/>
                <a:gd name="connsiteX3" fmla="*/ 56639 w 3673623"/>
                <a:gd name="connsiteY3" fmla="*/ 0 h 257442"/>
                <a:gd name="connsiteX0" fmla="*/ 3673623 w 3673623"/>
                <a:gd name="connsiteY0" fmla="*/ 0 h 257442"/>
                <a:gd name="connsiteX1" fmla="*/ 3616985 w 3673623"/>
                <a:gd name="connsiteY1" fmla="*/ 257442 h 257442"/>
                <a:gd name="connsiteX2" fmla="*/ 0 w 3673623"/>
                <a:gd name="connsiteY2" fmla="*/ 257442 h 257442"/>
                <a:gd name="connsiteX3" fmla="*/ 56639 w 3673623"/>
                <a:gd name="connsiteY3" fmla="*/ 0 h 257442"/>
                <a:gd name="connsiteX0" fmla="*/ 3673622 w 3673622"/>
                <a:gd name="connsiteY0" fmla="*/ 0 h 257442"/>
                <a:gd name="connsiteX1" fmla="*/ 3616984 w 3673622"/>
                <a:gd name="connsiteY1" fmla="*/ 257442 h 257442"/>
                <a:gd name="connsiteX2" fmla="*/ 0 w 3673622"/>
                <a:gd name="connsiteY2" fmla="*/ 257442 h 257442"/>
                <a:gd name="connsiteX3" fmla="*/ 56638 w 3673622"/>
                <a:gd name="connsiteY3" fmla="*/ 0 h 257442"/>
                <a:gd name="connsiteX0" fmla="*/ 3673622 w 3673622"/>
                <a:gd name="connsiteY0" fmla="*/ 0 h 257442"/>
                <a:gd name="connsiteX1" fmla="*/ 3616984 w 3673622"/>
                <a:gd name="connsiteY1" fmla="*/ 257442 h 257442"/>
                <a:gd name="connsiteX2" fmla="*/ 0 w 3673622"/>
                <a:gd name="connsiteY2" fmla="*/ 257442 h 257442"/>
                <a:gd name="connsiteX3" fmla="*/ 56637 w 3673622"/>
                <a:gd name="connsiteY3" fmla="*/ 0 h 257442"/>
                <a:gd name="connsiteX0" fmla="*/ 3962316 w 3962316"/>
                <a:gd name="connsiteY0" fmla="*/ 0 h 257442"/>
                <a:gd name="connsiteX1" fmla="*/ 3616984 w 3962316"/>
                <a:gd name="connsiteY1" fmla="*/ 257442 h 257442"/>
                <a:gd name="connsiteX2" fmla="*/ 0 w 3962316"/>
                <a:gd name="connsiteY2" fmla="*/ 257442 h 257442"/>
                <a:gd name="connsiteX3" fmla="*/ 56637 w 3962316"/>
                <a:gd name="connsiteY3" fmla="*/ 0 h 257442"/>
                <a:gd name="connsiteX0" fmla="*/ 3962316 w 3962316"/>
                <a:gd name="connsiteY0" fmla="*/ 0 h 257442"/>
                <a:gd name="connsiteX1" fmla="*/ 3905678 w 3962316"/>
                <a:gd name="connsiteY1" fmla="*/ 257442 h 257442"/>
                <a:gd name="connsiteX2" fmla="*/ 0 w 3962316"/>
                <a:gd name="connsiteY2" fmla="*/ 257442 h 257442"/>
                <a:gd name="connsiteX3" fmla="*/ 56637 w 3962316"/>
                <a:gd name="connsiteY3" fmla="*/ 0 h 257442"/>
                <a:gd name="connsiteX0" fmla="*/ 3962317 w 3962317"/>
                <a:gd name="connsiteY0" fmla="*/ 0 h 257442"/>
                <a:gd name="connsiteX1" fmla="*/ 3905679 w 3962317"/>
                <a:gd name="connsiteY1" fmla="*/ 257442 h 257442"/>
                <a:gd name="connsiteX2" fmla="*/ 0 w 3962317"/>
                <a:gd name="connsiteY2" fmla="*/ 257442 h 257442"/>
                <a:gd name="connsiteX3" fmla="*/ 56638 w 3962317"/>
                <a:gd name="connsiteY3" fmla="*/ 0 h 257442"/>
                <a:gd name="connsiteX0" fmla="*/ 3962317 w 3962317"/>
                <a:gd name="connsiteY0" fmla="*/ 0 h 257442"/>
                <a:gd name="connsiteX1" fmla="*/ 3905679 w 3962317"/>
                <a:gd name="connsiteY1" fmla="*/ 257442 h 257442"/>
                <a:gd name="connsiteX2" fmla="*/ 0 w 3962317"/>
                <a:gd name="connsiteY2" fmla="*/ 257442 h 257442"/>
                <a:gd name="connsiteX3" fmla="*/ 56639 w 3962317"/>
                <a:gd name="connsiteY3" fmla="*/ 0 h 257442"/>
                <a:gd name="connsiteX0" fmla="*/ 4136530 w 4136530"/>
                <a:gd name="connsiteY0" fmla="*/ 0 h 257442"/>
                <a:gd name="connsiteX1" fmla="*/ 3905679 w 4136530"/>
                <a:gd name="connsiteY1" fmla="*/ 257442 h 257442"/>
                <a:gd name="connsiteX2" fmla="*/ 0 w 4136530"/>
                <a:gd name="connsiteY2" fmla="*/ 257442 h 257442"/>
                <a:gd name="connsiteX3" fmla="*/ 56639 w 4136530"/>
                <a:gd name="connsiteY3" fmla="*/ 0 h 257442"/>
                <a:gd name="connsiteX0" fmla="*/ 4136530 w 4136530"/>
                <a:gd name="connsiteY0" fmla="*/ 0 h 257442"/>
                <a:gd name="connsiteX1" fmla="*/ 4079893 w 4136530"/>
                <a:gd name="connsiteY1" fmla="*/ 257442 h 257442"/>
                <a:gd name="connsiteX2" fmla="*/ 0 w 4136530"/>
                <a:gd name="connsiteY2" fmla="*/ 257442 h 257442"/>
                <a:gd name="connsiteX3" fmla="*/ 56639 w 4136530"/>
                <a:gd name="connsiteY3" fmla="*/ 0 h 257442"/>
                <a:gd name="connsiteX0" fmla="*/ 4136529 w 4136529"/>
                <a:gd name="connsiteY0" fmla="*/ 0 h 257442"/>
                <a:gd name="connsiteX1" fmla="*/ 4079892 w 4136529"/>
                <a:gd name="connsiteY1" fmla="*/ 257442 h 257442"/>
                <a:gd name="connsiteX2" fmla="*/ 0 w 4136529"/>
                <a:gd name="connsiteY2" fmla="*/ 257442 h 257442"/>
                <a:gd name="connsiteX3" fmla="*/ 56638 w 4136529"/>
                <a:gd name="connsiteY3" fmla="*/ 0 h 257442"/>
                <a:gd name="connsiteX0" fmla="*/ 4136529 w 4136529"/>
                <a:gd name="connsiteY0" fmla="*/ 0 h 257442"/>
                <a:gd name="connsiteX1" fmla="*/ 4079892 w 4136529"/>
                <a:gd name="connsiteY1" fmla="*/ 257442 h 257442"/>
                <a:gd name="connsiteX2" fmla="*/ 0 w 4136529"/>
                <a:gd name="connsiteY2" fmla="*/ 257442 h 257442"/>
                <a:gd name="connsiteX3" fmla="*/ 56637 w 4136529"/>
                <a:gd name="connsiteY3" fmla="*/ 0 h 257442"/>
                <a:gd name="connsiteX0" fmla="*/ 4320696 w 4320696"/>
                <a:gd name="connsiteY0" fmla="*/ 0 h 257442"/>
                <a:gd name="connsiteX1" fmla="*/ 4079892 w 4320696"/>
                <a:gd name="connsiteY1" fmla="*/ 257442 h 257442"/>
                <a:gd name="connsiteX2" fmla="*/ 0 w 4320696"/>
                <a:gd name="connsiteY2" fmla="*/ 257442 h 257442"/>
                <a:gd name="connsiteX3" fmla="*/ 56637 w 4320696"/>
                <a:gd name="connsiteY3" fmla="*/ 0 h 257442"/>
                <a:gd name="connsiteX0" fmla="*/ 4320696 w 4320696"/>
                <a:gd name="connsiteY0" fmla="*/ 0 h 257442"/>
                <a:gd name="connsiteX1" fmla="*/ 4264058 w 4320696"/>
                <a:gd name="connsiteY1" fmla="*/ 257442 h 257442"/>
                <a:gd name="connsiteX2" fmla="*/ 0 w 4320696"/>
                <a:gd name="connsiteY2" fmla="*/ 257442 h 257442"/>
                <a:gd name="connsiteX3" fmla="*/ 56637 w 4320696"/>
                <a:gd name="connsiteY3" fmla="*/ 0 h 257442"/>
                <a:gd name="connsiteX0" fmla="*/ 4320697 w 4320697"/>
                <a:gd name="connsiteY0" fmla="*/ 0 h 257442"/>
                <a:gd name="connsiteX1" fmla="*/ 4264059 w 4320697"/>
                <a:gd name="connsiteY1" fmla="*/ 257442 h 257442"/>
                <a:gd name="connsiteX2" fmla="*/ 0 w 4320697"/>
                <a:gd name="connsiteY2" fmla="*/ 257442 h 257442"/>
                <a:gd name="connsiteX3" fmla="*/ 56638 w 4320697"/>
                <a:gd name="connsiteY3" fmla="*/ 0 h 257442"/>
                <a:gd name="connsiteX0" fmla="*/ 4320697 w 4320697"/>
                <a:gd name="connsiteY0" fmla="*/ 0 h 257442"/>
                <a:gd name="connsiteX1" fmla="*/ 4264059 w 4320697"/>
                <a:gd name="connsiteY1" fmla="*/ 257442 h 257442"/>
                <a:gd name="connsiteX2" fmla="*/ 0 w 4320697"/>
                <a:gd name="connsiteY2" fmla="*/ 257442 h 257442"/>
                <a:gd name="connsiteX3" fmla="*/ 56638 w 4320697"/>
                <a:gd name="connsiteY3" fmla="*/ 0 h 257442"/>
                <a:gd name="connsiteX0" fmla="*/ 4494909 w 4494909"/>
                <a:gd name="connsiteY0" fmla="*/ 0 h 257442"/>
                <a:gd name="connsiteX1" fmla="*/ 4264059 w 4494909"/>
                <a:gd name="connsiteY1" fmla="*/ 257442 h 257442"/>
                <a:gd name="connsiteX2" fmla="*/ 0 w 4494909"/>
                <a:gd name="connsiteY2" fmla="*/ 257442 h 257442"/>
                <a:gd name="connsiteX3" fmla="*/ 56638 w 4494909"/>
                <a:gd name="connsiteY3" fmla="*/ 0 h 257442"/>
                <a:gd name="connsiteX0" fmla="*/ 4494909 w 4494909"/>
                <a:gd name="connsiteY0" fmla="*/ 0 h 257442"/>
                <a:gd name="connsiteX1" fmla="*/ 4438271 w 4494909"/>
                <a:gd name="connsiteY1" fmla="*/ 257442 h 257442"/>
                <a:gd name="connsiteX2" fmla="*/ 0 w 4494909"/>
                <a:gd name="connsiteY2" fmla="*/ 257442 h 257442"/>
                <a:gd name="connsiteX3" fmla="*/ 56638 w 4494909"/>
                <a:gd name="connsiteY3" fmla="*/ 0 h 257442"/>
                <a:gd name="connsiteX0" fmla="*/ 4494909 w 4494909"/>
                <a:gd name="connsiteY0" fmla="*/ 0 h 257442"/>
                <a:gd name="connsiteX1" fmla="*/ 4438271 w 4494909"/>
                <a:gd name="connsiteY1" fmla="*/ 257442 h 257442"/>
                <a:gd name="connsiteX2" fmla="*/ 0 w 4494909"/>
                <a:gd name="connsiteY2" fmla="*/ 257442 h 257442"/>
                <a:gd name="connsiteX3" fmla="*/ 56638 w 4494909"/>
                <a:gd name="connsiteY3" fmla="*/ 0 h 257442"/>
                <a:gd name="connsiteX0" fmla="*/ 4494909 w 4494909"/>
                <a:gd name="connsiteY0" fmla="*/ 0 h 257442"/>
                <a:gd name="connsiteX1" fmla="*/ 4438271 w 4494909"/>
                <a:gd name="connsiteY1" fmla="*/ 257442 h 257442"/>
                <a:gd name="connsiteX2" fmla="*/ 0 w 4494909"/>
                <a:gd name="connsiteY2" fmla="*/ 257442 h 257442"/>
                <a:gd name="connsiteX3" fmla="*/ 56638 w 4494909"/>
                <a:gd name="connsiteY3" fmla="*/ 0 h 257442"/>
                <a:gd name="connsiteX0" fmla="*/ 4669121 w 4669121"/>
                <a:gd name="connsiteY0" fmla="*/ 0 h 257442"/>
                <a:gd name="connsiteX1" fmla="*/ 4438271 w 4669121"/>
                <a:gd name="connsiteY1" fmla="*/ 257442 h 257442"/>
                <a:gd name="connsiteX2" fmla="*/ 0 w 4669121"/>
                <a:gd name="connsiteY2" fmla="*/ 257442 h 257442"/>
                <a:gd name="connsiteX3" fmla="*/ 56638 w 4669121"/>
                <a:gd name="connsiteY3" fmla="*/ 0 h 257442"/>
                <a:gd name="connsiteX0" fmla="*/ 4669121 w 4669121"/>
                <a:gd name="connsiteY0" fmla="*/ 0 h 257442"/>
                <a:gd name="connsiteX1" fmla="*/ 4612482 w 4669121"/>
                <a:gd name="connsiteY1" fmla="*/ 257442 h 257442"/>
                <a:gd name="connsiteX2" fmla="*/ 0 w 4669121"/>
                <a:gd name="connsiteY2" fmla="*/ 257442 h 257442"/>
                <a:gd name="connsiteX3" fmla="*/ 56638 w 4669121"/>
                <a:gd name="connsiteY3" fmla="*/ 0 h 257442"/>
                <a:gd name="connsiteX0" fmla="*/ 4669122 w 4669122"/>
                <a:gd name="connsiteY0" fmla="*/ 0 h 257442"/>
                <a:gd name="connsiteX1" fmla="*/ 4612483 w 4669122"/>
                <a:gd name="connsiteY1" fmla="*/ 257442 h 257442"/>
                <a:gd name="connsiteX2" fmla="*/ 0 w 4669122"/>
                <a:gd name="connsiteY2" fmla="*/ 257442 h 257442"/>
                <a:gd name="connsiteX3" fmla="*/ 56639 w 4669122"/>
                <a:gd name="connsiteY3" fmla="*/ 0 h 257442"/>
                <a:gd name="connsiteX0" fmla="*/ 4669122 w 4669122"/>
                <a:gd name="connsiteY0" fmla="*/ 0 h 257442"/>
                <a:gd name="connsiteX1" fmla="*/ 4612483 w 4669122"/>
                <a:gd name="connsiteY1" fmla="*/ 257442 h 257442"/>
                <a:gd name="connsiteX2" fmla="*/ 0 w 4669122"/>
                <a:gd name="connsiteY2" fmla="*/ 257442 h 257442"/>
                <a:gd name="connsiteX3" fmla="*/ 56639 w 4669122"/>
                <a:gd name="connsiteY3" fmla="*/ 0 h 257442"/>
                <a:gd name="connsiteX0" fmla="*/ 4947862 w 4947862"/>
                <a:gd name="connsiteY0" fmla="*/ 0 h 257442"/>
                <a:gd name="connsiteX1" fmla="*/ 4612483 w 4947862"/>
                <a:gd name="connsiteY1" fmla="*/ 257442 h 257442"/>
                <a:gd name="connsiteX2" fmla="*/ 0 w 4947862"/>
                <a:gd name="connsiteY2" fmla="*/ 257442 h 257442"/>
                <a:gd name="connsiteX3" fmla="*/ 56639 w 4947862"/>
                <a:gd name="connsiteY3" fmla="*/ 0 h 257442"/>
                <a:gd name="connsiteX0" fmla="*/ 4947862 w 4947862"/>
                <a:gd name="connsiteY0" fmla="*/ 0 h 257442"/>
                <a:gd name="connsiteX1" fmla="*/ 4891223 w 4947862"/>
                <a:gd name="connsiteY1" fmla="*/ 257442 h 257442"/>
                <a:gd name="connsiteX2" fmla="*/ 0 w 4947862"/>
                <a:gd name="connsiteY2" fmla="*/ 257442 h 257442"/>
                <a:gd name="connsiteX3" fmla="*/ 56639 w 4947862"/>
                <a:gd name="connsiteY3" fmla="*/ 0 h 257442"/>
                <a:gd name="connsiteX0" fmla="*/ 4947862 w 4947862"/>
                <a:gd name="connsiteY0" fmla="*/ 0 h 257442"/>
                <a:gd name="connsiteX1" fmla="*/ 4891223 w 4947862"/>
                <a:gd name="connsiteY1" fmla="*/ 257442 h 257442"/>
                <a:gd name="connsiteX2" fmla="*/ 0 w 4947862"/>
                <a:gd name="connsiteY2" fmla="*/ 257442 h 257442"/>
                <a:gd name="connsiteX3" fmla="*/ 56639 w 4947862"/>
                <a:gd name="connsiteY3" fmla="*/ 0 h 257442"/>
                <a:gd name="connsiteX0" fmla="*/ 4947862 w 4947862"/>
                <a:gd name="connsiteY0" fmla="*/ 0 h 257442"/>
                <a:gd name="connsiteX1" fmla="*/ 4891223 w 4947862"/>
                <a:gd name="connsiteY1" fmla="*/ 257442 h 257442"/>
                <a:gd name="connsiteX2" fmla="*/ 0 w 4947862"/>
                <a:gd name="connsiteY2" fmla="*/ 257442 h 257442"/>
                <a:gd name="connsiteX3" fmla="*/ 56638 w 4947862"/>
                <a:gd name="connsiteY3" fmla="*/ 0 h 257442"/>
                <a:gd name="connsiteX0" fmla="*/ 5226600 w 5226600"/>
                <a:gd name="connsiteY0" fmla="*/ 0 h 257442"/>
                <a:gd name="connsiteX1" fmla="*/ 4891223 w 5226600"/>
                <a:gd name="connsiteY1" fmla="*/ 257442 h 257442"/>
                <a:gd name="connsiteX2" fmla="*/ 0 w 5226600"/>
                <a:gd name="connsiteY2" fmla="*/ 257442 h 257442"/>
                <a:gd name="connsiteX3" fmla="*/ 56638 w 5226600"/>
                <a:gd name="connsiteY3" fmla="*/ 0 h 257442"/>
                <a:gd name="connsiteX0" fmla="*/ 5226600 w 5226600"/>
                <a:gd name="connsiteY0" fmla="*/ 0 h 257442"/>
                <a:gd name="connsiteX1" fmla="*/ 5169962 w 5226600"/>
                <a:gd name="connsiteY1" fmla="*/ 257442 h 257442"/>
                <a:gd name="connsiteX2" fmla="*/ 0 w 5226600"/>
                <a:gd name="connsiteY2" fmla="*/ 257442 h 257442"/>
                <a:gd name="connsiteX3" fmla="*/ 56638 w 5226600"/>
                <a:gd name="connsiteY3" fmla="*/ 0 h 257442"/>
                <a:gd name="connsiteX0" fmla="*/ 5226600 w 5226600"/>
                <a:gd name="connsiteY0" fmla="*/ 0 h 257442"/>
                <a:gd name="connsiteX1" fmla="*/ 5169962 w 5226600"/>
                <a:gd name="connsiteY1" fmla="*/ 257442 h 257442"/>
                <a:gd name="connsiteX2" fmla="*/ 0 w 5226600"/>
                <a:gd name="connsiteY2" fmla="*/ 257442 h 257442"/>
                <a:gd name="connsiteX3" fmla="*/ 56638 w 5226600"/>
                <a:gd name="connsiteY3" fmla="*/ 0 h 257442"/>
                <a:gd name="connsiteX0" fmla="*/ 5226600 w 5226600"/>
                <a:gd name="connsiteY0" fmla="*/ 0 h 257442"/>
                <a:gd name="connsiteX1" fmla="*/ 5169962 w 5226600"/>
                <a:gd name="connsiteY1" fmla="*/ 257442 h 257442"/>
                <a:gd name="connsiteX2" fmla="*/ 0 w 5226600"/>
                <a:gd name="connsiteY2" fmla="*/ 257442 h 257442"/>
                <a:gd name="connsiteX3" fmla="*/ 56638 w 5226600"/>
                <a:gd name="connsiteY3" fmla="*/ 0 h 257442"/>
                <a:gd name="connsiteX0" fmla="*/ 5392515 w 5392515"/>
                <a:gd name="connsiteY0" fmla="*/ 0 h 257442"/>
                <a:gd name="connsiteX1" fmla="*/ 5169962 w 5392515"/>
                <a:gd name="connsiteY1" fmla="*/ 257442 h 257442"/>
                <a:gd name="connsiteX2" fmla="*/ 0 w 5392515"/>
                <a:gd name="connsiteY2" fmla="*/ 257442 h 257442"/>
                <a:gd name="connsiteX3" fmla="*/ 56638 w 5392515"/>
                <a:gd name="connsiteY3" fmla="*/ 0 h 257442"/>
                <a:gd name="connsiteX0" fmla="*/ 5392515 w 5392515"/>
                <a:gd name="connsiteY0" fmla="*/ 0 h 257442"/>
                <a:gd name="connsiteX1" fmla="*/ 5335876 w 5392515"/>
                <a:gd name="connsiteY1" fmla="*/ 257442 h 257442"/>
                <a:gd name="connsiteX2" fmla="*/ 0 w 5392515"/>
                <a:gd name="connsiteY2" fmla="*/ 257442 h 257442"/>
                <a:gd name="connsiteX3" fmla="*/ 56638 w 5392515"/>
                <a:gd name="connsiteY3" fmla="*/ 0 h 257442"/>
                <a:gd name="connsiteX0" fmla="*/ 5392516 w 5392516"/>
                <a:gd name="connsiteY0" fmla="*/ 0 h 257442"/>
                <a:gd name="connsiteX1" fmla="*/ 5335877 w 5392516"/>
                <a:gd name="connsiteY1" fmla="*/ 257442 h 257442"/>
                <a:gd name="connsiteX2" fmla="*/ 0 w 5392516"/>
                <a:gd name="connsiteY2" fmla="*/ 257442 h 257442"/>
                <a:gd name="connsiteX3" fmla="*/ 56639 w 5392516"/>
                <a:gd name="connsiteY3" fmla="*/ 0 h 257442"/>
                <a:gd name="connsiteX0" fmla="*/ 5392516 w 5392516"/>
                <a:gd name="connsiteY0" fmla="*/ 0 h 257442"/>
                <a:gd name="connsiteX1" fmla="*/ 5335877 w 5392516"/>
                <a:gd name="connsiteY1" fmla="*/ 257442 h 257442"/>
                <a:gd name="connsiteX2" fmla="*/ 0 w 5392516"/>
                <a:gd name="connsiteY2" fmla="*/ 257442 h 257442"/>
                <a:gd name="connsiteX3" fmla="*/ 56639 w 5392516"/>
                <a:gd name="connsiteY3" fmla="*/ 0 h 257442"/>
                <a:gd name="connsiteX0" fmla="*/ 5558434 w 5558434"/>
                <a:gd name="connsiteY0" fmla="*/ 0 h 257442"/>
                <a:gd name="connsiteX1" fmla="*/ 5335877 w 5558434"/>
                <a:gd name="connsiteY1" fmla="*/ 257442 h 257442"/>
                <a:gd name="connsiteX2" fmla="*/ 0 w 5558434"/>
                <a:gd name="connsiteY2" fmla="*/ 257442 h 257442"/>
                <a:gd name="connsiteX3" fmla="*/ 56639 w 5558434"/>
                <a:gd name="connsiteY3" fmla="*/ 0 h 257442"/>
                <a:gd name="connsiteX0" fmla="*/ 5558434 w 5558434"/>
                <a:gd name="connsiteY0" fmla="*/ 0 h 257442"/>
                <a:gd name="connsiteX1" fmla="*/ 5501795 w 5558434"/>
                <a:gd name="connsiteY1" fmla="*/ 257442 h 257442"/>
                <a:gd name="connsiteX2" fmla="*/ 0 w 5558434"/>
                <a:gd name="connsiteY2" fmla="*/ 257442 h 257442"/>
                <a:gd name="connsiteX3" fmla="*/ 56639 w 5558434"/>
                <a:gd name="connsiteY3" fmla="*/ 0 h 257442"/>
                <a:gd name="connsiteX0" fmla="*/ 5558433 w 5558433"/>
                <a:gd name="connsiteY0" fmla="*/ 0 h 257442"/>
                <a:gd name="connsiteX1" fmla="*/ 5501794 w 5558433"/>
                <a:gd name="connsiteY1" fmla="*/ 257442 h 257442"/>
                <a:gd name="connsiteX2" fmla="*/ 0 w 5558433"/>
                <a:gd name="connsiteY2" fmla="*/ 257442 h 257442"/>
                <a:gd name="connsiteX3" fmla="*/ 56638 w 5558433"/>
                <a:gd name="connsiteY3" fmla="*/ 0 h 257442"/>
                <a:gd name="connsiteX0" fmla="*/ 5558433 w 5558433"/>
                <a:gd name="connsiteY0" fmla="*/ 0 h 257442"/>
                <a:gd name="connsiteX1" fmla="*/ 5501794 w 5558433"/>
                <a:gd name="connsiteY1" fmla="*/ 257442 h 257442"/>
                <a:gd name="connsiteX2" fmla="*/ 0 w 5558433"/>
                <a:gd name="connsiteY2" fmla="*/ 257442 h 257442"/>
                <a:gd name="connsiteX3" fmla="*/ 56638 w 5558433"/>
                <a:gd name="connsiteY3" fmla="*/ 0 h 257442"/>
                <a:gd name="connsiteX0" fmla="*/ 5732645 w 5732645"/>
                <a:gd name="connsiteY0" fmla="*/ 0 h 257442"/>
                <a:gd name="connsiteX1" fmla="*/ 5501794 w 5732645"/>
                <a:gd name="connsiteY1" fmla="*/ 257442 h 257442"/>
                <a:gd name="connsiteX2" fmla="*/ 0 w 5732645"/>
                <a:gd name="connsiteY2" fmla="*/ 257442 h 257442"/>
                <a:gd name="connsiteX3" fmla="*/ 56638 w 5732645"/>
                <a:gd name="connsiteY3" fmla="*/ 0 h 257442"/>
                <a:gd name="connsiteX0" fmla="*/ 5732645 w 5732645"/>
                <a:gd name="connsiteY0" fmla="*/ 0 h 257442"/>
                <a:gd name="connsiteX1" fmla="*/ 5676008 w 5732645"/>
                <a:gd name="connsiteY1" fmla="*/ 257442 h 257442"/>
                <a:gd name="connsiteX2" fmla="*/ 0 w 5732645"/>
                <a:gd name="connsiteY2" fmla="*/ 257442 h 257442"/>
                <a:gd name="connsiteX3" fmla="*/ 56638 w 5732645"/>
                <a:gd name="connsiteY3" fmla="*/ 0 h 257442"/>
                <a:gd name="connsiteX0" fmla="*/ 5732645 w 5732645"/>
                <a:gd name="connsiteY0" fmla="*/ 0 h 257442"/>
                <a:gd name="connsiteX1" fmla="*/ 5676008 w 5732645"/>
                <a:gd name="connsiteY1" fmla="*/ 257442 h 257442"/>
                <a:gd name="connsiteX2" fmla="*/ 0 w 5732645"/>
                <a:gd name="connsiteY2" fmla="*/ 257442 h 257442"/>
                <a:gd name="connsiteX3" fmla="*/ 56638 w 5732645"/>
                <a:gd name="connsiteY3" fmla="*/ 0 h 257442"/>
                <a:gd name="connsiteX0" fmla="*/ 5732645 w 5732645"/>
                <a:gd name="connsiteY0" fmla="*/ 0 h 257442"/>
                <a:gd name="connsiteX1" fmla="*/ 5676008 w 5732645"/>
                <a:gd name="connsiteY1" fmla="*/ 257442 h 257442"/>
                <a:gd name="connsiteX2" fmla="*/ 0 w 5732645"/>
                <a:gd name="connsiteY2" fmla="*/ 257442 h 257442"/>
                <a:gd name="connsiteX3" fmla="*/ 56638 w 5732645"/>
                <a:gd name="connsiteY3" fmla="*/ 0 h 257442"/>
                <a:gd name="connsiteX0" fmla="*/ 6036074 w 6036074"/>
                <a:gd name="connsiteY0" fmla="*/ 0 h 257442"/>
                <a:gd name="connsiteX1" fmla="*/ 5676008 w 6036074"/>
                <a:gd name="connsiteY1" fmla="*/ 257442 h 257442"/>
                <a:gd name="connsiteX2" fmla="*/ 0 w 6036074"/>
                <a:gd name="connsiteY2" fmla="*/ 257442 h 257442"/>
                <a:gd name="connsiteX3" fmla="*/ 56638 w 6036074"/>
                <a:gd name="connsiteY3" fmla="*/ 0 h 257442"/>
                <a:gd name="connsiteX0" fmla="*/ 6036074 w 6036074"/>
                <a:gd name="connsiteY0" fmla="*/ 0 h 257442"/>
                <a:gd name="connsiteX1" fmla="*/ 5979436 w 6036074"/>
                <a:gd name="connsiteY1" fmla="*/ 257442 h 257442"/>
                <a:gd name="connsiteX2" fmla="*/ 0 w 6036074"/>
                <a:gd name="connsiteY2" fmla="*/ 257442 h 257442"/>
                <a:gd name="connsiteX3" fmla="*/ 56638 w 6036074"/>
                <a:gd name="connsiteY3" fmla="*/ 0 h 257442"/>
                <a:gd name="connsiteX0" fmla="*/ 6036074 w 6036074"/>
                <a:gd name="connsiteY0" fmla="*/ 0 h 257442"/>
                <a:gd name="connsiteX1" fmla="*/ 5979436 w 6036074"/>
                <a:gd name="connsiteY1" fmla="*/ 257442 h 257442"/>
                <a:gd name="connsiteX2" fmla="*/ 0 w 6036074"/>
                <a:gd name="connsiteY2" fmla="*/ 257442 h 257442"/>
                <a:gd name="connsiteX3" fmla="*/ 56638 w 6036074"/>
                <a:gd name="connsiteY3" fmla="*/ 0 h 257442"/>
                <a:gd name="connsiteX0" fmla="*/ 6036074 w 6036074"/>
                <a:gd name="connsiteY0" fmla="*/ 0 h 257442"/>
                <a:gd name="connsiteX1" fmla="*/ 5979436 w 6036074"/>
                <a:gd name="connsiteY1" fmla="*/ 257442 h 257442"/>
                <a:gd name="connsiteX2" fmla="*/ 0 w 6036074"/>
                <a:gd name="connsiteY2" fmla="*/ 257442 h 257442"/>
                <a:gd name="connsiteX3" fmla="*/ 56638 w 6036074"/>
                <a:gd name="connsiteY3" fmla="*/ 0 h 257442"/>
                <a:gd name="connsiteX0" fmla="*/ 6201990 w 6201990"/>
                <a:gd name="connsiteY0" fmla="*/ 0 h 257442"/>
                <a:gd name="connsiteX1" fmla="*/ 5979436 w 6201990"/>
                <a:gd name="connsiteY1" fmla="*/ 257442 h 257442"/>
                <a:gd name="connsiteX2" fmla="*/ 0 w 6201990"/>
                <a:gd name="connsiteY2" fmla="*/ 257442 h 257442"/>
                <a:gd name="connsiteX3" fmla="*/ 56638 w 6201990"/>
                <a:gd name="connsiteY3" fmla="*/ 0 h 257442"/>
                <a:gd name="connsiteX0" fmla="*/ 6201990 w 6201990"/>
                <a:gd name="connsiteY0" fmla="*/ 0 h 257442"/>
                <a:gd name="connsiteX1" fmla="*/ 6145353 w 6201990"/>
                <a:gd name="connsiteY1" fmla="*/ 257442 h 257442"/>
                <a:gd name="connsiteX2" fmla="*/ 0 w 6201990"/>
                <a:gd name="connsiteY2" fmla="*/ 257442 h 257442"/>
                <a:gd name="connsiteX3" fmla="*/ 56638 w 6201990"/>
                <a:gd name="connsiteY3" fmla="*/ 0 h 257442"/>
                <a:gd name="connsiteX0" fmla="*/ 6201990 w 6201990"/>
                <a:gd name="connsiteY0" fmla="*/ 0 h 257442"/>
                <a:gd name="connsiteX1" fmla="*/ 6145353 w 6201990"/>
                <a:gd name="connsiteY1" fmla="*/ 257442 h 257442"/>
                <a:gd name="connsiteX2" fmla="*/ 0 w 6201990"/>
                <a:gd name="connsiteY2" fmla="*/ 257442 h 257442"/>
                <a:gd name="connsiteX3" fmla="*/ 56638 w 6201990"/>
                <a:gd name="connsiteY3" fmla="*/ 0 h 257442"/>
                <a:gd name="connsiteX0" fmla="*/ 6201990 w 6201990"/>
                <a:gd name="connsiteY0" fmla="*/ 0 h 257442"/>
                <a:gd name="connsiteX1" fmla="*/ 6145353 w 6201990"/>
                <a:gd name="connsiteY1" fmla="*/ 257442 h 257442"/>
                <a:gd name="connsiteX2" fmla="*/ 0 w 6201990"/>
                <a:gd name="connsiteY2" fmla="*/ 257442 h 257442"/>
                <a:gd name="connsiteX3" fmla="*/ 56638 w 6201990"/>
                <a:gd name="connsiteY3" fmla="*/ 0 h 257442"/>
                <a:gd name="connsiteX0" fmla="*/ 3952360 w 6145353"/>
                <a:gd name="connsiteY0" fmla="*/ 0 h 257442"/>
                <a:gd name="connsiteX1" fmla="*/ 6145353 w 6145353"/>
                <a:gd name="connsiteY1" fmla="*/ 257442 h 257442"/>
                <a:gd name="connsiteX2" fmla="*/ 0 w 6145353"/>
                <a:gd name="connsiteY2" fmla="*/ 257442 h 257442"/>
                <a:gd name="connsiteX3" fmla="*/ 56638 w 6145353"/>
                <a:gd name="connsiteY3" fmla="*/ 0 h 257442"/>
                <a:gd name="connsiteX0" fmla="*/ 3952360 w 3952360"/>
                <a:gd name="connsiteY0" fmla="*/ 0 h 257442"/>
                <a:gd name="connsiteX1" fmla="*/ 3895722 w 3952360"/>
                <a:gd name="connsiteY1" fmla="*/ 257442 h 257442"/>
                <a:gd name="connsiteX2" fmla="*/ 0 w 3952360"/>
                <a:gd name="connsiteY2" fmla="*/ 257442 h 257442"/>
                <a:gd name="connsiteX3" fmla="*/ 56638 w 3952360"/>
                <a:gd name="connsiteY3" fmla="*/ 0 h 257442"/>
                <a:gd name="connsiteX0" fmla="*/ 3952360 w 3952360"/>
                <a:gd name="connsiteY0" fmla="*/ 0 h 257442"/>
                <a:gd name="connsiteX1" fmla="*/ 3895722 w 3952360"/>
                <a:gd name="connsiteY1" fmla="*/ 257442 h 257442"/>
                <a:gd name="connsiteX2" fmla="*/ 0 w 3952360"/>
                <a:gd name="connsiteY2" fmla="*/ 257442 h 257442"/>
                <a:gd name="connsiteX3" fmla="*/ 56638 w 3952360"/>
                <a:gd name="connsiteY3" fmla="*/ 0 h 257442"/>
                <a:gd name="connsiteX0" fmla="*/ 3952360 w 3952360"/>
                <a:gd name="connsiteY0" fmla="*/ 0 h 257442"/>
                <a:gd name="connsiteX1" fmla="*/ 3895722 w 3952360"/>
                <a:gd name="connsiteY1" fmla="*/ 257442 h 257442"/>
                <a:gd name="connsiteX2" fmla="*/ 0 w 3952360"/>
                <a:gd name="connsiteY2" fmla="*/ 257442 h 257442"/>
                <a:gd name="connsiteX3" fmla="*/ 56638 w 3952360"/>
                <a:gd name="connsiteY3" fmla="*/ 0 h 257442"/>
                <a:gd name="connsiteX0" fmla="*/ 4126574 w 4126574"/>
                <a:gd name="connsiteY0" fmla="*/ 0 h 257442"/>
                <a:gd name="connsiteX1" fmla="*/ 3895722 w 4126574"/>
                <a:gd name="connsiteY1" fmla="*/ 257442 h 257442"/>
                <a:gd name="connsiteX2" fmla="*/ 0 w 4126574"/>
                <a:gd name="connsiteY2" fmla="*/ 257442 h 257442"/>
                <a:gd name="connsiteX3" fmla="*/ 56638 w 4126574"/>
                <a:gd name="connsiteY3" fmla="*/ 0 h 257442"/>
                <a:gd name="connsiteX0" fmla="*/ 4126574 w 4126574"/>
                <a:gd name="connsiteY0" fmla="*/ 0 h 257442"/>
                <a:gd name="connsiteX1" fmla="*/ 4069936 w 4126574"/>
                <a:gd name="connsiteY1" fmla="*/ 257442 h 257442"/>
                <a:gd name="connsiteX2" fmla="*/ 0 w 4126574"/>
                <a:gd name="connsiteY2" fmla="*/ 257442 h 257442"/>
                <a:gd name="connsiteX3" fmla="*/ 56638 w 4126574"/>
                <a:gd name="connsiteY3" fmla="*/ 0 h 257442"/>
                <a:gd name="connsiteX0" fmla="*/ 4126574 w 4126574"/>
                <a:gd name="connsiteY0" fmla="*/ 0 h 257442"/>
                <a:gd name="connsiteX1" fmla="*/ 4069936 w 4126574"/>
                <a:gd name="connsiteY1" fmla="*/ 257442 h 257442"/>
                <a:gd name="connsiteX2" fmla="*/ 0 w 4126574"/>
                <a:gd name="connsiteY2" fmla="*/ 257442 h 257442"/>
                <a:gd name="connsiteX3" fmla="*/ 56638 w 4126574"/>
                <a:gd name="connsiteY3" fmla="*/ 0 h 257442"/>
                <a:gd name="connsiteX0" fmla="*/ 4126574 w 4126574"/>
                <a:gd name="connsiteY0" fmla="*/ 0 h 257442"/>
                <a:gd name="connsiteX1" fmla="*/ 4069936 w 4126574"/>
                <a:gd name="connsiteY1" fmla="*/ 257442 h 257442"/>
                <a:gd name="connsiteX2" fmla="*/ 0 w 4126574"/>
                <a:gd name="connsiteY2" fmla="*/ 257442 h 257442"/>
                <a:gd name="connsiteX3" fmla="*/ 56638 w 4126574"/>
                <a:gd name="connsiteY3" fmla="*/ 0 h 257442"/>
                <a:gd name="connsiteX0" fmla="*/ 4376908 w 4376908"/>
                <a:gd name="connsiteY0" fmla="*/ 0 h 257442"/>
                <a:gd name="connsiteX1" fmla="*/ 4069936 w 4376908"/>
                <a:gd name="connsiteY1" fmla="*/ 257442 h 257442"/>
                <a:gd name="connsiteX2" fmla="*/ 0 w 4376908"/>
                <a:gd name="connsiteY2" fmla="*/ 257442 h 257442"/>
                <a:gd name="connsiteX3" fmla="*/ 56638 w 4376908"/>
                <a:gd name="connsiteY3" fmla="*/ 0 h 257442"/>
                <a:gd name="connsiteX0" fmla="*/ 4376908 w 4376908"/>
                <a:gd name="connsiteY0" fmla="*/ 0 h 257442"/>
                <a:gd name="connsiteX1" fmla="*/ 4320270 w 4376908"/>
                <a:gd name="connsiteY1" fmla="*/ 257442 h 257442"/>
                <a:gd name="connsiteX2" fmla="*/ 0 w 4376908"/>
                <a:gd name="connsiteY2" fmla="*/ 257442 h 257442"/>
                <a:gd name="connsiteX3" fmla="*/ 56638 w 4376908"/>
                <a:gd name="connsiteY3" fmla="*/ 0 h 257442"/>
                <a:gd name="connsiteX0" fmla="*/ 4376908 w 4376908"/>
                <a:gd name="connsiteY0" fmla="*/ 0 h 257442"/>
                <a:gd name="connsiteX1" fmla="*/ 4320270 w 4376908"/>
                <a:gd name="connsiteY1" fmla="*/ 257442 h 257442"/>
                <a:gd name="connsiteX2" fmla="*/ 0 w 4376908"/>
                <a:gd name="connsiteY2" fmla="*/ 257442 h 257442"/>
                <a:gd name="connsiteX3" fmla="*/ 56638 w 4376908"/>
                <a:gd name="connsiteY3" fmla="*/ 0 h 257442"/>
                <a:gd name="connsiteX0" fmla="*/ 4376908 w 4376908"/>
                <a:gd name="connsiteY0" fmla="*/ 0 h 257442"/>
                <a:gd name="connsiteX1" fmla="*/ 4320270 w 4376908"/>
                <a:gd name="connsiteY1" fmla="*/ 257442 h 257442"/>
                <a:gd name="connsiteX2" fmla="*/ 0 w 4376908"/>
                <a:gd name="connsiteY2" fmla="*/ 257442 h 257442"/>
                <a:gd name="connsiteX3" fmla="*/ 56638 w 4376908"/>
                <a:gd name="connsiteY3" fmla="*/ 0 h 257442"/>
                <a:gd name="connsiteX0" fmla="*/ 4551120 w 4551120"/>
                <a:gd name="connsiteY0" fmla="*/ 0 h 257442"/>
                <a:gd name="connsiteX1" fmla="*/ 4320270 w 4551120"/>
                <a:gd name="connsiteY1" fmla="*/ 257442 h 257442"/>
                <a:gd name="connsiteX2" fmla="*/ 0 w 4551120"/>
                <a:gd name="connsiteY2" fmla="*/ 257442 h 257442"/>
                <a:gd name="connsiteX3" fmla="*/ 56638 w 4551120"/>
                <a:gd name="connsiteY3" fmla="*/ 0 h 257442"/>
                <a:gd name="connsiteX0" fmla="*/ 4551120 w 4551120"/>
                <a:gd name="connsiteY0" fmla="*/ 0 h 257442"/>
                <a:gd name="connsiteX1" fmla="*/ 4494482 w 4551120"/>
                <a:gd name="connsiteY1" fmla="*/ 257442 h 257442"/>
                <a:gd name="connsiteX2" fmla="*/ 0 w 4551120"/>
                <a:gd name="connsiteY2" fmla="*/ 257442 h 257442"/>
                <a:gd name="connsiteX3" fmla="*/ 56638 w 4551120"/>
                <a:gd name="connsiteY3" fmla="*/ 0 h 257442"/>
                <a:gd name="connsiteX0" fmla="*/ 4551120 w 4551120"/>
                <a:gd name="connsiteY0" fmla="*/ 0 h 257442"/>
                <a:gd name="connsiteX1" fmla="*/ 4494482 w 4551120"/>
                <a:gd name="connsiteY1" fmla="*/ 257442 h 257442"/>
                <a:gd name="connsiteX2" fmla="*/ 0 w 4551120"/>
                <a:gd name="connsiteY2" fmla="*/ 257442 h 257442"/>
                <a:gd name="connsiteX3" fmla="*/ 56638 w 4551120"/>
                <a:gd name="connsiteY3" fmla="*/ 0 h 257442"/>
                <a:gd name="connsiteX0" fmla="*/ 4551120 w 4551120"/>
                <a:gd name="connsiteY0" fmla="*/ 0 h 257442"/>
                <a:gd name="connsiteX1" fmla="*/ 4494482 w 4551120"/>
                <a:gd name="connsiteY1" fmla="*/ 257442 h 257442"/>
                <a:gd name="connsiteX2" fmla="*/ 0 w 4551120"/>
                <a:gd name="connsiteY2" fmla="*/ 257442 h 257442"/>
                <a:gd name="connsiteX3" fmla="*/ 56638 w 4551120"/>
                <a:gd name="connsiteY3" fmla="*/ 0 h 257442"/>
                <a:gd name="connsiteX0" fmla="*/ 4735287 w 4735287"/>
                <a:gd name="connsiteY0" fmla="*/ 0 h 257442"/>
                <a:gd name="connsiteX1" fmla="*/ 4494482 w 4735287"/>
                <a:gd name="connsiteY1" fmla="*/ 257442 h 257442"/>
                <a:gd name="connsiteX2" fmla="*/ 0 w 4735287"/>
                <a:gd name="connsiteY2" fmla="*/ 257442 h 257442"/>
                <a:gd name="connsiteX3" fmla="*/ 56638 w 4735287"/>
                <a:gd name="connsiteY3" fmla="*/ 0 h 257442"/>
                <a:gd name="connsiteX0" fmla="*/ 4735287 w 4735287"/>
                <a:gd name="connsiteY0" fmla="*/ 0 h 257442"/>
                <a:gd name="connsiteX1" fmla="*/ 4678648 w 4735287"/>
                <a:gd name="connsiteY1" fmla="*/ 257442 h 257442"/>
                <a:gd name="connsiteX2" fmla="*/ 0 w 4735287"/>
                <a:gd name="connsiteY2" fmla="*/ 257442 h 257442"/>
                <a:gd name="connsiteX3" fmla="*/ 56638 w 4735287"/>
                <a:gd name="connsiteY3" fmla="*/ 0 h 257442"/>
                <a:gd name="connsiteX0" fmla="*/ 4735288 w 4735288"/>
                <a:gd name="connsiteY0" fmla="*/ 0 h 257442"/>
                <a:gd name="connsiteX1" fmla="*/ 4678649 w 4735288"/>
                <a:gd name="connsiteY1" fmla="*/ 257442 h 257442"/>
                <a:gd name="connsiteX2" fmla="*/ 0 w 4735288"/>
                <a:gd name="connsiteY2" fmla="*/ 257442 h 257442"/>
                <a:gd name="connsiteX3" fmla="*/ 56639 w 4735288"/>
                <a:gd name="connsiteY3" fmla="*/ 0 h 257442"/>
                <a:gd name="connsiteX0" fmla="*/ 4735288 w 4735288"/>
                <a:gd name="connsiteY0" fmla="*/ 0 h 257442"/>
                <a:gd name="connsiteX1" fmla="*/ 4678649 w 4735288"/>
                <a:gd name="connsiteY1" fmla="*/ 257442 h 257442"/>
                <a:gd name="connsiteX2" fmla="*/ 0 w 4735288"/>
                <a:gd name="connsiteY2" fmla="*/ 257442 h 257442"/>
                <a:gd name="connsiteX3" fmla="*/ 56639 w 4735288"/>
                <a:gd name="connsiteY3" fmla="*/ 0 h 257442"/>
                <a:gd name="connsiteX0" fmla="*/ 4901205 w 4901205"/>
                <a:gd name="connsiteY0" fmla="*/ 0 h 257442"/>
                <a:gd name="connsiteX1" fmla="*/ 4678649 w 4901205"/>
                <a:gd name="connsiteY1" fmla="*/ 257442 h 257442"/>
                <a:gd name="connsiteX2" fmla="*/ 0 w 4901205"/>
                <a:gd name="connsiteY2" fmla="*/ 257442 h 257442"/>
                <a:gd name="connsiteX3" fmla="*/ 56639 w 4901205"/>
                <a:gd name="connsiteY3" fmla="*/ 0 h 257442"/>
                <a:gd name="connsiteX0" fmla="*/ 4901205 w 4901205"/>
                <a:gd name="connsiteY0" fmla="*/ 0 h 257442"/>
                <a:gd name="connsiteX1" fmla="*/ 4844566 w 4901205"/>
                <a:gd name="connsiteY1" fmla="*/ 257442 h 257442"/>
                <a:gd name="connsiteX2" fmla="*/ 0 w 4901205"/>
                <a:gd name="connsiteY2" fmla="*/ 257442 h 257442"/>
                <a:gd name="connsiteX3" fmla="*/ 56639 w 4901205"/>
                <a:gd name="connsiteY3" fmla="*/ 0 h 257442"/>
                <a:gd name="connsiteX0" fmla="*/ 4901205 w 4901205"/>
                <a:gd name="connsiteY0" fmla="*/ 0 h 257442"/>
                <a:gd name="connsiteX1" fmla="*/ 4844566 w 4901205"/>
                <a:gd name="connsiteY1" fmla="*/ 257442 h 257442"/>
                <a:gd name="connsiteX2" fmla="*/ 0 w 4901205"/>
                <a:gd name="connsiteY2" fmla="*/ 257442 h 257442"/>
                <a:gd name="connsiteX3" fmla="*/ 56639 w 4901205"/>
                <a:gd name="connsiteY3" fmla="*/ 0 h 257442"/>
                <a:gd name="connsiteX0" fmla="*/ 4901205 w 4901205"/>
                <a:gd name="connsiteY0" fmla="*/ 0 h 257442"/>
                <a:gd name="connsiteX1" fmla="*/ 4844566 w 4901205"/>
                <a:gd name="connsiteY1" fmla="*/ 257442 h 257442"/>
                <a:gd name="connsiteX2" fmla="*/ 0 w 4901205"/>
                <a:gd name="connsiteY2" fmla="*/ 257442 h 257442"/>
                <a:gd name="connsiteX3" fmla="*/ 56638 w 4901205"/>
                <a:gd name="connsiteY3" fmla="*/ 0 h 257442"/>
                <a:gd name="connsiteX0" fmla="*/ 5546618 w 5546618"/>
                <a:gd name="connsiteY0" fmla="*/ 0 h 257442"/>
                <a:gd name="connsiteX1" fmla="*/ 4844566 w 5546618"/>
                <a:gd name="connsiteY1" fmla="*/ 257442 h 257442"/>
                <a:gd name="connsiteX2" fmla="*/ 0 w 5546618"/>
                <a:gd name="connsiteY2" fmla="*/ 257442 h 257442"/>
                <a:gd name="connsiteX3" fmla="*/ 56638 w 5546618"/>
                <a:gd name="connsiteY3" fmla="*/ 0 h 257442"/>
                <a:gd name="connsiteX0" fmla="*/ 5546618 w 5546618"/>
                <a:gd name="connsiteY0" fmla="*/ 0 h 257442"/>
                <a:gd name="connsiteX1" fmla="*/ 5489980 w 5546618"/>
                <a:gd name="connsiteY1" fmla="*/ 257442 h 257442"/>
                <a:gd name="connsiteX2" fmla="*/ 0 w 5546618"/>
                <a:gd name="connsiteY2" fmla="*/ 257442 h 257442"/>
                <a:gd name="connsiteX3" fmla="*/ 56638 w 5546618"/>
                <a:gd name="connsiteY3" fmla="*/ 0 h 257442"/>
                <a:gd name="connsiteX0" fmla="*/ 5546618 w 5546618"/>
                <a:gd name="connsiteY0" fmla="*/ 0 h 257442"/>
                <a:gd name="connsiteX1" fmla="*/ 5489980 w 5546618"/>
                <a:gd name="connsiteY1" fmla="*/ 257442 h 257442"/>
                <a:gd name="connsiteX2" fmla="*/ 0 w 5546618"/>
                <a:gd name="connsiteY2" fmla="*/ 257442 h 257442"/>
                <a:gd name="connsiteX3" fmla="*/ 56638 w 5546618"/>
                <a:gd name="connsiteY3" fmla="*/ 0 h 257442"/>
                <a:gd name="connsiteX0" fmla="*/ 5546618 w 5546618"/>
                <a:gd name="connsiteY0" fmla="*/ 0 h 257442"/>
                <a:gd name="connsiteX1" fmla="*/ 5489980 w 5546618"/>
                <a:gd name="connsiteY1" fmla="*/ 257442 h 257442"/>
                <a:gd name="connsiteX2" fmla="*/ 0 w 5546618"/>
                <a:gd name="connsiteY2" fmla="*/ 257442 h 257442"/>
                <a:gd name="connsiteX3" fmla="*/ 56638 w 5546618"/>
                <a:gd name="connsiteY3" fmla="*/ 0 h 257442"/>
                <a:gd name="connsiteX0" fmla="*/ 1932956 w 5489980"/>
                <a:gd name="connsiteY0" fmla="*/ 0 h 257442"/>
                <a:gd name="connsiteX1" fmla="*/ 5489980 w 5489980"/>
                <a:gd name="connsiteY1" fmla="*/ 257442 h 257442"/>
                <a:gd name="connsiteX2" fmla="*/ 0 w 5489980"/>
                <a:gd name="connsiteY2" fmla="*/ 257442 h 257442"/>
                <a:gd name="connsiteX3" fmla="*/ 56638 w 5489980"/>
                <a:gd name="connsiteY3" fmla="*/ 0 h 257442"/>
                <a:gd name="connsiteX0" fmla="*/ 1932956 w 1932956"/>
                <a:gd name="connsiteY0" fmla="*/ 0 h 257442"/>
                <a:gd name="connsiteX1" fmla="*/ 1876319 w 1932956"/>
                <a:gd name="connsiteY1" fmla="*/ 257442 h 257442"/>
                <a:gd name="connsiteX2" fmla="*/ 0 w 1932956"/>
                <a:gd name="connsiteY2" fmla="*/ 257442 h 257442"/>
                <a:gd name="connsiteX3" fmla="*/ 56638 w 1932956"/>
                <a:gd name="connsiteY3" fmla="*/ 0 h 257442"/>
                <a:gd name="connsiteX0" fmla="*/ 1932955 w 1932955"/>
                <a:gd name="connsiteY0" fmla="*/ 0 h 257442"/>
                <a:gd name="connsiteX1" fmla="*/ 1876318 w 1932955"/>
                <a:gd name="connsiteY1" fmla="*/ 257442 h 257442"/>
                <a:gd name="connsiteX2" fmla="*/ 0 w 1932955"/>
                <a:gd name="connsiteY2" fmla="*/ 257442 h 257442"/>
                <a:gd name="connsiteX3" fmla="*/ 56637 w 1932955"/>
                <a:gd name="connsiteY3" fmla="*/ 0 h 257442"/>
                <a:gd name="connsiteX0" fmla="*/ 1932955 w 1932955"/>
                <a:gd name="connsiteY0" fmla="*/ 0 h 257442"/>
                <a:gd name="connsiteX1" fmla="*/ 1876318 w 1932955"/>
                <a:gd name="connsiteY1" fmla="*/ 257442 h 257442"/>
                <a:gd name="connsiteX2" fmla="*/ 0 w 1932955"/>
                <a:gd name="connsiteY2" fmla="*/ 257442 h 257442"/>
                <a:gd name="connsiteX3" fmla="*/ 56637 w 1932955"/>
                <a:gd name="connsiteY3" fmla="*/ 0 h 257442"/>
                <a:gd name="connsiteX0" fmla="*/ 994067 w 1876318"/>
                <a:gd name="connsiteY0" fmla="*/ 0 h 257442"/>
                <a:gd name="connsiteX1" fmla="*/ 1876318 w 1876318"/>
                <a:gd name="connsiteY1" fmla="*/ 257442 h 257442"/>
                <a:gd name="connsiteX2" fmla="*/ 0 w 1876318"/>
                <a:gd name="connsiteY2" fmla="*/ 257442 h 257442"/>
                <a:gd name="connsiteX3" fmla="*/ 56637 w 1876318"/>
                <a:gd name="connsiteY3" fmla="*/ 0 h 257442"/>
                <a:gd name="connsiteX0" fmla="*/ 994067 w 994067"/>
                <a:gd name="connsiteY0" fmla="*/ 0 h 257442"/>
                <a:gd name="connsiteX1" fmla="*/ 937429 w 994067"/>
                <a:gd name="connsiteY1" fmla="*/ 257442 h 257442"/>
                <a:gd name="connsiteX2" fmla="*/ 0 w 994067"/>
                <a:gd name="connsiteY2" fmla="*/ 257442 h 257442"/>
                <a:gd name="connsiteX3" fmla="*/ 56637 w 994067"/>
                <a:gd name="connsiteY3" fmla="*/ 0 h 257442"/>
                <a:gd name="connsiteX0" fmla="*/ 994066 w 994066"/>
                <a:gd name="connsiteY0" fmla="*/ 0 h 257442"/>
                <a:gd name="connsiteX1" fmla="*/ 937428 w 994066"/>
                <a:gd name="connsiteY1" fmla="*/ 257442 h 257442"/>
                <a:gd name="connsiteX2" fmla="*/ 0 w 994066"/>
                <a:gd name="connsiteY2" fmla="*/ 257442 h 257442"/>
                <a:gd name="connsiteX3" fmla="*/ 56636 w 994066"/>
                <a:gd name="connsiteY3" fmla="*/ 0 h 257442"/>
                <a:gd name="connsiteX0" fmla="*/ 994066 w 994066"/>
                <a:gd name="connsiteY0" fmla="*/ 0 h 257442"/>
                <a:gd name="connsiteX1" fmla="*/ 937428 w 994066"/>
                <a:gd name="connsiteY1" fmla="*/ 257442 h 257442"/>
                <a:gd name="connsiteX2" fmla="*/ 0 w 994066"/>
                <a:gd name="connsiteY2" fmla="*/ 257442 h 257442"/>
                <a:gd name="connsiteX3" fmla="*/ 56637 w 994066"/>
                <a:gd name="connsiteY3" fmla="*/ 0 h 257442"/>
                <a:gd name="connsiteX0" fmla="*/ 1168278 w 1168278"/>
                <a:gd name="connsiteY0" fmla="*/ 0 h 257442"/>
                <a:gd name="connsiteX1" fmla="*/ 937428 w 1168278"/>
                <a:gd name="connsiteY1" fmla="*/ 257442 h 257442"/>
                <a:gd name="connsiteX2" fmla="*/ 0 w 1168278"/>
                <a:gd name="connsiteY2" fmla="*/ 257442 h 257442"/>
                <a:gd name="connsiteX3" fmla="*/ 56637 w 1168278"/>
                <a:gd name="connsiteY3" fmla="*/ 0 h 257442"/>
                <a:gd name="connsiteX0" fmla="*/ 1168278 w 1168278"/>
                <a:gd name="connsiteY0" fmla="*/ 0 h 257442"/>
                <a:gd name="connsiteX1" fmla="*/ 1111640 w 1168278"/>
                <a:gd name="connsiteY1" fmla="*/ 257442 h 257442"/>
                <a:gd name="connsiteX2" fmla="*/ 0 w 1168278"/>
                <a:gd name="connsiteY2" fmla="*/ 257442 h 257442"/>
                <a:gd name="connsiteX3" fmla="*/ 56637 w 1168278"/>
                <a:gd name="connsiteY3" fmla="*/ 0 h 257442"/>
                <a:gd name="connsiteX0" fmla="*/ 1168279 w 1168279"/>
                <a:gd name="connsiteY0" fmla="*/ 0 h 257442"/>
                <a:gd name="connsiteX1" fmla="*/ 1111641 w 1168279"/>
                <a:gd name="connsiteY1" fmla="*/ 257442 h 257442"/>
                <a:gd name="connsiteX2" fmla="*/ 0 w 1168279"/>
                <a:gd name="connsiteY2" fmla="*/ 257442 h 257442"/>
                <a:gd name="connsiteX3" fmla="*/ 56638 w 1168279"/>
                <a:gd name="connsiteY3" fmla="*/ 0 h 257442"/>
                <a:gd name="connsiteX0" fmla="*/ 1168279 w 1168279"/>
                <a:gd name="connsiteY0" fmla="*/ 0 h 257442"/>
                <a:gd name="connsiteX1" fmla="*/ 1111641 w 1168279"/>
                <a:gd name="connsiteY1" fmla="*/ 257442 h 257442"/>
                <a:gd name="connsiteX2" fmla="*/ 0 w 1168279"/>
                <a:gd name="connsiteY2" fmla="*/ 257442 h 257442"/>
                <a:gd name="connsiteX3" fmla="*/ 56638 w 1168279"/>
                <a:gd name="connsiteY3" fmla="*/ 0 h 257442"/>
                <a:gd name="connsiteX0" fmla="*/ 1342492 w 1342492"/>
                <a:gd name="connsiteY0" fmla="*/ 0 h 257442"/>
                <a:gd name="connsiteX1" fmla="*/ 1111641 w 1342492"/>
                <a:gd name="connsiteY1" fmla="*/ 257442 h 257442"/>
                <a:gd name="connsiteX2" fmla="*/ 0 w 1342492"/>
                <a:gd name="connsiteY2" fmla="*/ 257442 h 257442"/>
                <a:gd name="connsiteX3" fmla="*/ 56638 w 1342492"/>
                <a:gd name="connsiteY3" fmla="*/ 0 h 257442"/>
                <a:gd name="connsiteX0" fmla="*/ 1342492 w 1342492"/>
                <a:gd name="connsiteY0" fmla="*/ 0 h 257442"/>
                <a:gd name="connsiteX1" fmla="*/ 1285854 w 1342492"/>
                <a:gd name="connsiteY1" fmla="*/ 257442 h 257442"/>
                <a:gd name="connsiteX2" fmla="*/ 0 w 1342492"/>
                <a:gd name="connsiteY2" fmla="*/ 257442 h 257442"/>
                <a:gd name="connsiteX3" fmla="*/ 56638 w 1342492"/>
                <a:gd name="connsiteY3" fmla="*/ 0 h 257442"/>
                <a:gd name="connsiteX0" fmla="*/ 1342492 w 1342492"/>
                <a:gd name="connsiteY0" fmla="*/ 0 h 257442"/>
                <a:gd name="connsiteX1" fmla="*/ 1285854 w 1342492"/>
                <a:gd name="connsiteY1" fmla="*/ 257442 h 257442"/>
                <a:gd name="connsiteX2" fmla="*/ 0 w 1342492"/>
                <a:gd name="connsiteY2" fmla="*/ 257442 h 257442"/>
                <a:gd name="connsiteX3" fmla="*/ 56638 w 1342492"/>
                <a:gd name="connsiteY3" fmla="*/ 0 h 257442"/>
                <a:gd name="connsiteX0" fmla="*/ 1342492 w 1342492"/>
                <a:gd name="connsiteY0" fmla="*/ 0 h 257442"/>
                <a:gd name="connsiteX1" fmla="*/ 1285854 w 1342492"/>
                <a:gd name="connsiteY1" fmla="*/ 257442 h 257442"/>
                <a:gd name="connsiteX2" fmla="*/ 0 w 1342492"/>
                <a:gd name="connsiteY2" fmla="*/ 257442 h 257442"/>
                <a:gd name="connsiteX3" fmla="*/ 56638 w 1342492"/>
                <a:gd name="connsiteY3" fmla="*/ 0 h 257442"/>
                <a:gd name="connsiteX0" fmla="*/ 1604639 w 1604639"/>
                <a:gd name="connsiteY0" fmla="*/ 0 h 257442"/>
                <a:gd name="connsiteX1" fmla="*/ 1285854 w 1604639"/>
                <a:gd name="connsiteY1" fmla="*/ 257442 h 257442"/>
                <a:gd name="connsiteX2" fmla="*/ 0 w 1604639"/>
                <a:gd name="connsiteY2" fmla="*/ 257442 h 257442"/>
                <a:gd name="connsiteX3" fmla="*/ 56638 w 1604639"/>
                <a:gd name="connsiteY3" fmla="*/ 0 h 257442"/>
                <a:gd name="connsiteX0" fmla="*/ 1604639 w 1604639"/>
                <a:gd name="connsiteY0" fmla="*/ 0 h 257442"/>
                <a:gd name="connsiteX1" fmla="*/ 1548001 w 1604639"/>
                <a:gd name="connsiteY1" fmla="*/ 257442 h 257442"/>
                <a:gd name="connsiteX2" fmla="*/ 0 w 1604639"/>
                <a:gd name="connsiteY2" fmla="*/ 257442 h 257442"/>
                <a:gd name="connsiteX3" fmla="*/ 56638 w 1604639"/>
                <a:gd name="connsiteY3" fmla="*/ 0 h 257442"/>
                <a:gd name="connsiteX0" fmla="*/ 1604639 w 1604639"/>
                <a:gd name="connsiteY0" fmla="*/ 0 h 257442"/>
                <a:gd name="connsiteX1" fmla="*/ 1548001 w 1604639"/>
                <a:gd name="connsiteY1" fmla="*/ 257442 h 257442"/>
                <a:gd name="connsiteX2" fmla="*/ 0 w 1604639"/>
                <a:gd name="connsiteY2" fmla="*/ 257442 h 257442"/>
                <a:gd name="connsiteX3" fmla="*/ 56638 w 1604639"/>
                <a:gd name="connsiteY3" fmla="*/ 0 h 257442"/>
                <a:gd name="connsiteX0" fmla="*/ 1604639 w 1604639"/>
                <a:gd name="connsiteY0" fmla="*/ 0 h 257442"/>
                <a:gd name="connsiteX1" fmla="*/ 1548001 w 1604639"/>
                <a:gd name="connsiteY1" fmla="*/ 257442 h 257442"/>
                <a:gd name="connsiteX2" fmla="*/ 0 w 1604639"/>
                <a:gd name="connsiteY2" fmla="*/ 257442 h 257442"/>
                <a:gd name="connsiteX3" fmla="*/ 56638 w 1604639"/>
                <a:gd name="connsiteY3" fmla="*/ 0 h 257442"/>
                <a:gd name="connsiteX0" fmla="*/ 994067 w 1548001"/>
                <a:gd name="connsiteY0" fmla="*/ 0 h 257442"/>
                <a:gd name="connsiteX1" fmla="*/ 1548001 w 1548001"/>
                <a:gd name="connsiteY1" fmla="*/ 257442 h 257442"/>
                <a:gd name="connsiteX2" fmla="*/ 0 w 1548001"/>
                <a:gd name="connsiteY2" fmla="*/ 257442 h 257442"/>
                <a:gd name="connsiteX3" fmla="*/ 56638 w 1548001"/>
                <a:gd name="connsiteY3" fmla="*/ 0 h 257442"/>
                <a:gd name="connsiteX0" fmla="*/ 994067 w 994067"/>
                <a:gd name="connsiteY0" fmla="*/ 0 h 257442"/>
                <a:gd name="connsiteX1" fmla="*/ 937430 w 994067"/>
                <a:gd name="connsiteY1" fmla="*/ 257442 h 257442"/>
                <a:gd name="connsiteX2" fmla="*/ 0 w 994067"/>
                <a:gd name="connsiteY2" fmla="*/ 257442 h 257442"/>
                <a:gd name="connsiteX3" fmla="*/ 56638 w 994067"/>
                <a:gd name="connsiteY3" fmla="*/ 0 h 257442"/>
                <a:gd name="connsiteX0" fmla="*/ 994066 w 994066"/>
                <a:gd name="connsiteY0" fmla="*/ 0 h 257442"/>
                <a:gd name="connsiteX1" fmla="*/ 937429 w 994066"/>
                <a:gd name="connsiteY1" fmla="*/ 257442 h 257442"/>
                <a:gd name="connsiteX2" fmla="*/ 0 w 994066"/>
                <a:gd name="connsiteY2" fmla="*/ 257442 h 257442"/>
                <a:gd name="connsiteX3" fmla="*/ 56637 w 994066"/>
                <a:gd name="connsiteY3" fmla="*/ 0 h 257442"/>
                <a:gd name="connsiteX0" fmla="*/ 994066 w 994066"/>
                <a:gd name="connsiteY0" fmla="*/ 0 h 257442"/>
                <a:gd name="connsiteX1" fmla="*/ 937429 w 994066"/>
                <a:gd name="connsiteY1" fmla="*/ 257442 h 257442"/>
                <a:gd name="connsiteX2" fmla="*/ 0 w 994066"/>
                <a:gd name="connsiteY2" fmla="*/ 257442 h 257442"/>
                <a:gd name="connsiteX3" fmla="*/ 56637 w 994066"/>
                <a:gd name="connsiteY3" fmla="*/ 0 h 257442"/>
                <a:gd name="connsiteX0" fmla="*/ 1168278 w 1168278"/>
                <a:gd name="connsiteY0" fmla="*/ 0 h 257442"/>
                <a:gd name="connsiteX1" fmla="*/ 937429 w 1168278"/>
                <a:gd name="connsiteY1" fmla="*/ 257442 h 257442"/>
                <a:gd name="connsiteX2" fmla="*/ 0 w 1168278"/>
                <a:gd name="connsiteY2" fmla="*/ 257442 h 257442"/>
                <a:gd name="connsiteX3" fmla="*/ 56637 w 1168278"/>
                <a:gd name="connsiteY3" fmla="*/ 0 h 257442"/>
                <a:gd name="connsiteX0" fmla="*/ 1168278 w 1168278"/>
                <a:gd name="connsiteY0" fmla="*/ 0 h 257442"/>
                <a:gd name="connsiteX1" fmla="*/ 1111640 w 1168278"/>
                <a:gd name="connsiteY1" fmla="*/ 257442 h 257442"/>
                <a:gd name="connsiteX2" fmla="*/ 0 w 1168278"/>
                <a:gd name="connsiteY2" fmla="*/ 257442 h 257442"/>
                <a:gd name="connsiteX3" fmla="*/ 56637 w 1168278"/>
                <a:gd name="connsiteY3" fmla="*/ 0 h 257442"/>
                <a:gd name="connsiteX0" fmla="*/ 1168279 w 1168279"/>
                <a:gd name="connsiteY0" fmla="*/ 0 h 257442"/>
                <a:gd name="connsiteX1" fmla="*/ 1111641 w 1168279"/>
                <a:gd name="connsiteY1" fmla="*/ 257442 h 257442"/>
                <a:gd name="connsiteX2" fmla="*/ 0 w 1168279"/>
                <a:gd name="connsiteY2" fmla="*/ 257442 h 257442"/>
                <a:gd name="connsiteX3" fmla="*/ 56638 w 1168279"/>
                <a:gd name="connsiteY3" fmla="*/ 0 h 257442"/>
                <a:gd name="connsiteX0" fmla="*/ 1168279 w 1168279"/>
                <a:gd name="connsiteY0" fmla="*/ 0 h 257442"/>
                <a:gd name="connsiteX1" fmla="*/ 1111641 w 1168279"/>
                <a:gd name="connsiteY1" fmla="*/ 257442 h 257442"/>
                <a:gd name="connsiteX2" fmla="*/ 0 w 1168279"/>
                <a:gd name="connsiteY2" fmla="*/ 257442 h 257442"/>
                <a:gd name="connsiteX3" fmla="*/ 56638 w 1168279"/>
                <a:gd name="connsiteY3" fmla="*/ 0 h 257442"/>
                <a:gd name="connsiteX0" fmla="*/ 1342492 w 1342492"/>
                <a:gd name="connsiteY0" fmla="*/ 0 h 257442"/>
                <a:gd name="connsiteX1" fmla="*/ 1111641 w 1342492"/>
                <a:gd name="connsiteY1" fmla="*/ 257442 h 257442"/>
                <a:gd name="connsiteX2" fmla="*/ 0 w 1342492"/>
                <a:gd name="connsiteY2" fmla="*/ 257442 h 257442"/>
                <a:gd name="connsiteX3" fmla="*/ 56638 w 1342492"/>
                <a:gd name="connsiteY3" fmla="*/ 0 h 257442"/>
                <a:gd name="connsiteX0" fmla="*/ 1342492 w 1342492"/>
                <a:gd name="connsiteY0" fmla="*/ 0 h 257442"/>
                <a:gd name="connsiteX1" fmla="*/ 1285854 w 1342492"/>
                <a:gd name="connsiteY1" fmla="*/ 257442 h 257442"/>
                <a:gd name="connsiteX2" fmla="*/ 0 w 1342492"/>
                <a:gd name="connsiteY2" fmla="*/ 257442 h 257442"/>
                <a:gd name="connsiteX3" fmla="*/ 56638 w 1342492"/>
                <a:gd name="connsiteY3" fmla="*/ 0 h 257442"/>
                <a:gd name="connsiteX0" fmla="*/ 1342492 w 1342492"/>
                <a:gd name="connsiteY0" fmla="*/ 0 h 257442"/>
                <a:gd name="connsiteX1" fmla="*/ 1285854 w 1342492"/>
                <a:gd name="connsiteY1" fmla="*/ 257442 h 257442"/>
                <a:gd name="connsiteX2" fmla="*/ 0 w 1342492"/>
                <a:gd name="connsiteY2" fmla="*/ 257442 h 257442"/>
                <a:gd name="connsiteX3" fmla="*/ 56638 w 1342492"/>
                <a:gd name="connsiteY3" fmla="*/ 0 h 257442"/>
                <a:gd name="connsiteX0" fmla="*/ 1342492 w 1342492"/>
                <a:gd name="connsiteY0" fmla="*/ 0 h 257442"/>
                <a:gd name="connsiteX1" fmla="*/ 1285854 w 1342492"/>
                <a:gd name="connsiteY1" fmla="*/ 257442 h 257442"/>
                <a:gd name="connsiteX2" fmla="*/ 0 w 1342492"/>
                <a:gd name="connsiteY2" fmla="*/ 257442 h 257442"/>
                <a:gd name="connsiteX3" fmla="*/ 56638 w 1342492"/>
                <a:gd name="connsiteY3" fmla="*/ 0 h 257442"/>
                <a:gd name="connsiteX0" fmla="*/ 1604639 w 1604639"/>
                <a:gd name="connsiteY0" fmla="*/ 0 h 257442"/>
                <a:gd name="connsiteX1" fmla="*/ 1285854 w 1604639"/>
                <a:gd name="connsiteY1" fmla="*/ 257442 h 257442"/>
                <a:gd name="connsiteX2" fmla="*/ 0 w 1604639"/>
                <a:gd name="connsiteY2" fmla="*/ 257442 h 257442"/>
                <a:gd name="connsiteX3" fmla="*/ 56638 w 1604639"/>
                <a:gd name="connsiteY3" fmla="*/ 0 h 257442"/>
                <a:gd name="connsiteX0" fmla="*/ 1604639 w 1604639"/>
                <a:gd name="connsiteY0" fmla="*/ 0 h 257442"/>
                <a:gd name="connsiteX1" fmla="*/ 1548001 w 1604639"/>
                <a:gd name="connsiteY1" fmla="*/ 257442 h 257442"/>
                <a:gd name="connsiteX2" fmla="*/ 0 w 1604639"/>
                <a:gd name="connsiteY2" fmla="*/ 257442 h 257442"/>
                <a:gd name="connsiteX3" fmla="*/ 56638 w 1604639"/>
                <a:gd name="connsiteY3" fmla="*/ 0 h 257442"/>
                <a:gd name="connsiteX0" fmla="*/ 1604639 w 1604639"/>
                <a:gd name="connsiteY0" fmla="*/ 0 h 257442"/>
                <a:gd name="connsiteX1" fmla="*/ 1548001 w 1604639"/>
                <a:gd name="connsiteY1" fmla="*/ 257442 h 257442"/>
                <a:gd name="connsiteX2" fmla="*/ 0 w 1604639"/>
                <a:gd name="connsiteY2" fmla="*/ 257442 h 257442"/>
                <a:gd name="connsiteX3" fmla="*/ 56638 w 1604639"/>
                <a:gd name="connsiteY3" fmla="*/ 0 h 257442"/>
                <a:gd name="connsiteX0" fmla="*/ 1604639 w 1604639"/>
                <a:gd name="connsiteY0" fmla="*/ 0 h 257442"/>
                <a:gd name="connsiteX1" fmla="*/ 1548001 w 1604639"/>
                <a:gd name="connsiteY1" fmla="*/ 257442 h 257442"/>
                <a:gd name="connsiteX2" fmla="*/ 0 w 1604639"/>
                <a:gd name="connsiteY2" fmla="*/ 257442 h 257442"/>
                <a:gd name="connsiteX3" fmla="*/ 56638 w 1604639"/>
                <a:gd name="connsiteY3" fmla="*/ 0 h 257442"/>
                <a:gd name="connsiteX0" fmla="*/ 1924658 w 1924658"/>
                <a:gd name="connsiteY0" fmla="*/ 0 h 257442"/>
                <a:gd name="connsiteX1" fmla="*/ 1548001 w 1924658"/>
                <a:gd name="connsiteY1" fmla="*/ 257442 h 257442"/>
                <a:gd name="connsiteX2" fmla="*/ 0 w 1924658"/>
                <a:gd name="connsiteY2" fmla="*/ 257442 h 257442"/>
                <a:gd name="connsiteX3" fmla="*/ 56638 w 1924658"/>
                <a:gd name="connsiteY3" fmla="*/ 0 h 257442"/>
                <a:gd name="connsiteX0" fmla="*/ 1924658 w 1924658"/>
                <a:gd name="connsiteY0" fmla="*/ 0 h 257442"/>
                <a:gd name="connsiteX1" fmla="*/ 1868020 w 1924658"/>
                <a:gd name="connsiteY1" fmla="*/ 257442 h 257442"/>
                <a:gd name="connsiteX2" fmla="*/ 0 w 1924658"/>
                <a:gd name="connsiteY2" fmla="*/ 257442 h 257442"/>
                <a:gd name="connsiteX3" fmla="*/ 56638 w 1924658"/>
                <a:gd name="connsiteY3" fmla="*/ 0 h 257442"/>
                <a:gd name="connsiteX0" fmla="*/ 1924658 w 1924658"/>
                <a:gd name="connsiteY0" fmla="*/ 0 h 257442"/>
                <a:gd name="connsiteX1" fmla="*/ 1868020 w 1924658"/>
                <a:gd name="connsiteY1" fmla="*/ 257442 h 257442"/>
                <a:gd name="connsiteX2" fmla="*/ 0 w 1924658"/>
                <a:gd name="connsiteY2" fmla="*/ 257442 h 257442"/>
                <a:gd name="connsiteX3" fmla="*/ 56638 w 1924658"/>
                <a:gd name="connsiteY3" fmla="*/ 0 h 257442"/>
                <a:gd name="connsiteX0" fmla="*/ 1924658 w 1924658"/>
                <a:gd name="connsiteY0" fmla="*/ 0 h 257442"/>
                <a:gd name="connsiteX1" fmla="*/ 1868020 w 1924658"/>
                <a:gd name="connsiteY1" fmla="*/ 257442 h 257442"/>
                <a:gd name="connsiteX2" fmla="*/ 0 w 1924658"/>
                <a:gd name="connsiteY2" fmla="*/ 257442 h 257442"/>
                <a:gd name="connsiteX3" fmla="*/ 56638 w 1924658"/>
                <a:gd name="connsiteY3" fmla="*/ 0 h 257442"/>
                <a:gd name="connsiteX0" fmla="*/ 2174994 w 2174994"/>
                <a:gd name="connsiteY0" fmla="*/ 0 h 257442"/>
                <a:gd name="connsiteX1" fmla="*/ 1868020 w 2174994"/>
                <a:gd name="connsiteY1" fmla="*/ 257442 h 257442"/>
                <a:gd name="connsiteX2" fmla="*/ 0 w 2174994"/>
                <a:gd name="connsiteY2" fmla="*/ 257442 h 257442"/>
                <a:gd name="connsiteX3" fmla="*/ 56638 w 2174994"/>
                <a:gd name="connsiteY3" fmla="*/ 0 h 257442"/>
                <a:gd name="connsiteX0" fmla="*/ 2174994 w 2174994"/>
                <a:gd name="connsiteY0" fmla="*/ 0 h 257442"/>
                <a:gd name="connsiteX1" fmla="*/ 2118355 w 2174994"/>
                <a:gd name="connsiteY1" fmla="*/ 257442 h 257442"/>
                <a:gd name="connsiteX2" fmla="*/ 0 w 2174994"/>
                <a:gd name="connsiteY2" fmla="*/ 257442 h 257442"/>
                <a:gd name="connsiteX3" fmla="*/ 56638 w 2174994"/>
                <a:gd name="connsiteY3" fmla="*/ 0 h 257442"/>
                <a:gd name="connsiteX0" fmla="*/ 2174994 w 2174994"/>
                <a:gd name="connsiteY0" fmla="*/ 0 h 257442"/>
                <a:gd name="connsiteX1" fmla="*/ 2118355 w 2174994"/>
                <a:gd name="connsiteY1" fmla="*/ 257442 h 257442"/>
                <a:gd name="connsiteX2" fmla="*/ 0 w 2174994"/>
                <a:gd name="connsiteY2" fmla="*/ 257442 h 257442"/>
                <a:gd name="connsiteX3" fmla="*/ 56638 w 2174994"/>
                <a:gd name="connsiteY3" fmla="*/ 0 h 257442"/>
                <a:gd name="connsiteX0" fmla="*/ 2174994 w 2174994"/>
                <a:gd name="connsiteY0" fmla="*/ 0 h 257442"/>
                <a:gd name="connsiteX1" fmla="*/ 2118355 w 2174994"/>
                <a:gd name="connsiteY1" fmla="*/ 257442 h 257442"/>
                <a:gd name="connsiteX2" fmla="*/ 0 w 2174994"/>
                <a:gd name="connsiteY2" fmla="*/ 257442 h 257442"/>
                <a:gd name="connsiteX3" fmla="*/ 56638 w 2174994"/>
                <a:gd name="connsiteY3" fmla="*/ 0 h 257442"/>
                <a:gd name="connsiteX0" fmla="*/ 2340909 w 2340909"/>
                <a:gd name="connsiteY0" fmla="*/ 0 h 257442"/>
                <a:gd name="connsiteX1" fmla="*/ 2118355 w 2340909"/>
                <a:gd name="connsiteY1" fmla="*/ 257442 h 257442"/>
                <a:gd name="connsiteX2" fmla="*/ 0 w 2340909"/>
                <a:gd name="connsiteY2" fmla="*/ 257442 h 257442"/>
                <a:gd name="connsiteX3" fmla="*/ 56638 w 2340909"/>
                <a:gd name="connsiteY3" fmla="*/ 0 h 257442"/>
                <a:gd name="connsiteX0" fmla="*/ 2340909 w 2340909"/>
                <a:gd name="connsiteY0" fmla="*/ 0 h 257442"/>
                <a:gd name="connsiteX1" fmla="*/ 2284271 w 2340909"/>
                <a:gd name="connsiteY1" fmla="*/ 257442 h 257442"/>
                <a:gd name="connsiteX2" fmla="*/ 0 w 2340909"/>
                <a:gd name="connsiteY2" fmla="*/ 257442 h 257442"/>
                <a:gd name="connsiteX3" fmla="*/ 56638 w 2340909"/>
                <a:gd name="connsiteY3" fmla="*/ 0 h 257442"/>
                <a:gd name="connsiteX0" fmla="*/ 2340909 w 2340909"/>
                <a:gd name="connsiteY0" fmla="*/ 0 h 257442"/>
                <a:gd name="connsiteX1" fmla="*/ 2284271 w 2340909"/>
                <a:gd name="connsiteY1" fmla="*/ 257442 h 257442"/>
                <a:gd name="connsiteX2" fmla="*/ 0 w 2340909"/>
                <a:gd name="connsiteY2" fmla="*/ 257442 h 257442"/>
                <a:gd name="connsiteX3" fmla="*/ 56638 w 2340909"/>
                <a:gd name="connsiteY3" fmla="*/ 0 h 257442"/>
                <a:gd name="connsiteX0" fmla="*/ 2340909 w 2340909"/>
                <a:gd name="connsiteY0" fmla="*/ 0 h 257442"/>
                <a:gd name="connsiteX1" fmla="*/ 2284271 w 2340909"/>
                <a:gd name="connsiteY1" fmla="*/ 257442 h 257442"/>
                <a:gd name="connsiteX2" fmla="*/ 0 w 2340909"/>
                <a:gd name="connsiteY2" fmla="*/ 257442 h 257442"/>
                <a:gd name="connsiteX3" fmla="*/ 56638 w 2340909"/>
                <a:gd name="connsiteY3" fmla="*/ 0 h 257442"/>
                <a:gd name="connsiteX0" fmla="*/ 2506825 w 2506825"/>
                <a:gd name="connsiteY0" fmla="*/ 0 h 257442"/>
                <a:gd name="connsiteX1" fmla="*/ 2284271 w 2506825"/>
                <a:gd name="connsiteY1" fmla="*/ 257442 h 257442"/>
                <a:gd name="connsiteX2" fmla="*/ 0 w 2506825"/>
                <a:gd name="connsiteY2" fmla="*/ 257442 h 257442"/>
                <a:gd name="connsiteX3" fmla="*/ 56638 w 2506825"/>
                <a:gd name="connsiteY3" fmla="*/ 0 h 257442"/>
                <a:gd name="connsiteX0" fmla="*/ 2506825 w 2506825"/>
                <a:gd name="connsiteY0" fmla="*/ 0 h 257442"/>
                <a:gd name="connsiteX1" fmla="*/ 2450187 w 2506825"/>
                <a:gd name="connsiteY1" fmla="*/ 257442 h 257442"/>
                <a:gd name="connsiteX2" fmla="*/ 0 w 2506825"/>
                <a:gd name="connsiteY2" fmla="*/ 257442 h 257442"/>
                <a:gd name="connsiteX3" fmla="*/ 56638 w 2506825"/>
                <a:gd name="connsiteY3" fmla="*/ 0 h 257442"/>
                <a:gd name="connsiteX0" fmla="*/ 2506825 w 2506825"/>
                <a:gd name="connsiteY0" fmla="*/ 0 h 257442"/>
                <a:gd name="connsiteX1" fmla="*/ 2450187 w 2506825"/>
                <a:gd name="connsiteY1" fmla="*/ 257442 h 257442"/>
                <a:gd name="connsiteX2" fmla="*/ 0 w 2506825"/>
                <a:gd name="connsiteY2" fmla="*/ 257442 h 257442"/>
                <a:gd name="connsiteX3" fmla="*/ 56638 w 2506825"/>
                <a:gd name="connsiteY3" fmla="*/ 0 h 257442"/>
                <a:gd name="connsiteX0" fmla="*/ 2506825 w 2506825"/>
                <a:gd name="connsiteY0" fmla="*/ 0 h 257442"/>
                <a:gd name="connsiteX1" fmla="*/ 2450187 w 2506825"/>
                <a:gd name="connsiteY1" fmla="*/ 257442 h 257442"/>
                <a:gd name="connsiteX2" fmla="*/ 0 w 2506825"/>
                <a:gd name="connsiteY2" fmla="*/ 257442 h 257442"/>
                <a:gd name="connsiteX3" fmla="*/ 56638 w 2506825"/>
                <a:gd name="connsiteY3" fmla="*/ 0 h 257442"/>
                <a:gd name="connsiteX0" fmla="*/ 2779658 w 2779658"/>
                <a:gd name="connsiteY0" fmla="*/ 0 h 257442"/>
                <a:gd name="connsiteX1" fmla="*/ 2450187 w 2779658"/>
                <a:gd name="connsiteY1" fmla="*/ 257442 h 257442"/>
                <a:gd name="connsiteX2" fmla="*/ 0 w 2779658"/>
                <a:gd name="connsiteY2" fmla="*/ 257442 h 257442"/>
                <a:gd name="connsiteX3" fmla="*/ 56638 w 2779658"/>
                <a:gd name="connsiteY3" fmla="*/ 0 h 257442"/>
                <a:gd name="connsiteX0" fmla="*/ 2779658 w 2779658"/>
                <a:gd name="connsiteY0" fmla="*/ 0 h 257442"/>
                <a:gd name="connsiteX1" fmla="*/ 2723020 w 2779658"/>
                <a:gd name="connsiteY1" fmla="*/ 257442 h 257442"/>
                <a:gd name="connsiteX2" fmla="*/ 0 w 2779658"/>
                <a:gd name="connsiteY2" fmla="*/ 257442 h 257442"/>
                <a:gd name="connsiteX3" fmla="*/ 56638 w 2779658"/>
                <a:gd name="connsiteY3" fmla="*/ 0 h 257442"/>
                <a:gd name="connsiteX0" fmla="*/ 2779657 w 2779657"/>
                <a:gd name="connsiteY0" fmla="*/ 0 h 257442"/>
                <a:gd name="connsiteX1" fmla="*/ 2723019 w 2779657"/>
                <a:gd name="connsiteY1" fmla="*/ 257442 h 257442"/>
                <a:gd name="connsiteX2" fmla="*/ 0 w 2779657"/>
                <a:gd name="connsiteY2" fmla="*/ 257442 h 257442"/>
                <a:gd name="connsiteX3" fmla="*/ 56637 w 2779657"/>
                <a:gd name="connsiteY3" fmla="*/ 0 h 257442"/>
                <a:gd name="connsiteX0" fmla="*/ 2779657 w 2779657"/>
                <a:gd name="connsiteY0" fmla="*/ 0 h 257442"/>
                <a:gd name="connsiteX1" fmla="*/ 2723019 w 2779657"/>
                <a:gd name="connsiteY1" fmla="*/ 257442 h 257442"/>
                <a:gd name="connsiteX2" fmla="*/ 0 w 2779657"/>
                <a:gd name="connsiteY2" fmla="*/ 257442 h 257442"/>
                <a:gd name="connsiteX3" fmla="*/ 56637 w 2779657"/>
                <a:gd name="connsiteY3" fmla="*/ 0 h 257442"/>
                <a:gd name="connsiteX0" fmla="*/ 2945573 w 2945573"/>
                <a:gd name="connsiteY0" fmla="*/ 0 h 257442"/>
                <a:gd name="connsiteX1" fmla="*/ 2723019 w 2945573"/>
                <a:gd name="connsiteY1" fmla="*/ 257442 h 257442"/>
                <a:gd name="connsiteX2" fmla="*/ 0 w 2945573"/>
                <a:gd name="connsiteY2" fmla="*/ 257442 h 257442"/>
                <a:gd name="connsiteX3" fmla="*/ 56637 w 2945573"/>
                <a:gd name="connsiteY3" fmla="*/ 0 h 257442"/>
                <a:gd name="connsiteX0" fmla="*/ 2945573 w 2945573"/>
                <a:gd name="connsiteY0" fmla="*/ 0 h 257442"/>
                <a:gd name="connsiteX1" fmla="*/ 2888935 w 2945573"/>
                <a:gd name="connsiteY1" fmla="*/ 257442 h 257442"/>
                <a:gd name="connsiteX2" fmla="*/ 0 w 2945573"/>
                <a:gd name="connsiteY2" fmla="*/ 257442 h 257442"/>
                <a:gd name="connsiteX3" fmla="*/ 56637 w 2945573"/>
                <a:gd name="connsiteY3" fmla="*/ 0 h 257442"/>
                <a:gd name="connsiteX0" fmla="*/ 2945574 w 2945574"/>
                <a:gd name="connsiteY0" fmla="*/ 0 h 257442"/>
                <a:gd name="connsiteX1" fmla="*/ 2888936 w 2945574"/>
                <a:gd name="connsiteY1" fmla="*/ 257442 h 257442"/>
                <a:gd name="connsiteX2" fmla="*/ 0 w 2945574"/>
                <a:gd name="connsiteY2" fmla="*/ 257442 h 257442"/>
                <a:gd name="connsiteX3" fmla="*/ 56638 w 2945574"/>
                <a:gd name="connsiteY3" fmla="*/ 0 h 257442"/>
                <a:gd name="connsiteX0" fmla="*/ 2945574 w 2945574"/>
                <a:gd name="connsiteY0" fmla="*/ 0 h 257442"/>
                <a:gd name="connsiteX1" fmla="*/ 2888936 w 2945574"/>
                <a:gd name="connsiteY1" fmla="*/ 257442 h 257442"/>
                <a:gd name="connsiteX2" fmla="*/ 0 w 2945574"/>
                <a:gd name="connsiteY2" fmla="*/ 257442 h 257442"/>
                <a:gd name="connsiteX3" fmla="*/ 56639 w 2945574"/>
                <a:gd name="connsiteY3" fmla="*/ 0 h 257442"/>
                <a:gd name="connsiteX0" fmla="*/ 3111490 w 3111490"/>
                <a:gd name="connsiteY0" fmla="*/ 0 h 257442"/>
                <a:gd name="connsiteX1" fmla="*/ 2888936 w 3111490"/>
                <a:gd name="connsiteY1" fmla="*/ 257442 h 257442"/>
                <a:gd name="connsiteX2" fmla="*/ 0 w 3111490"/>
                <a:gd name="connsiteY2" fmla="*/ 257442 h 257442"/>
                <a:gd name="connsiteX3" fmla="*/ 56639 w 3111490"/>
                <a:gd name="connsiteY3" fmla="*/ 0 h 257442"/>
                <a:gd name="connsiteX0" fmla="*/ 3111490 w 3111490"/>
                <a:gd name="connsiteY0" fmla="*/ 0 h 257442"/>
                <a:gd name="connsiteX1" fmla="*/ 3054852 w 3111490"/>
                <a:gd name="connsiteY1" fmla="*/ 257442 h 257442"/>
                <a:gd name="connsiteX2" fmla="*/ 0 w 3111490"/>
                <a:gd name="connsiteY2" fmla="*/ 257442 h 257442"/>
                <a:gd name="connsiteX3" fmla="*/ 56639 w 3111490"/>
                <a:gd name="connsiteY3" fmla="*/ 0 h 257442"/>
                <a:gd name="connsiteX0" fmla="*/ 3111490 w 3111490"/>
                <a:gd name="connsiteY0" fmla="*/ 0 h 257442"/>
                <a:gd name="connsiteX1" fmla="*/ 3054852 w 3111490"/>
                <a:gd name="connsiteY1" fmla="*/ 257442 h 257442"/>
                <a:gd name="connsiteX2" fmla="*/ 0 w 3111490"/>
                <a:gd name="connsiteY2" fmla="*/ 257442 h 257442"/>
                <a:gd name="connsiteX3" fmla="*/ 56639 w 3111490"/>
                <a:gd name="connsiteY3" fmla="*/ 0 h 257442"/>
                <a:gd name="connsiteX0" fmla="*/ 3111490 w 3111490"/>
                <a:gd name="connsiteY0" fmla="*/ 0 h 257442"/>
                <a:gd name="connsiteX1" fmla="*/ 3054852 w 3111490"/>
                <a:gd name="connsiteY1" fmla="*/ 257442 h 257442"/>
                <a:gd name="connsiteX2" fmla="*/ 0 w 3111490"/>
                <a:gd name="connsiteY2" fmla="*/ 257442 h 257442"/>
                <a:gd name="connsiteX3" fmla="*/ 56638 w 3111490"/>
                <a:gd name="connsiteY3" fmla="*/ 0 h 257442"/>
                <a:gd name="connsiteX0" fmla="*/ 3277406 w 3277406"/>
                <a:gd name="connsiteY0" fmla="*/ 0 h 257442"/>
                <a:gd name="connsiteX1" fmla="*/ 3054852 w 3277406"/>
                <a:gd name="connsiteY1" fmla="*/ 257442 h 257442"/>
                <a:gd name="connsiteX2" fmla="*/ 0 w 3277406"/>
                <a:gd name="connsiteY2" fmla="*/ 257442 h 257442"/>
                <a:gd name="connsiteX3" fmla="*/ 56638 w 3277406"/>
                <a:gd name="connsiteY3" fmla="*/ 0 h 257442"/>
                <a:gd name="connsiteX0" fmla="*/ 3277406 w 3277406"/>
                <a:gd name="connsiteY0" fmla="*/ 0 h 257442"/>
                <a:gd name="connsiteX1" fmla="*/ 3220769 w 3277406"/>
                <a:gd name="connsiteY1" fmla="*/ 257442 h 257442"/>
                <a:gd name="connsiteX2" fmla="*/ 0 w 3277406"/>
                <a:gd name="connsiteY2" fmla="*/ 257442 h 257442"/>
                <a:gd name="connsiteX3" fmla="*/ 56638 w 3277406"/>
                <a:gd name="connsiteY3" fmla="*/ 0 h 257442"/>
                <a:gd name="connsiteX0" fmla="*/ 3277405 w 3277405"/>
                <a:gd name="connsiteY0" fmla="*/ 0 h 257442"/>
                <a:gd name="connsiteX1" fmla="*/ 3220768 w 3277405"/>
                <a:gd name="connsiteY1" fmla="*/ 257442 h 257442"/>
                <a:gd name="connsiteX2" fmla="*/ 0 w 3277405"/>
                <a:gd name="connsiteY2" fmla="*/ 257442 h 257442"/>
                <a:gd name="connsiteX3" fmla="*/ 56637 w 3277405"/>
                <a:gd name="connsiteY3" fmla="*/ 0 h 257442"/>
                <a:gd name="connsiteX0" fmla="*/ 3277405 w 3277405"/>
                <a:gd name="connsiteY0" fmla="*/ 0 h 257442"/>
                <a:gd name="connsiteX1" fmla="*/ 3220768 w 3277405"/>
                <a:gd name="connsiteY1" fmla="*/ 257442 h 257442"/>
                <a:gd name="connsiteX2" fmla="*/ 0 w 3277405"/>
                <a:gd name="connsiteY2" fmla="*/ 257442 h 257442"/>
                <a:gd name="connsiteX3" fmla="*/ 56636 w 3277405"/>
                <a:gd name="connsiteY3" fmla="*/ 0 h 257442"/>
                <a:gd name="connsiteX0" fmla="*/ 3443320 w 3443320"/>
                <a:gd name="connsiteY0" fmla="*/ 0 h 257442"/>
                <a:gd name="connsiteX1" fmla="*/ 3220768 w 3443320"/>
                <a:gd name="connsiteY1" fmla="*/ 257442 h 257442"/>
                <a:gd name="connsiteX2" fmla="*/ 0 w 3443320"/>
                <a:gd name="connsiteY2" fmla="*/ 257442 h 257442"/>
                <a:gd name="connsiteX3" fmla="*/ 56636 w 3443320"/>
                <a:gd name="connsiteY3" fmla="*/ 0 h 257442"/>
                <a:gd name="connsiteX0" fmla="*/ 3443320 w 3443320"/>
                <a:gd name="connsiteY0" fmla="*/ 0 h 257442"/>
                <a:gd name="connsiteX1" fmla="*/ 3386682 w 3443320"/>
                <a:gd name="connsiteY1" fmla="*/ 257442 h 257442"/>
                <a:gd name="connsiteX2" fmla="*/ 0 w 3443320"/>
                <a:gd name="connsiteY2" fmla="*/ 257442 h 257442"/>
                <a:gd name="connsiteX3" fmla="*/ 56636 w 3443320"/>
                <a:gd name="connsiteY3" fmla="*/ 0 h 257442"/>
                <a:gd name="connsiteX0" fmla="*/ 3443323 w 3443323"/>
                <a:gd name="connsiteY0" fmla="*/ 0 h 257442"/>
                <a:gd name="connsiteX1" fmla="*/ 3386685 w 3443323"/>
                <a:gd name="connsiteY1" fmla="*/ 257442 h 257442"/>
                <a:gd name="connsiteX2" fmla="*/ 0 w 3443323"/>
                <a:gd name="connsiteY2" fmla="*/ 257442 h 257442"/>
                <a:gd name="connsiteX3" fmla="*/ 56639 w 3443323"/>
                <a:gd name="connsiteY3" fmla="*/ 0 h 257442"/>
                <a:gd name="connsiteX0" fmla="*/ 3443323 w 3443323"/>
                <a:gd name="connsiteY0" fmla="*/ 0 h 257442"/>
                <a:gd name="connsiteX1" fmla="*/ 3386685 w 3443323"/>
                <a:gd name="connsiteY1" fmla="*/ 257442 h 257442"/>
                <a:gd name="connsiteX2" fmla="*/ 0 w 3443323"/>
                <a:gd name="connsiteY2" fmla="*/ 257442 h 257442"/>
                <a:gd name="connsiteX3" fmla="*/ 56638 w 3443323"/>
                <a:gd name="connsiteY3" fmla="*/ 0 h 257442"/>
                <a:gd name="connsiteX0" fmla="*/ 3609237 w 3609237"/>
                <a:gd name="connsiteY0" fmla="*/ 0 h 257442"/>
                <a:gd name="connsiteX1" fmla="*/ 3386685 w 3609237"/>
                <a:gd name="connsiteY1" fmla="*/ 257442 h 257442"/>
                <a:gd name="connsiteX2" fmla="*/ 0 w 3609237"/>
                <a:gd name="connsiteY2" fmla="*/ 257442 h 257442"/>
                <a:gd name="connsiteX3" fmla="*/ 56638 w 3609237"/>
                <a:gd name="connsiteY3" fmla="*/ 0 h 257442"/>
                <a:gd name="connsiteX0" fmla="*/ 3609237 w 3609237"/>
                <a:gd name="connsiteY0" fmla="*/ 0 h 257442"/>
                <a:gd name="connsiteX1" fmla="*/ 3552601 w 3609237"/>
                <a:gd name="connsiteY1" fmla="*/ 257442 h 257442"/>
                <a:gd name="connsiteX2" fmla="*/ 0 w 3609237"/>
                <a:gd name="connsiteY2" fmla="*/ 257442 h 257442"/>
                <a:gd name="connsiteX3" fmla="*/ 56638 w 3609237"/>
                <a:gd name="connsiteY3" fmla="*/ 0 h 257442"/>
                <a:gd name="connsiteX0" fmla="*/ 3609237 w 3609237"/>
                <a:gd name="connsiteY0" fmla="*/ 0 h 257442"/>
                <a:gd name="connsiteX1" fmla="*/ 3552601 w 3609237"/>
                <a:gd name="connsiteY1" fmla="*/ 257442 h 257442"/>
                <a:gd name="connsiteX2" fmla="*/ 0 w 3609237"/>
                <a:gd name="connsiteY2" fmla="*/ 257442 h 257442"/>
                <a:gd name="connsiteX3" fmla="*/ 56638 w 3609237"/>
                <a:gd name="connsiteY3" fmla="*/ 0 h 257442"/>
                <a:gd name="connsiteX0" fmla="*/ 3609237 w 3609237"/>
                <a:gd name="connsiteY0" fmla="*/ 0 h 257442"/>
                <a:gd name="connsiteX1" fmla="*/ 3552601 w 3609237"/>
                <a:gd name="connsiteY1" fmla="*/ 257442 h 257442"/>
                <a:gd name="connsiteX2" fmla="*/ 0 w 3609237"/>
                <a:gd name="connsiteY2" fmla="*/ 257442 h 257442"/>
                <a:gd name="connsiteX3" fmla="*/ 56638 w 3609237"/>
                <a:gd name="connsiteY3" fmla="*/ 0 h 257442"/>
                <a:gd name="connsiteX0" fmla="*/ 3801702 w 3801702"/>
                <a:gd name="connsiteY0" fmla="*/ 0 h 257442"/>
                <a:gd name="connsiteX1" fmla="*/ 3552601 w 3801702"/>
                <a:gd name="connsiteY1" fmla="*/ 257442 h 257442"/>
                <a:gd name="connsiteX2" fmla="*/ 0 w 3801702"/>
                <a:gd name="connsiteY2" fmla="*/ 257442 h 257442"/>
                <a:gd name="connsiteX3" fmla="*/ 56638 w 3801702"/>
                <a:gd name="connsiteY3" fmla="*/ 0 h 257442"/>
                <a:gd name="connsiteX0" fmla="*/ 3801702 w 3801702"/>
                <a:gd name="connsiteY0" fmla="*/ 0 h 257442"/>
                <a:gd name="connsiteX1" fmla="*/ 3745064 w 3801702"/>
                <a:gd name="connsiteY1" fmla="*/ 257442 h 257442"/>
                <a:gd name="connsiteX2" fmla="*/ 0 w 3801702"/>
                <a:gd name="connsiteY2" fmla="*/ 257442 h 257442"/>
                <a:gd name="connsiteX3" fmla="*/ 56638 w 3801702"/>
                <a:gd name="connsiteY3" fmla="*/ 0 h 257442"/>
                <a:gd name="connsiteX0" fmla="*/ 3801702 w 3801702"/>
                <a:gd name="connsiteY0" fmla="*/ 0 h 257442"/>
                <a:gd name="connsiteX1" fmla="*/ 3745064 w 3801702"/>
                <a:gd name="connsiteY1" fmla="*/ 257442 h 257442"/>
                <a:gd name="connsiteX2" fmla="*/ 0 w 3801702"/>
                <a:gd name="connsiteY2" fmla="*/ 257442 h 257442"/>
                <a:gd name="connsiteX3" fmla="*/ 56638 w 3801702"/>
                <a:gd name="connsiteY3" fmla="*/ 0 h 257442"/>
                <a:gd name="connsiteX0" fmla="*/ 3801702 w 3801702"/>
                <a:gd name="connsiteY0" fmla="*/ 0 h 257442"/>
                <a:gd name="connsiteX1" fmla="*/ 3745064 w 3801702"/>
                <a:gd name="connsiteY1" fmla="*/ 257442 h 257442"/>
                <a:gd name="connsiteX2" fmla="*/ 0 w 3801702"/>
                <a:gd name="connsiteY2" fmla="*/ 257442 h 257442"/>
                <a:gd name="connsiteX3" fmla="*/ 56638 w 3801702"/>
                <a:gd name="connsiteY3" fmla="*/ 0 h 257442"/>
                <a:gd name="connsiteX0" fmla="*/ 3967619 w 3967619"/>
                <a:gd name="connsiteY0" fmla="*/ 0 h 257442"/>
                <a:gd name="connsiteX1" fmla="*/ 3745064 w 3967619"/>
                <a:gd name="connsiteY1" fmla="*/ 257442 h 257442"/>
                <a:gd name="connsiteX2" fmla="*/ 0 w 3967619"/>
                <a:gd name="connsiteY2" fmla="*/ 257442 h 257442"/>
                <a:gd name="connsiteX3" fmla="*/ 56638 w 3967619"/>
                <a:gd name="connsiteY3" fmla="*/ 0 h 257442"/>
                <a:gd name="connsiteX0" fmla="*/ 3967619 w 3967619"/>
                <a:gd name="connsiteY0" fmla="*/ 0 h 257442"/>
                <a:gd name="connsiteX1" fmla="*/ 3910981 w 3967619"/>
                <a:gd name="connsiteY1" fmla="*/ 257442 h 257442"/>
                <a:gd name="connsiteX2" fmla="*/ 0 w 3967619"/>
                <a:gd name="connsiteY2" fmla="*/ 257442 h 257442"/>
                <a:gd name="connsiteX3" fmla="*/ 56638 w 3967619"/>
                <a:gd name="connsiteY3" fmla="*/ 0 h 257442"/>
                <a:gd name="connsiteX0" fmla="*/ 3967619 w 3967619"/>
                <a:gd name="connsiteY0" fmla="*/ 0 h 257442"/>
                <a:gd name="connsiteX1" fmla="*/ 3910981 w 3967619"/>
                <a:gd name="connsiteY1" fmla="*/ 257442 h 257442"/>
                <a:gd name="connsiteX2" fmla="*/ 0 w 3967619"/>
                <a:gd name="connsiteY2" fmla="*/ 257442 h 257442"/>
                <a:gd name="connsiteX3" fmla="*/ 56638 w 3967619"/>
                <a:gd name="connsiteY3" fmla="*/ 0 h 257442"/>
                <a:gd name="connsiteX0" fmla="*/ 3967619 w 3967619"/>
                <a:gd name="connsiteY0" fmla="*/ 0 h 257442"/>
                <a:gd name="connsiteX1" fmla="*/ 3910981 w 3967619"/>
                <a:gd name="connsiteY1" fmla="*/ 257442 h 257442"/>
                <a:gd name="connsiteX2" fmla="*/ 0 w 3967619"/>
                <a:gd name="connsiteY2" fmla="*/ 257442 h 257442"/>
                <a:gd name="connsiteX3" fmla="*/ 56638 w 3967619"/>
                <a:gd name="connsiteY3" fmla="*/ 0 h 257442"/>
                <a:gd name="connsiteX0" fmla="*/ 4141831 w 4141831"/>
                <a:gd name="connsiteY0" fmla="*/ 0 h 257442"/>
                <a:gd name="connsiteX1" fmla="*/ 3910981 w 4141831"/>
                <a:gd name="connsiteY1" fmla="*/ 257442 h 257442"/>
                <a:gd name="connsiteX2" fmla="*/ 0 w 4141831"/>
                <a:gd name="connsiteY2" fmla="*/ 257442 h 257442"/>
                <a:gd name="connsiteX3" fmla="*/ 56638 w 4141831"/>
                <a:gd name="connsiteY3" fmla="*/ 0 h 257442"/>
                <a:gd name="connsiteX0" fmla="*/ 4141831 w 4141831"/>
                <a:gd name="connsiteY0" fmla="*/ 0 h 257442"/>
                <a:gd name="connsiteX1" fmla="*/ 4085194 w 4141831"/>
                <a:gd name="connsiteY1" fmla="*/ 257442 h 257442"/>
                <a:gd name="connsiteX2" fmla="*/ 0 w 4141831"/>
                <a:gd name="connsiteY2" fmla="*/ 257442 h 257442"/>
                <a:gd name="connsiteX3" fmla="*/ 56638 w 4141831"/>
                <a:gd name="connsiteY3" fmla="*/ 0 h 257442"/>
                <a:gd name="connsiteX0" fmla="*/ 4141831 w 4141831"/>
                <a:gd name="connsiteY0" fmla="*/ 0 h 257442"/>
                <a:gd name="connsiteX1" fmla="*/ 4085194 w 4141831"/>
                <a:gd name="connsiteY1" fmla="*/ 257442 h 257442"/>
                <a:gd name="connsiteX2" fmla="*/ 0 w 4141831"/>
                <a:gd name="connsiteY2" fmla="*/ 257442 h 257442"/>
                <a:gd name="connsiteX3" fmla="*/ 56638 w 4141831"/>
                <a:gd name="connsiteY3" fmla="*/ 0 h 257442"/>
                <a:gd name="connsiteX0" fmla="*/ 4141831 w 4141831"/>
                <a:gd name="connsiteY0" fmla="*/ 0 h 257442"/>
                <a:gd name="connsiteX1" fmla="*/ 4085194 w 4141831"/>
                <a:gd name="connsiteY1" fmla="*/ 257442 h 257442"/>
                <a:gd name="connsiteX2" fmla="*/ 0 w 4141831"/>
                <a:gd name="connsiteY2" fmla="*/ 257442 h 257442"/>
                <a:gd name="connsiteX3" fmla="*/ 56638 w 4141831"/>
                <a:gd name="connsiteY3" fmla="*/ 0 h 257442"/>
                <a:gd name="connsiteX0" fmla="*/ 984112 w 4085194"/>
                <a:gd name="connsiteY0" fmla="*/ 0 h 257442"/>
                <a:gd name="connsiteX1" fmla="*/ 4085194 w 4085194"/>
                <a:gd name="connsiteY1" fmla="*/ 257442 h 257442"/>
                <a:gd name="connsiteX2" fmla="*/ 0 w 4085194"/>
                <a:gd name="connsiteY2" fmla="*/ 257442 h 257442"/>
                <a:gd name="connsiteX3" fmla="*/ 56638 w 4085194"/>
                <a:gd name="connsiteY3" fmla="*/ 0 h 257442"/>
                <a:gd name="connsiteX0" fmla="*/ 984112 w 984112"/>
                <a:gd name="connsiteY0" fmla="*/ 0 h 257442"/>
                <a:gd name="connsiteX1" fmla="*/ 927474 w 984112"/>
                <a:gd name="connsiteY1" fmla="*/ 257442 h 257442"/>
                <a:gd name="connsiteX2" fmla="*/ 0 w 984112"/>
                <a:gd name="connsiteY2" fmla="*/ 257442 h 257442"/>
                <a:gd name="connsiteX3" fmla="*/ 56638 w 984112"/>
                <a:gd name="connsiteY3" fmla="*/ 0 h 257442"/>
                <a:gd name="connsiteX0" fmla="*/ 984112 w 984112"/>
                <a:gd name="connsiteY0" fmla="*/ 0 h 257442"/>
                <a:gd name="connsiteX1" fmla="*/ 927474 w 984112"/>
                <a:gd name="connsiteY1" fmla="*/ 257442 h 257442"/>
                <a:gd name="connsiteX2" fmla="*/ 0 w 984112"/>
                <a:gd name="connsiteY2" fmla="*/ 257442 h 257442"/>
                <a:gd name="connsiteX3" fmla="*/ 56638 w 984112"/>
                <a:gd name="connsiteY3" fmla="*/ 0 h 257442"/>
                <a:gd name="connsiteX0" fmla="*/ 984112 w 984112"/>
                <a:gd name="connsiteY0" fmla="*/ 0 h 257442"/>
                <a:gd name="connsiteX1" fmla="*/ 927474 w 984112"/>
                <a:gd name="connsiteY1" fmla="*/ 257442 h 257442"/>
                <a:gd name="connsiteX2" fmla="*/ 0 w 984112"/>
                <a:gd name="connsiteY2" fmla="*/ 257442 h 257442"/>
                <a:gd name="connsiteX3" fmla="*/ 56638 w 984112"/>
                <a:gd name="connsiteY3" fmla="*/ 0 h 257442"/>
                <a:gd name="connsiteX0" fmla="*/ 1168279 w 1168279"/>
                <a:gd name="connsiteY0" fmla="*/ 0 h 257442"/>
                <a:gd name="connsiteX1" fmla="*/ 927474 w 1168279"/>
                <a:gd name="connsiteY1" fmla="*/ 257442 h 257442"/>
                <a:gd name="connsiteX2" fmla="*/ 0 w 1168279"/>
                <a:gd name="connsiteY2" fmla="*/ 257442 h 257442"/>
                <a:gd name="connsiteX3" fmla="*/ 56638 w 1168279"/>
                <a:gd name="connsiteY3" fmla="*/ 0 h 257442"/>
                <a:gd name="connsiteX0" fmla="*/ 1168279 w 1168279"/>
                <a:gd name="connsiteY0" fmla="*/ 0 h 257442"/>
                <a:gd name="connsiteX1" fmla="*/ 1111640 w 1168279"/>
                <a:gd name="connsiteY1" fmla="*/ 257442 h 257442"/>
                <a:gd name="connsiteX2" fmla="*/ 0 w 1168279"/>
                <a:gd name="connsiteY2" fmla="*/ 257442 h 257442"/>
                <a:gd name="connsiteX3" fmla="*/ 56638 w 1168279"/>
                <a:gd name="connsiteY3" fmla="*/ 0 h 257442"/>
                <a:gd name="connsiteX0" fmla="*/ 1168280 w 1168280"/>
                <a:gd name="connsiteY0" fmla="*/ 0 h 257442"/>
                <a:gd name="connsiteX1" fmla="*/ 1111641 w 1168280"/>
                <a:gd name="connsiteY1" fmla="*/ 257442 h 257442"/>
                <a:gd name="connsiteX2" fmla="*/ 0 w 1168280"/>
                <a:gd name="connsiteY2" fmla="*/ 257442 h 257442"/>
                <a:gd name="connsiteX3" fmla="*/ 56639 w 1168280"/>
                <a:gd name="connsiteY3" fmla="*/ 0 h 257442"/>
                <a:gd name="connsiteX0" fmla="*/ 1168280 w 1168280"/>
                <a:gd name="connsiteY0" fmla="*/ 0 h 257442"/>
                <a:gd name="connsiteX1" fmla="*/ 1111641 w 1168280"/>
                <a:gd name="connsiteY1" fmla="*/ 257442 h 257442"/>
                <a:gd name="connsiteX2" fmla="*/ 0 w 1168280"/>
                <a:gd name="connsiteY2" fmla="*/ 257442 h 257442"/>
                <a:gd name="connsiteX3" fmla="*/ 56639 w 1168280"/>
                <a:gd name="connsiteY3" fmla="*/ 0 h 257442"/>
                <a:gd name="connsiteX0" fmla="*/ 1360743 w 1360743"/>
                <a:gd name="connsiteY0" fmla="*/ 0 h 257442"/>
                <a:gd name="connsiteX1" fmla="*/ 1111641 w 1360743"/>
                <a:gd name="connsiteY1" fmla="*/ 257442 h 257442"/>
                <a:gd name="connsiteX2" fmla="*/ 0 w 1360743"/>
                <a:gd name="connsiteY2" fmla="*/ 257442 h 257442"/>
                <a:gd name="connsiteX3" fmla="*/ 56639 w 1360743"/>
                <a:gd name="connsiteY3" fmla="*/ 0 h 257442"/>
                <a:gd name="connsiteX0" fmla="*/ 1360743 w 1360743"/>
                <a:gd name="connsiteY0" fmla="*/ 0 h 257442"/>
                <a:gd name="connsiteX1" fmla="*/ 1304105 w 1360743"/>
                <a:gd name="connsiteY1" fmla="*/ 257442 h 257442"/>
                <a:gd name="connsiteX2" fmla="*/ 0 w 1360743"/>
                <a:gd name="connsiteY2" fmla="*/ 257442 h 257442"/>
                <a:gd name="connsiteX3" fmla="*/ 56639 w 1360743"/>
                <a:gd name="connsiteY3" fmla="*/ 0 h 257442"/>
                <a:gd name="connsiteX0" fmla="*/ 1360742 w 1360742"/>
                <a:gd name="connsiteY0" fmla="*/ 0 h 257442"/>
                <a:gd name="connsiteX1" fmla="*/ 1304104 w 1360742"/>
                <a:gd name="connsiteY1" fmla="*/ 257442 h 257442"/>
                <a:gd name="connsiteX2" fmla="*/ 0 w 1360742"/>
                <a:gd name="connsiteY2" fmla="*/ 257442 h 257442"/>
                <a:gd name="connsiteX3" fmla="*/ 56638 w 1360742"/>
                <a:gd name="connsiteY3" fmla="*/ 0 h 257442"/>
                <a:gd name="connsiteX0" fmla="*/ 1360742 w 1360742"/>
                <a:gd name="connsiteY0" fmla="*/ 0 h 257442"/>
                <a:gd name="connsiteX1" fmla="*/ 1304104 w 1360742"/>
                <a:gd name="connsiteY1" fmla="*/ 257442 h 257442"/>
                <a:gd name="connsiteX2" fmla="*/ 0 w 1360742"/>
                <a:gd name="connsiteY2" fmla="*/ 257442 h 257442"/>
                <a:gd name="connsiteX3" fmla="*/ 56637 w 1360742"/>
                <a:gd name="connsiteY3" fmla="*/ 0 h 257442"/>
                <a:gd name="connsiteX0" fmla="*/ 1553205 w 1553205"/>
                <a:gd name="connsiteY0" fmla="*/ 0 h 257442"/>
                <a:gd name="connsiteX1" fmla="*/ 1304104 w 1553205"/>
                <a:gd name="connsiteY1" fmla="*/ 257442 h 257442"/>
                <a:gd name="connsiteX2" fmla="*/ 0 w 1553205"/>
                <a:gd name="connsiteY2" fmla="*/ 257442 h 257442"/>
                <a:gd name="connsiteX3" fmla="*/ 56637 w 1553205"/>
                <a:gd name="connsiteY3" fmla="*/ 0 h 257442"/>
                <a:gd name="connsiteX0" fmla="*/ 1553205 w 1553205"/>
                <a:gd name="connsiteY0" fmla="*/ 0 h 257442"/>
                <a:gd name="connsiteX1" fmla="*/ 1496567 w 1553205"/>
                <a:gd name="connsiteY1" fmla="*/ 257442 h 257442"/>
                <a:gd name="connsiteX2" fmla="*/ 0 w 1553205"/>
                <a:gd name="connsiteY2" fmla="*/ 257442 h 257442"/>
                <a:gd name="connsiteX3" fmla="*/ 56637 w 1553205"/>
                <a:gd name="connsiteY3" fmla="*/ 0 h 257442"/>
                <a:gd name="connsiteX0" fmla="*/ 1553206 w 1553206"/>
                <a:gd name="connsiteY0" fmla="*/ 0 h 257442"/>
                <a:gd name="connsiteX1" fmla="*/ 1496568 w 1553206"/>
                <a:gd name="connsiteY1" fmla="*/ 257442 h 257442"/>
                <a:gd name="connsiteX2" fmla="*/ 0 w 1553206"/>
                <a:gd name="connsiteY2" fmla="*/ 257442 h 257442"/>
                <a:gd name="connsiteX3" fmla="*/ 56638 w 1553206"/>
                <a:gd name="connsiteY3" fmla="*/ 0 h 257442"/>
                <a:gd name="connsiteX0" fmla="*/ 1553206 w 1553206"/>
                <a:gd name="connsiteY0" fmla="*/ 0 h 257442"/>
                <a:gd name="connsiteX1" fmla="*/ 1496568 w 1553206"/>
                <a:gd name="connsiteY1" fmla="*/ 257442 h 257442"/>
                <a:gd name="connsiteX2" fmla="*/ 0 w 1553206"/>
                <a:gd name="connsiteY2" fmla="*/ 257442 h 257442"/>
                <a:gd name="connsiteX3" fmla="*/ 56639 w 1553206"/>
                <a:gd name="connsiteY3" fmla="*/ 0 h 257442"/>
                <a:gd name="connsiteX0" fmla="*/ 1719123 w 1719123"/>
                <a:gd name="connsiteY0" fmla="*/ 0 h 257442"/>
                <a:gd name="connsiteX1" fmla="*/ 1496568 w 1719123"/>
                <a:gd name="connsiteY1" fmla="*/ 257442 h 257442"/>
                <a:gd name="connsiteX2" fmla="*/ 0 w 1719123"/>
                <a:gd name="connsiteY2" fmla="*/ 257442 h 257442"/>
                <a:gd name="connsiteX3" fmla="*/ 56639 w 1719123"/>
                <a:gd name="connsiteY3" fmla="*/ 0 h 257442"/>
                <a:gd name="connsiteX0" fmla="*/ 1719123 w 1719123"/>
                <a:gd name="connsiteY0" fmla="*/ 0 h 257442"/>
                <a:gd name="connsiteX1" fmla="*/ 1662484 w 1719123"/>
                <a:gd name="connsiteY1" fmla="*/ 257442 h 257442"/>
                <a:gd name="connsiteX2" fmla="*/ 0 w 1719123"/>
                <a:gd name="connsiteY2" fmla="*/ 257442 h 257442"/>
                <a:gd name="connsiteX3" fmla="*/ 56639 w 1719123"/>
                <a:gd name="connsiteY3" fmla="*/ 0 h 257442"/>
                <a:gd name="connsiteX0" fmla="*/ 1719123 w 1719123"/>
                <a:gd name="connsiteY0" fmla="*/ 0 h 257442"/>
                <a:gd name="connsiteX1" fmla="*/ 1662484 w 1719123"/>
                <a:gd name="connsiteY1" fmla="*/ 257442 h 257442"/>
                <a:gd name="connsiteX2" fmla="*/ 0 w 1719123"/>
                <a:gd name="connsiteY2" fmla="*/ 257442 h 257442"/>
                <a:gd name="connsiteX3" fmla="*/ 56639 w 1719123"/>
                <a:gd name="connsiteY3" fmla="*/ 0 h 257442"/>
                <a:gd name="connsiteX0" fmla="*/ 1719123 w 1719123"/>
                <a:gd name="connsiteY0" fmla="*/ 0 h 257442"/>
                <a:gd name="connsiteX1" fmla="*/ 1662484 w 1719123"/>
                <a:gd name="connsiteY1" fmla="*/ 257442 h 257442"/>
                <a:gd name="connsiteX2" fmla="*/ 0 w 1719123"/>
                <a:gd name="connsiteY2" fmla="*/ 257442 h 257442"/>
                <a:gd name="connsiteX3" fmla="*/ 56638 w 1719123"/>
                <a:gd name="connsiteY3" fmla="*/ 0 h 257442"/>
                <a:gd name="connsiteX0" fmla="*/ 1893334 w 1893334"/>
                <a:gd name="connsiteY0" fmla="*/ 0 h 257442"/>
                <a:gd name="connsiteX1" fmla="*/ 1662484 w 1893334"/>
                <a:gd name="connsiteY1" fmla="*/ 257442 h 257442"/>
                <a:gd name="connsiteX2" fmla="*/ 0 w 1893334"/>
                <a:gd name="connsiteY2" fmla="*/ 257442 h 257442"/>
                <a:gd name="connsiteX3" fmla="*/ 56638 w 1893334"/>
                <a:gd name="connsiteY3" fmla="*/ 0 h 257442"/>
                <a:gd name="connsiteX0" fmla="*/ 1893334 w 1893334"/>
                <a:gd name="connsiteY0" fmla="*/ 0 h 257442"/>
                <a:gd name="connsiteX1" fmla="*/ 1836697 w 1893334"/>
                <a:gd name="connsiteY1" fmla="*/ 257442 h 257442"/>
                <a:gd name="connsiteX2" fmla="*/ 0 w 1893334"/>
                <a:gd name="connsiteY2" fmla="*/ 257442 h 257442"/>
                <a:gd name="connsiteX3" fmla="*/ 56638 w 1893334"/>
                <a:gd name="connsiteY3" fmla="*/ 0 h 257442"/>
                <a:gd name="connsiteX0" fmla="*/ 1893334 w 1893334"/>
                <a:gd name="connsiteY0" fmla="*/ 0 h 257442"/>
                <a:gd name="connsiteX1" fmla="*/ 1836697 w 1893334"/>
                <a:gd name="connsiteY1" fmla="*/ 257442 h 257442"/>
                <a:gd name="connsiteX2" fmla="*/ 0 w 1893334"/>
                <a:gd name="connsiteY2" fmla="*/ 257442 h 257442"/>
                <a:gd name="connsiteX3" fmla="*/ 56638 w 1893334"/>
                <a:gd name="connsiteY3" fmla="*/ 0 h 257442"/>
                <a:gd name="connsiteX0" fmla="*/ 1893334 w 1893334"/>
                <a:gd name="connsiteY0" fmla="*/ 0 h 257442"/>
                <a:gd name="connsiteX1" fmla="*/ 1836697 w 1893334"/>
                <a:gd name="connsiteY1" fmla="*/ 257442 h 257442"/>
                <a:gd name="connsiteX2" fmla="*/ 0 w 1893334"/>
                <a:gd name="connsiteY2" fmla="*/ 257442 h 257442"/>
                <a:gd name="connsiteX3" fmla="*/ 56638 w 1893334"/>
                <a:gd name="connsiteY3" fmla="*/ 0 h 257442"/>
                <a:gd name="connsiteX0" fmla="*/ 2213354 w 2213354"/>
                <a:gd name="connsiteY0" fmla="*/ 0 h 257442"/>
                <a:gd name="connsiteX1" fmla="*/ 1836697 w 2213354"/>
                <a:gd name="connsiteY1" fmla="*/ 257442 h 257442"/>
                <a:gd name="connsiteX2" fmla="*/ 0 w 2213354"/>
                <a:gd name="connsiteY2" fmla="*/ 257442 h 257442"/>
                <a:gd name="connsiteX3" fmla="*/ 56638 w 2213354"/>
                <a:gd name="connsiteY3" fmla="*/ 0 h 257442"/>
                <a:gd name="connsiteX0" fmla="*/ 2213354 w 2213354"/>
                <a:gd name="connsiteY0" fmla="*/ 0 h 257442"/>
                <a:gd name="connsiteX1" fmla="*/ 2156716 w 2213354"/>
                <a:gd name="connsiteY1" fmla="*/ 257442 h 257442"/>
                <a:gd name="connsiteX2" fmla="*/ 0 w 2213354"/>
                <a:gd name="connsiteY2" fmla="*/ 257442 h 257442"/>
                <a:gd name="connsiteX3" fmla="*/ 56638 w 2213354"/>
                <a:gd name="connsiteY3" fmla="*/ 0 h 257442"/>
                <a:gd name="connsiteX0" fmla="*/ 2213354 w 2213354"/>
                <a:gd name="connsiteY0" fmla="*/ 0 h 257442"/>
                <a:gd name="connsiteX1" fmla="*/ 2156716 w 2213354"/>
                <a:gd name="connsiteY1" fmla="*/ 257442 h 257442"/>
                <a:gd name="connsiteX2" fmla="*/ 0 w 2213354"/>
                <a:gd name="connsiteY2" fmla="*/ 257442 h 257442"/>
                <a:gd name="connsiteX3" fmla="*/ 56638 w 2213354"/>
                <a:gd name="connsiteY3" fmla="*/ 0 h 257442"/>
                <a:gd name="connsiteX0" fmla="*/ 2213354 w 2213354"/>
                <a:gd name="connsiteY0" fmla="*/ 0 h 257442"/>
                <a:gd name="connsiteX1" fmla="*/ 2156716 w 2213354"/>
                <a:gd name="connsiteY1" fmla="*/ 257442 h 257442"/>
                <a:gd name="connsiteX2" fmla="*/ 0 w 2213354"/>
                <a:gd name="connsiteY2" fmla="*/ 257442 h 257442"/>
                <a:gd name="connsiteX3" fmla="*/ 56638 w 2213354"/>
                <a:gd name="connsiteY3" fmla="*/ 0 h 257442"/>
                <a:gd name="connsiteX0" fmla="*/ 2387565 w 2387565"/>
                <a:gd name="connsiteY0" fmla="*/ 0 h 257442"/>
                <a:gd name="connsiteX1" fmla="*/ 2156716 w 2387565"/>
                <a:gd name="connsiteY1" fmla="*/ 257442 h 257442"/>
                <a:gd name="connsiteX2" fmla="*/ 0 w 2387565"/>
                <a:gd name="connsiteY2" fmla="*/ 257442 h 257442"/>
                <a:gd name="connsiteX3" fmla="*/ 56638 w 2387565"/>
                <a:gd name="connsiteY3" fmla="*/ 0 h 257442"/>
                <a:gd name="connsiteX0" fmla="*/ 2387565 w 2387565"/>
                <a:gd name="connsiteY0" fmla="*/ 0 h 257442"/>
                <a:gd name="connsiteX1" fmla="*/ 2330928 w 2387565"/>
                <a:gd name="connsiteY1" fmla="*/ 257442 h 257442"/>
                <a:gd name="connsiteX2" fmla="*/ 0 w 2387565"/>
                <a:gd name="connsiteY2" fmla="*/ 257442 h 257442"/>
                <a:gd name="connsiteX3" fmla="*/ 56638 w 2387565"/>
                <a:gd name="connsiteY3" fmla="*/ 0 h 257442"/>
                <a:gd name="connsiteX0" fmla="*/ 2387565 w 2387565"/>
                <a:gd name="connsiteY0" fmla="*/ 0 h 257442"/>
                <a:gd name="connsiteX1" fmla="*/ 2330928 w 2387565"/>
                <a:gd name="connsiteY1" fmla="*/ 257442 h 257442"/>
                <a:gd name="connsiteX2" fmla="*/ 0 w 2387565"/>
                <a:gd name="connsiteY2" fmla="*/ 257442 h 257442"/>
                <a:gd name="connsiteX3" fmla="*/ 56638 w 2387565"/>
                <a:gd name="connsiteY3" fmla="*/ 0 h 257442"/>
                <a:gd name="connsiteX0" fmla="*/ 2387565 w 2387565"/>
                <a:gd name="connsiteY0" fmla="*/ 0 h 257442"/>
                <a:gd name="connsiteX1" fmla="*/ 2330928 w 2387565"/>
                <a:gd name="connsiteY1" fmla="*/ 257442 h 257442"/>
                <a:gd name="connsiteX2" fmla="*/ 0 w 2387565"/>
                <a:gd name="connsiteY2" fmla="*/ 257442 h 257442"/>
                <a:gd name="connsiteX3" fmla="*/ 56638 w 2387565"/>
                <a:gd name="connsiteY3" fmla="*/ 0 h 257442"/>
                <a:gd name="connsiteX0" fmla="*/ 994067 w 2330928"/>
                <a:gd name="connsiteY0" fmla="*/ 0 h 257442"/>
                <a:gd name="connsiteX1" fmla="*/ 2330928 w 2330928"/>
                <a:gd name="connsiteY1" fmla="*/ 257442 h 257442"/>
                <a:gd name="connsiteX2" fmla="*/ 0 w 2330928"/>
                <a:gd name="connsiteY2" fmla="*/ 257442 h 257442"/>
                <a:gd name="connsiteX3" fmla="*/ 56638 w 2330928"/>
                <a:gd name="connsiteY3" fmla="*/ 0 h 257442"/>
                <a:gd name="connsiteX0" fmla="*/ 994067 w 994067"/>
                <a:gd name="connsiteY0" fmla="*/ 0 h 257442"/>
                <a:gd name="connsiteX1" fmla="*/ 937429 w 994067"/>
                <a:gd name="connsiteY1" fmla="*/ 257442 h 257442"/>
                <a:gd name="connsiteX2" fmla="*/ 0 w 994067"/>
                <a:gd name="connsiteY2" fmla="*/ 257442 h 257442"/>
                <a:gd name="connsiteX3" fmla="*/ 56638 w 994067"/>
                <a:gd name="connsiteY3" fmla="*/ 0 h 257442"/>
                <a:gd name="connsiteX0" fmla="*/ 994066 w 994066"/>
                <a:gd name="connsiteY0" fmla="*/ 0 h 257442"/>
                <a:gd name="connsiteX1" fmla="*/ 937428 w 994066"/>
                <a:gd name="connsiteY1" fmla="*/ 257442 h 257442"/>
                <a:gd name="connsiteX2" fmla="*/ 0 w 994066"/>
                <a:gd name="connsiteY2" fmla="*/ 257442 h 257442"/>
                <a:gd name="connsiteX3" fmla="*/ 56637 w 994066"/>
                <a:gd name="connsiteY3" fmla="*/ 0 h 257442"/>
                <a:gd name="connsiteX0" fmla="*/ 994066 w 994066"/>
                <a:gd name="connsiteY0" fmla="*/ 0 h 257442"/>
                <a:gd name="connsiteX1" fmla="*/ 937428 w 994066"/>
                <a:gd name="connsiteY1" fmla="*/ 257442 h 257442"/>
                <a:gd name="connsiteX2" fmla="*/ 0 w 994066"/>
                <a:gd name="connsiteY2" fmla="*/ 257442 h 257442"/>
                <a:gd name="connsiteX3" fmla="*/ 56637 w 994066"/>
                <a:gd name="connsiteY3" fmla="*/ 0 h 257442"/>
                <a:gd name="connsiteX0" fmla="*/ 1168278 w 1168278"/>
                <a:gd name="connsiteY0" fmla="*/ 0 h 257442"/>
                <a:gd name="connsiteX1" fmla="*/ 937428 w 1168278"/>
                <a:gd name="connsiteY1" fmla="*/ 257442 h 257442"/>
                <a:gd name="connsiteX2" fmla="*/ 0 w 1168278"/>
                <a:gd name="connsiteY2" fmla="*/ 257442 h 257442"/>
                <a:gd name="connsiteX3" fmla="*/ 56637 w 1168278"/>
                <a:gd name="connsiteY3" fmla="*/ 0 h 257442"/>
                <a:gd name="connsiteX0" fmla="*/ 1168278 w 1168278"/>
                <a:gd name="connsiteY0" fmla="*/ 0 h 257442"/>
                <a:gd name="connsiteX1" fmla="*/ 1111640 w 1168278"/>
                <a:gd name="connsiteY1" fmla="*/ 257442 h 257442"/>
                <a:gd name="connsiteX2" fmla="*/ 0 w 1168278"/>
                <a:gd name="connsiteY2" fmla="*/ 257442 h 257442"/>
                <a:gd name="connsiteX3" fmla="*/ 56637 w 1168278"/>
                <a:gd name="connsiteY3" fmla="*/ 0 h 257442"/>
                <a:gd name="connsiteX0" fmla="*/ 1168279 w 1168279"/>
                <a:gd name="connsiteY0" fmla="*/ 0 h 257442"/>
                <a:gd name="connsiteX1" fmla="*/ 1111641 w 1168279"/>
                <a:gd name="connsiteY1" fmla="*/ 257442 h 257442"/>
                <a:gd name="connsiteX2" fmla="*/ 0 w 1168279"/>
                <a:gd name="connsiteY2" fmla="*/ 257442 h 257442"/>
                <a:gd name="connsiteX3" fmla="*/ 56638 w 1168279"/>
                <a:gd name="connsiteY3" fmla="*/ 0 h 257442"/>
                <a:gd name="connsiteX0" fmla="*/ 1168279 w 1168279"/>
                <a:gd name="connsiteY0" fmla="*/ 0 h 257442"/>
                <a:gd name="connsiteX1" fmla="*/ 1111641 w 1168279"/>
                <a:gd name="connsiteY1" fmla="*/ 257442 h 257442"/>
                <a:gd name="connsiteX2" fmla="*/ 0 w 1168279"/>
                <a:gd name="connsiteY2" fmla="*/ 257442 h 257442"/>
                <a:gd name="connsiteX3" fmla="*/ 56638 w 1168279"/>
                <a:gd name="connsiteY3" fmla="*/ 0 h 257442"/>
                <a:gd name="connsiteX0" fmla="*/ 1342492 w 1342492"/>
                <a:gd name="connsiteY0" fmla="*/ 0 h 257442"/>
                <a:gd name="connsiteX1" fmla="*/ 1111641 w 1342492"/>
                <a:gd name="connsiteY1" fmla="*/ 257442 h 257442"/>
                <a:gd name="connsiteX2" fmla="*/ 0 w 1342492"/>
                <a:gd name="connsiteY2" fmla="*/ 257442 h 257442"/>
                <a:gd name="connsiteX3" fmla="*/ 56638 w 1342492"/>
                <a:gd name="connsiteY3" fmla="*/ 0 h 257442"/>
                <a:gd name="connsiteX0" fmla="*/ 1342492 w 1342492"/>
                <a:gd name="connsiteY0" fmla="*/ 0 h 257442"/>
                <a:gd name="connsiteX1" fmla="*/ 1285853 w 1342492"/>
                <a:gd name="connsiteY1" fmla="*/ 257442 h 257442"/>
                <a:gd name="connsiteX2" fmla="*/ 0 w 1342492"/>
                <a:gd name="connsiteY2" fmla="*/ 257442 h 257442"/>
                <a:gd name="connsiteX3" fmla="*/ 56638 w 1342492"/>
                <a:gd name="connsiteY3" fmla="*/ 0 h 257442"/>
                <a:gd name="connsiteX0" fmla="*/ 1342492 w 1342492"/>
                <a:gd name="connsiteY0" fmla="*/ 0 h 257442"/>
                <a:gd name="connsiteX1" fmla="*/ 1285853 w 1342492"/>
                <a:gd name="connsiteY1" fmla="*/ 257442 h 257442"/>
                <a:gd name="connsiteX2" fmla="*/ 0 w 1342492"/>
                <a:gd name="connsiteY2" fmla="*/ 257442 h 257442"/>
                <a:gd name="connsiteX3" fmla="*/ 56638 w 1342492"/>
                <a:gd name="connsiteY3" fmla="*/ 0 h 257442"/>
                <a:gd name="connsiteX0" fmla="*/ 1342492 w 1342492"/>
                <a:gd name="connsiteY0" fmla="*/ 0 h 257442"/>
                <a:gd name="connsiteX1" fmla="*/ 1285853 w 1342492"/>
                <a:gd name="connsiteY1" fmla="*/ 257442 h 257442"/>
                <a:gd name="connsiteX2" fmla="*/ 0 w 1342492"/>
                <a:gd name="connsiteY2" fmla="*/ 257442 h 257442"/>
                <a:gd name="connsiteX3" fmla="*/ 56638 w 1342492"/>
                <a:gd name="connsiteY3" fmla="*/ 0 h 257442"/>
                <a:gd name="connsiteX0" fmla="*/ 1604638 w 1604638"/>
                <a:gd name="connsiteY0" fmla="*/ 0 h 257442"/>
                <a:gd name="connsiteX1" fmla="*/ 1285853 w 1604638"/>
                <a:gd name="connsiteY1" fmla="*/ 257442 h 257442"/>
                <a:gd name="connsiteX2" fmla="*/ 0 w 1604638"/>
                <a:gd name="connsiteY2" fmla="*/ 257442 h 257442"/>
                <a:gd name="connsiteX3" fmla="*/ 56638 w 1604638"/>
                <a:gd name="connsiteY3" fmla="*/ 0 h 257442"/>
                <a:gd name="connsiteX0" fmla="*/ 1604638 w 1604638"/>
                <a:gd name="connsiteY0" fmla="*/ 0 h 257442"/>
                <a:gd name="connsiteX1" fmla="*/ 1547999 w 1604638"/>
                <a:gd name="connsiteY1" fmla="*/ 257442 h 257442"/>
                <a:gd name="connsiteX2" fmla="*/ 0 w 1604638"/>
                <a:gd name="connsiteY2" fmla="*/ 257442 h 257442"/>
                <a:gd name="connsiteX3" fmla="*/ 56638 w 1604638"/>
                <a:gd name="connsiteY3" fmla="*/ 0 h 257442"/>
                <a:gd name="connsiteX0" fmla="*/ 1604639 w 1604639"/>
                <a:gd name="connsiteY0" fmla="*/ 0 h 257442"/>
                <a:gd name="connsiteX1" fmla="*/ 1548000 w 1604639"/>
                <a:gd name="connsiteY1" fmla="*/ 257442 h 257442"/>
                <a:gd name="connsiteX2" fmla="*/ 0 w 1604639"/>
                <a:gd name="connsiteY2" fmla="*/ 257442 h 257442"/>
                <a:gd name="connsiteX3" fmla="*/ 56639 w 1604639"/>
                <a:gd name="connsiteY3" fmla="*/ 0 h 257442"/>
                <a:gd name="connsiteX0" fmla="*/ 1604639 w 1604639"/>
                <a:gd name="connsiteY0" fmla="*/ 0 h 257442"/>
                <a:gd name="connsiteX1" fmla="*/ 1548000 w 1604639"/>
                <a:gd name="connsiteY1" fmla="*/ 257442 h 257442"/>
                <a:gd name="connsiteX2" fmla="*/ 0 w 1604639"/>
                <a:gd name="connsiteY2" fmla="*/ 257442 h 257442"/>
                <a:gd name="connsiteX3" fmla="*/ 56639 w 1604639"/>
                <a:gd name="connsiteY3" fmla="*/ 0 h 257442"/>
                <a:gd name="connsiteX0" fmla="*/ 1924658 w 1924658"/>
                <a:gd name="connsiteY0" fmla="*/ 0 h 257442"/>
                <a:gd name="connsiteX1" fmla="*/ 1548000 w 1924658"/>
                <a:gd name="connsiteY1" fmla="*/ 257442 h 257442"/>
                <a:gd name="connsiteX2" fmla="*/ 0 w 1924658"/>
                <a:gd name="connsiteY2" fmla="*/ 257442 h 257442"/>
                <a:gd name="connsiteX3" fmla="*/ 56639 w 1924658"/>
                <a:gd name="connsiteY3" fmla="*/ 0 h 257442"/>
                <a:gd name="connsiteX0" fmla="*/ 1924658 w 1924658"/>
                <a:gd name="connsiteY0" fmla="*/ 0 h 257442"/>
                <a:gd name="connsiteX1" fmla="*/ 1868019 w 1924658"/>
                <a:gd name="connsiteY1" fmla="*/ 257442 h 257442"/>
                <a:gd name="connsiteX2" fmla="*/ 0 w 1924658"/>
                <a:gd name="connsiteY2" fmla="*/ 257442 h 257442"/>
                <a:gd name="connsiteX3" fmla="*/ 56639 w 1924658"/>
                <a:gd name="connsiteY3" fmla="*/ 0 h 257442"/>
                <a:gd name="connsiteX0" fmla="*/ 1924658 w 1924658"/>
                <a:gd name="connsiteY0" fmla="*/ 0 h 257442"/>
                <a:gd name="connsiteX1" fmla="*/ 1868019 w 1924658"/>
                <a:gd name="connsiteY1" fmla="*/ 257442 h 257442"/>
                <a:gd name="connsiteX2" fmla="*/ 0 w 1924658"/>
                <a:gd name="connsiteY2" fmla="*/ 257442 h 257442"/>
                <a:gd name="connsiteX3" fmla="*/ 56639 w 1924658"/>
                <a:gd name="connsiteY3" fmla="*/ 0 h 257442"/>
                <a:gd name="connsiteX0" fmla="*/ 1924658 w 1924658"/>
                <a:gd name="connsiteY0" fmla="*/ 0 h 257442"/>
                <a:gd name="connsiteX1" fmla="*/ 1868019 w 1924658"/>
                <a:gd name="connsiteY1" fmla="*/ 257442 h 257442"/>
                <a:gd name="connsiteX2" fmla="*/ 0 w 1924658"/>
                <a:gd name="connsiteY2" fmla="*/ 257442 h 257442"/>
                <a:gd name="connsiteX3" fmla="*/ 56638 w 1924658"/>
                <a:gd name="connsiteY3" fmla="*/ 0 h 257442"/>
                <a:gd name="connsiteX0" fmla="*/ 2174992 w 2174992"/>
                <a:gd name="connsiteY0" fmla="*/ 0 h 257442"/>
                <a:gd name="connsiteX1" fmla="*/ 1868019 w 2174992"/>
                <a:gd name="connsiteY1" fmla="*/ 257442 h 257442"/>
                <a:gd name="connsiteX2" fmla="*/ 0 w 2174992"/>
                <a:gd name="connsiteY2" fmla="*/ 257442 h 257442"/>
                <a:gd name="connsiteX3" fmla="*/ 56638 w 2174992"/>
                <a:gd name="connsiteY3" fmla="*/ 0 h 257442"/>
                <a:gd name="connsiteX0" fmla="*/ 2174992 w 2174992"/>
                <a:gd name="connsiteY0" fmla="*/ 0 h 257442"/>
                <a:gd name="connsiteX1" fmla="*/ 2118354 w 2174992"/>
                <a:gd name="connsiteY1" fmla="*/ 257442 h 257442"/>
                <a:gd name="connsiteX2" fmla="*/ 0 w 2174992"/>
                <a:gd name="connsiteY2" fmla="*/ 257442 h 257442"/>
                <a:gd name="connsiteX3" fmla="*/ 56638 w 2174992"/>
                <a:gd name="connsiteY3" fmla="*/ 0 h 257442"/>
                <a:gd name="connsiteX0" fmla="*/ 2174992 w 2174992"/>
                <a:gd name="connsiteY0" fmla="*/ 0 h 257442"/>
                <a:gd name="connsiteX1" fmla="*/ 2118354 w 2174992"/>
                <a:gd name="connsiteY1" fmla="*/ 257442 h 257442"/>
                <a:gd name="connsiteX2" fmla="*/ 0 w 2174992"/>
                <a:gd name="connsiteY2" fmla="*/ 257442 h 257442"/>
                <a:gd name="connsiteX3" fmla="*/ 56638 w 2174992"/>
                <a:gd name="connsiteY3" fmla="*/ 0 h 257442"/>
                <a:gd name="connsiteX0" fmla="*/ 2174992 w 2174992"/>
                <a:gd name="connsiteY0" fmla="*/ 0 h 257442"/>
                <a:gd name="connsiteX1" fmla="*/ 2118354 w 2174992"/>
                <a:gd name="connsiteY1" fmla="*/ 257442 h 257442"/>
                <a:gd name="connsiteX2" fmla="*/ 0 w 2174992"/>
                <a:gd name="connsiteY2" fmla="*/ 257442 h 257442"/>
                <a:gd name="connsiteX3" fmla="*/ 56638 w 2174992"/>
                <a:gd name="connsiteY3" fmla="*/ 0 h 257442"/>
                <a:gd name="connsiteX0" fmla="*/ 2340908 w 2340908"/>
                <a:gd name="connsiteY0" fmla="*/ 0 h 257442"/>
                <a:gd name="connsiteX1" fmla="*/ 2118354 w 2340908"/>
                <a:gd name="connsiteY1" fmla="*/ 257442 h 257442"/>
                <a:gd name="connsiteX2" fmla="*/ 0 w 2340908"/>
                <a:gd name="connsiteY2" fmla="*/ 257442 h 257442"/>
                <a:gd name="connsiteX3" fmla="*/ 56638 w 2340908"/>
                <a:gd name="connsiteY3" fmla="*/ 0 h 257442"/>
                <a:gd name="connsiteX0" fmla="*/ 2340908 w 2340908"/>
                <a:gd name="connsiteY0" fmla="*/ 0 h 257442"/>
                <a:gd name="connsiteX1" fmla="*/ 2284270 w 2340908"/>
                <a:gd name="connsiteY1" fmla="*/ 257442 h 257442"/>
                <a:gd name="connsiteX2" fmla="*/ 0 w 2340908"/>
                <a:gd name="connsiteY2" fmla="*/ 257442 h 257442"/>
                <a:gd name="connsiteX3" fmla="*/ 56638 w 2340908"/>
                <a:gd name="connsiteY3" fmla="*/ 0 h 257442"/>
                <a:gd name="connsiteX0" fmla="*/ 2340908 w 2340908"/>
                <a:gd name="connsiteY0" fmla="*/ 0 h 257442"/>
                <a:gd name="connsiteX1" fmla="*/ 2284270 w 2340908"/>
                <a:gd name="connsiteY1" fmla="*/ 257442 h 257442"/>
                <a:gd name="connsiteX2" fmla="*/ 0 w 2340908"/>
                <a:gd name="connsiteY2" fmla="*/ 257442 h 257442"/>
                <a:gd name="connsiteX3" fmla="*/ 56638 w 2340908"/>
                <a:gd name="connsiteY3" fmla="*/ 0 h 257442"/>
                <a:gd name="connsiteX0" fmla="*/ 2340908 w 2340908"/>
                <a:gd name="connsiteY0" fmla="*/ 0 h 257442"/>
                <a:gd name="connsiteX1" fmla="*/ 2284270 w 2340908"/>
                <a:gd name="connsiteY1" fmla="*/ 257442 h 257442"/>
                <a:gd name="connsiteX2" fmla="*/ 0 w 2340908"/>
                <a:gd name="connsiteY2" fmla="*/ 257442 h 257442"/>
                <a:gd name="connsiteX3" fmla="*/ 56638 w 2340908"/>
                <a:gd name="connsiteY3" fmla="*/ 0 h 257442"/>
                <a:gd name="connsiteX0" fmla="*/ 2506824 w 2506824"/>
                <a:gd name="connsiteY0" fmla="*/ 0 h 257442"/>
                <a:gd name="connsiteX1" fmla="*/ 2284270 w 2506824"/>
                <a:gd name="connsiteY1" fmla="*/ 257442 h 257442"/>
                <a:gd name="connsiteX2" fmla="*/ 0 w 2506824"/>
                <a:gd name="connsiteY2" fmla="*/ 257442 h 257442"/>
                <a:gd name="connsiteX3" fmla="*/ 56638 w 2506824"/>
                <a:gd name="connsiteY3" fmla="*/ 0 h 257442"/>
                <a:gd name="connsiteX0" fmla="*/ 2506824 w 2506824"/>
                <a:gd name="connsiteY0" fmla="*/ 0 h 257442"/>
                <a:gd name="connsiteX1" fmla="*/ 2450186 w 2506824"/>
                <a:gd name="connsiteY1" fmla="*/ 257442 h 257442"/>
                <a:gd name="connsiteX2" fmla="*/ 0 w 2506824"/>
                <a:gd name="connsiteY2" fmla="*/ 257442 h 257442"/>
                <a:gd name="connsiteX3" fmla="*/ 56638 w 2506824"/>
                <a:gd name="connsiteY3" fmla="*/ 0 h 257442"/>
                <a:gd name="connsiteX0" fmla="*/ 2506824 w 2506824"/>
                <a:gd name="connsiteY0" fmla="*/ 0 h 257442"/>
                <a:gd name="connsiteX1" fmla="*/ 2450186 w 2506824"/>
                <a:gd name="connsiteY1" fmla="*/ 257442 h 257442"/>
                <a:gd name="connsiteX2" fmla="*/ 0 w 2506824"/>
                <a:gd name="connsiteY2" fmla="*/ 257442 h 257442"/>
                <a:gd name="connsiteX3" fmla="*/ 56638 w 2506824"/>
                <a:gd name="connsiteY3" fmla="*/ 0 h 257442"/>
                <a:gd name="connsiteX0" fmla="*/ 2506824 w 2506824"/>
                <a:gd name="connsiteY0" fmla="*/ 0 h 257442"/>
                <a:gd name="connsiteX1" fmla="*/ 2450186 w 2506824"/>
                <a:gd name="connsiteY1" fmla="*/ 257442 h 257442"/>
                <a:gd name="connsiteX2" fmla="*/ 0 w 2506824"/>
                <a:gd name="connsiteY2" fmla="*/ 257442 h 257442"/>
                <a:gd name="connsiteX3" fmla="*/ 56638 w 2506824"/>
                <a:gd name="connsiteY3" fmla="*/ 0 h 257442"/>
                <a:gd name="connsiteX0" fmla="*/ 2785564 w 2785564"/>
                <a:gd name="connsiteY0" fmla="*/ 0 h 257442"/>
                <a:gd name="connsiteX1" fmla="*/ 2450186 w 2785564"/>
                <a:gd name="connsiteY1" fmla="*/ 257442 h 257442"/>
                <a:gd name="connsiteX2" fmla="*/ 0 w 2785564"/>
                <a:gd name="connsiteY2" fmla="*/ 257442 h 257442"/>
                <a:gd name="connsiteX3" fmla="*/ 56638 w 2785564"/>
                <a:gd name="connsiteY3" fmla="*/ 0 h 257442"/>
                <a:gd name="connsiteX0" fmla="*/ 2785564 w 2785564"/>
                <a:gd name="connsiteY0" fmla="*/ 0 h 257442"/>
                <a:gd name="connsiteX1" fmla="*/ 2728925 w 2785564"/>
                <a:gd name="connsiteY1" fmla="*/ 257442 h 257442"/>
                <a:gd name="connsiteX2" fmla="*/ 0 w 2785564"/>
                <a:gd name="connsiteY2" fmla="*/ 257442 h 257442"/>
                <a:gd name="connsiteX3" fmla="*/ 56638 w 2785564"/>
                <a:gd name="connsiteY3" fmla="*/ 0 h 257442"/>
                <a:gd name="connsiteX0" fmla="*/ 2785565 w 2785565"/>
                <a:gd name="connsiteY0" fmla="*/ 0 h 257442"/>
                <a:gd name="connsiteX1" fmla="*/ 2728926 w 2785565"/>
                <a:gd name="connsiteY1" fmla="*/ 257442 h 257442"/>
                <a:gd name="connsiteX2" fmla="*/ 0 w 2785565"/>
                <a:gd name="connsiteY2" fmla="*/ 257442 h 257442"/>
                <a:gd name="connsiteX3" fmla="*/ 56639 w 2785565"/>
                <a:gd name="connsiteY3" fmla="*/ 0 h 257442"/>
                <a:gd name="connsiteX0" fmla="*/ 2785565 w 2785565"/>
                <a:gd name="connsiteY0" fmla="*/ 0 h 257442"/>
                <a:gd name="connsiteX1" fmla="*/ 2728926 w 2785565"/>
                <a:gd name="connsiteY1" fmla="*/ 257442 h 257442"/>
                <a:gd name="connsiteX2" fmla="*/ 0 w 2785565"/>
                <a:gd name="connsiteY2" fmla="*/ 257442 h 257442"/>
                <a:gd name="connsiteX3" fmla="*/ 56639 w 2785565"/>
                <a:gd name="connsiteY3" fmla="*/ 0 h 257442"/>
                <a:gd name="connsiteX0" fmla="*/ 2969731 w 2969731"/>
                <a:gd name="connsiteY0" fmla="*/ 0 h 257442"/>
                <a:gd name="connsiteX1" fmla="*/ 2728926 w 2969731"/>
                <a:gd name="connsiteY1" fmla="*/ 257442 h 257442"/>
                <a:gd name="connsiteX2" fmla="*/ 0 w 2969731"/>
                <a:gd name="connsiteY2" fmla="*/ 257442 h 257442"/>
                <a:gd name="connsiteX3" fmla="*/ 56639 w 2969731"/>
                <a:gd name="connsiteY3" fmla="*/ 0 h 257442"/>
                <a:gd name="connsiteX0" fmla="*/ 2969731 w 2969731"/>
                <a:gd name="connsiteY0" fmla="*/ 0 h 257442"/>
                <a:gd name="connsiteX1" fmla="*/ 2913093 w 2969731"/>
                <a:gd name="connsiteY1" fmla="*/ 257442 h 257442"/>
                <a:gd name="connsiteX2" fmla="*/ 0 w 2969731"/>
                <a:gd name="connsiteY2" fmla="*/ 257442 h 257442"/>
                <a:gd name="connsiteX3" fmla="*/ 56639 w 2969731"/>
                <a:gd name="connsiteY3" fmla="*/ 0 h 257442"/>
                <a:gd name="connsiteX0" fmla="*/ 2969730 w 2969730"/>
                <a:gd name="connsiteY0" fmla="*/ 0 h 257442"/>
                <a:gd name="connsiteX1" fmla="*/ 2913092 w 2969730"/>
                <a:gd name="connsiteY1" fmla="*/ 257442 h 257442"/>
                <a:gd name="connsiteX2" fmla="*/ 0 w 2969730"/>
                <a:gd name="connsiteY2" fmla="*/ 257442 h 257442"/>
                <a:gd name="connsiteX3" fmla="*/ 56638 w 2969730"/>
                <a:gd name="connsiteY3" fmla="*/ 0 h 257442"/>
                <a:gd name="connsiteX0" fmla="*/ 2969730 w 2969730"/>
                <a:gd name="connsiteY0" fmla="*/ 0 h 257442"/>
                <a:gd name="connsiteX1" fmla="*/ 2913092 w 2969730"/>
                <a:gd name="connsiteY1" fmla="*/ 257442 h 257442"/>
                <a:gd name="connsiteX2" fmla="*/ 0 w 2969730"/>
                <a:gd name="connsiteY2" fmla="*/ 257442 h 257442"/>
                <a:gd name="connsiteX3" fmla="*/ 56637 w 2969730"/>
                <a:gd name="connsiteY3" fmla="*/ 0 h 257442"/>
                <a:gd name="connsiteX0" fmla="*/ 3162193 w 3162193"/>
                <a:gd name="connsiteY0" fmla="*/ 0 h 257442"/>
                <a:gd name="connsiteX1" fmla="*/ 2913092 w 3162193"/>
                <a:gd name="connsiteY1" fmla="*/ 257442 h 257442"/>
                <a:gd name="connsiteX2" fmla="*/ 0 w 3162193"/>
                <a:gd name="connsiteY2" fmla="*/ 257442 h 257442"/>
                <a:gd name="connsiteX3" fmla="*/ 56637 w 3162193"/>
                <a:gd name="connsiteY3" fmla="*/ 0 h 257442"/>
                <a:gd name="connsiteX0" fmla="*/ 3162193 w 3162193"/>
                <a:gd name="connsiteY0" fmla="*/ 0 h 257442"/>
                <a:gd name="connsiteX1" fmla="*/ 3105555 w 3162193"/>
                <a:gd name="connsiteY1" fmla="*/ 257442 h 257442"/>
                <a:gd name="connsiteX2" fmla="*/ 0 w 3162193"/>
                <a:gd name="connsiteY2" fmla="*/ 257442 h 257442"/>
                <a:gd name="connsiteX3" fmla="*/ 56637 w 3162193"/>
                <a:gd name="connsiteY3" fmla="*/ 0 h 257442"/>
                <a:gd name="connsiteX0" fmla="*/ 3162194 w 3162194"/>
                <a:gd name="connsiteY0" fmla="*/ 0 h 257442"/>
                <a:gd name="connsiteX1" fmla="*/ 3105556 w 3162194"/>
                <a:gd name="connsiteY1" fmla="*/ 257442 h 257442"/>
                <a:gd name="connsiteX2" fmla="*/ 0 w 3162194"/>
                <a:gd name="connsiteY2" fmla="*/ 257442 h 257442"/>
                <a:gd name="connsiteX3" fmla="*/ 56638 w 3162194"/>
                <a:gd name="connsiteY3" fmla="*/ 0 h 257442"/>
                <a:gd name="connsiteX0" fmla="*/ 3162194 w 3162194"/>
                <a:gd name="connsiteY0" fmla="*/ 0 h 257442"/>
                <a:gd name="connsiteX1" fmla="*/ 3105556 w 3162194"/>
                <a:gd name="connsiteY1" fmla="*/ 257442 h 257442"/>
                <a:gd name="connsiteX2" fmla="*/ 0 w 3162194"/>
                <a:gd name="connsiteY2" fmla="*/ 257442 h 257442"/>
                <a:gd name="connsiteX3" fmla="*/ 56639 w 3162194"/>
                <a:gd name="connsiteY3" fmla="*/ 0 h 257442"/>
                <a:gd name="connsiteX0" fmla="*/ 3354659 w 3354659"/>
                <a:gd name="connsiteY0" fmla="*/ 0 h 257442"/>
                <a:gd name="connsiteX1" fmla="*/ 3105556 w 3354659"/>
                <a:gd name="connsiteY1" fmla="*/ 257442 h 257442"/>
                <a:gd name="connsiteX2" fmla="*/ 0 w 3354659"/>
                <a:gd name="connsiteY2" fmla="*/ 257442 h 257442"/>
                <a:gd name="connsiteX3" fmla="*/ 56639 w 3354659"/>
                <a:gd name="connsiteY3" fmla="*/ 0 h 257442"/>
                <a:gd name="connsiteX0" fmla="*/ 3354659 w 3354659"/>
                <a:gd name="connsiteY0" fmla="*/ 0 h 257442"/>
                <a:gd name="connsiteX1" fmla="*/ 3298021 w 3354659"/>
                <a:gd name="connsiteY1" fmla="*/ 257442 h 257442"/>
                <a:gd name="connsiteX2" fmla="*/ 0 w 3354659"/>
                <a:gd name="connsiteY2" fmla="*/ 257442 h 257442"/>
                <a:gd name="connsiteX3" fmla="*/ 56639 w 3354659"/>
                <a:gd name="connsiteY3" fmla="*/ 0 h 257442"/>
                <a:gd name="connsiteX0" fmla="*/ 3354658 w 3354658"/>
                <a:gd name="connsiteY0" fmla="*/ 0 h 257442"/>
                <a:gd name="connsiteX1" fmla="*/ 3298020 w 3354658"/>
                <a:gd name="connsiteY1" fmla="*/ 257442 h 257442"/>
                <a:gd name="connsiteX2" fmla="*/ 0 w 3354658"/>
                <a:gd name="connsiteY2" fmla="*/ 257442 h 257442"/>
                <a:gd name="connsiteX3" fmla="*/ 56638 w 3354658"/>
                <a:gd name="connsiteY3" fmla="*/ 0 h 257442"/>
                <a:gd name="connsiteX0" fmla="*/ 3354658 w 3354658"/>
                <a:gd name="connsiteY0" fmla="*/ 0 h 257442"/>
                <a:gd name="connsiteX1" fmla="*/ 3298020 w 3354658"/>
                <a:gd name="connsiteY1" fmla="*/ 257442 h 257442"/>
                <a:gd name="connsiteX2" fmla="*/ 0 w 3354658"/>
                <a:gd name="connsiteY2" fmla="*/ 257442 h 257442"/>
                <a:gd name="connsiteX3" fmla="*/ 56637 w 3354658"/>
                <a:gd name="connsiteY3" fmla="*/ 0 h 257442"/>
                <a:gd name="connsiteX0" fmla="*/ 3520571 w 3520571"/>
                <a:gd name="connsiteY0" fmla="*/ 0 h 257442"/>
                <a:gd name="connsiteX1" fmla="*/ 3298020 w 3520571"/>
                <a:gd name="connsiteY1" fmla="*/ 257442 h 257442"/>
                <a:gd name="connsiteX2" fmla="*/ 0 w 3520571"/>
                <a:gd name="connsiteY2" fmla="*/ 257442 h 257442"/>
                <a:gd name="connsiteX3" fmla="*/ 56637 w 3520571"/>
                <a:gd name="connsiteY3" fmla="*/ 0 h 257442"/>
                <a:gd name="connsiteX0" fmla="*/ 3520571 w 3520571"/>
                <a:gd name="connsiteY0" fmla="*/ 0 h 257442"/>
                <a:gd name="connsiteX1" fmla="*/ 3463932 w 3520571"/>
                <a:gd name="connsiteY1" fmla="*/ 257442 h 257442"/>
                <a:gd name="connsiteX2" fmla="*/ 0 w 3520571"/>
                <a:gd name="connsiteY2" fmla="*/ 257442 h 257442"/>
                <a:gd name="connsiteX3" fmla="*/ 56637 w 3520571"/>
                <a:gd name="connsiteY3" fmla="*/ 0 h 257442"/>
                <a:gd name="connsiteX0" fmla="*/ 3520572 w 3520572"/>
                <a:gd name="connsiteY0" fmla="*/ 0 h 257442"/>
                <a:gd name="connsiteX1" fmla="*/ 3463933 w 3520572"/>
                <a:gd name="connsiteY1" fmla="*/ 257442 h 257442"/>
                <a:gd name="connsiteX2" fmla="*/ 0 w 3520572"/>
                <a:gd name="connsiteY2" fmla="*/ 257442 h 257442"/>
                <a:gd name="connsiteX3" fmla="*/ 56638 w 3520572"/>
                <a:gd name="connsiteY3" fmla="*/ 0 h 257442"/>
                <a:gd name="connsiteX0" fmla="*/ 3520572 w 3520572"/>
                <a:gd name="connsiteY0" fmla="*/ 0 h 257442"/>
                <a:gd name="connsiteX1" fmla="*/ 3463933 w 3520572"/>
                <a:gd name="connsiteY1" fmla="*/ 257442 h 257442"/>
                <a:gd name="connsiteX2" fmla="*/ 0 w 3520572"/>
                <a:gd name="connsiteY2" fmla="*/ 257442 h 257442"/>
                <a:gd name="connsiteX3" fmla="*/ 56638 w 3520572"/>
                <a:gd name="connsiteY3" fmla="*/ 0 h 257442"/>
                <a:gd name="connsiteX0" fmla="*/ 2777267 w 3463933"/>
                <a:gd name="connsiteY0" fmla="*/ 0 h 257442"/>
                <a:gd name="connsiteX1" fmla="*/ 3463933 w 3463933"/>
                <a:gd name="connsiteY1" fmla="*/ 257442 h 257442"/>
                <a:gd name="connsiteX2" fmla="*/ 0 w 3463933"/>
                <a:gd name="connsiteY2" fmla="*/ 257442 h 257442"/>
                <a:gd name="connsiteX3" fmla="*/ 56638 w 3463933"/>
                <a:gd name="connsiteY3" fmla="*/ 0 h 257442"/>
                <a:gd name="connsiteX0" fmla="*/ 2777267 w 2777267"/>
                <a:gd name="connsiteY0" fmla="*/ 0 h 257442"/>
                <a:gd name="connsiteX1" fmla="*/ 2720629 w 2777267"/>
                <a:gd name="connsiteY1" fmla="*/ 257442 h 257442"/>
                <a:gd name="connsiteX2" fmla="*/ 0 w 2777267"/>
                <a:gd name="connsiteY2" fmla="*/ 257442 h 257442"/>
                <a:gd name="connsiteX3" fmla="*/ 56638 w 2777267"/>
                <a:gd name="connsiteY3" fmla="*/ 0 h 257442"/>
                <a:gd name="connsiteX0" fmla="*/ 2777267 w 2777267"/>
                <a:gd name="connsiteY0" fmla="*/ 0 h 257442"/>
                <a:gd name="connsiteX1" fmla="*/ 2720629 w 2777267"/>
                <a:gd name="connsiteY1" fmla="*/ 257442 h 257442"/>
                <a:gd name="connsiteX2" fmla="*/ 0 w 2777267"/>
                <a:gd name="connsiteY2" fmla="*/ 257442 h 257442"/>
                <a:gd name="connsiteX3" fmla="*/ 56638 w 2777267"/>
                <a:gd name="connsiteY3" fmla="*/ 0 h 257442"/>
                <a:gd name="connsiteX0" fmla="*/ 2777267 w 2777267"/>
                <a:gd name="connsiteY0" fmla="*/ 0 h 257442"/>
                <a:gd name="connsiteX1" fmla="*/ 2720629 w 2777267"/>
                <a:gd name="connsiteY1" fmla="*/ 257442 h 257442"/>
                <a:gd name="connsiteX2" fmla="*/ 0 w 2777267"/>
                <a:gd name="connsiteY2" fmla="*/ 257442 h 257442"/>
                <a:gd name="connsiteX3" fmla="*/ 56638 w 2777267"/>
                <a:gd name="connsiteY3" fmla="*/ 0 h 257442"/>
                <a:gd name="connsiteX0" fmla="*/ 2943183 w 2943183"/>
                <a:gd name="connsiteY0" fmla="*/ 0 h 257442"/>
                <a:gd name="connsiteX1" fmla="*/ 2720629 w 2943183"/>
                <a:gd name="connsiteY1" fmla="*/ 257442 h 257442"/>
                <a:gd name="connsiteX2" fmla="*/ 0 w 2943183"/>
                <a:gd name="connsiteY2" fmla="*/ 257442 h 257442"/>
                <a:gd name="connsiteX3" fmla="*/ 56638 w 2943183"/>
                <a:gd name="connsiteY3" fmla="*/ 0 h 257442"/>
                <a:gd name="connsiteX0" fmla="*/ 2943183 w 2943183"/>
                <a:gd name="connsiteY0" fmla="*/ 0 h 257442"/>
                <a:gd name="connsiteX1" fmla="*/ 2886545 w 2943183"/>
                <a:gd name="connsiteY1" fmla="*/ 257442 h 257442"/>
                <a:gd name="connsiteX2" fmla="*/ 0 w 2943183"/>
                <a:gd name="connsiteY2" fmla="*/ 257442 h 257442"/>
                <a:gd name="connsiteX3" fmla="*/ 56638 w 2943183"/>
                <a:gd name="connsiteY3" fmla="*/ 0 h 257442"/>
                <a:gd name="connsiteX0" fmla="*/ 2943183 w 2943183"/>
                <a:gd name="connsiteY0" fmla="*/ 0 h 257442"/>
                <a:gd name="connsiteX1" fmla="*/ 2886545 w 2943183"/>
                <a:gd name="connsiteY1" fmla="*/ 257442 h 257442"/>
                <a:gd name="connsiteX2" fmla="*/ 0 w 2943183"/>
                <a:gd name="connsiteY2" fmla="*/ 257442 h 257442"/>
                <a:gd name="connsiteX3" fmla="*/ 56638 w 2943183"/>
                <a:gd name="connsiteY3" fmla="*/ 0 h 257442"/>
                <a:gd name="connsiteX0" fmla="*/ 2943183 w 2943183"/>
                <a:gd name="connsiteY0" fmla="*/ 0 h 257442"/>
                <a:gd name="connsiteX1" fmla="*/ 2886545 w 2943183"/>
                <a:gd name="connsiteY1" fmla="*/ 257442 h 257442"/>
                <a:gd name="connsiteX2" fmla="*/ 0 w 2943183"/>
                <a:gd name="connsiteY2" fmla="*/ 257442 h 257442"/>
                <a:gd name="connsiteX3" fmla="*/ 56638 w 2943183"/>
                <a:gd name="connsiteY3" fmla="*/ 0 h 257442"/>
                <a:gd name="connsiteX0" fmla="*/ 3117396 w 3117396"/>
                <a:gd name="connsiteY0" fmla="*/ 0 h 257442"/>
                <a:gd name="connsiteX1" fmla="*/ 2886545 w 3117396"/>
                <a:gd name="connsiteY1" fmla="*/ 257442 h 257442"/>
                <a:gd name="connsiteX2" fmla="*/ 0 w 3117396"/>
                <a:gd name="connsiteY2" fmla="*/ 257442 h 257442"/>
                <a:gd name="connsiteX3" fmla="*/ 56638 w 3117396"/>
                <a:gd name="connsiteY3" fmla="*/ 0 h 257442"/>
                <a:gd name="connsiteX0" fmla="*/ 3117396 w 3117396"/>
                <a:gd name="connsiteY0" fmla="*/ 0 h 257442"/>
                <a:gd name="connsiteX1" fmla="*/ 3060759 w 3117396"/>
                <a:gd name="connsiteY1" fmla="*/ 257442 h 257442"/>
                <a:gd name="connsiteX2" fmla="*/ 0 w 3117396"/>
                <a:gd name="connsiteY2" fmla="*/ 257442 h 257442"/>
                <a:gd name="connsiteX3" fmla="*/ 56638 w 3117396"/>
                <a:gd name="connsiteY3" fmla="*/ 0 h 257442"/>
                <a:gd name="connsiteX0" fmla="*/ 3117395 w 3117395"/>
                <a:gd name="connsiteY0" fmla="*/ 0 h 257442"/>
                <a:gd name="connsiteX1" fmla="*/ 3060758 w 3117395"/>
                <a:gd name="connsiteY1" fmla="*/ 257442 h 257442"/>
                <a:gd name="connsiteX2" fmla="*/ 0 w 3117395"/>
                <a:gd name="connsiteY2" fmla="*/ 257442 h 257442"/>
                <a:gd name="connsiteX3" fmla="*/ 56637 w 3117395"/>
                <a:gd name="connsiteY3" fmla="*/ 0 h 257442"/>
                <a:gd name="connsiteX0" fmla="*/ 3117395 w 3117395"/>
                <a:gd name="connsiteY0" fmla="*/ 0 h 257442"/>
                <a:gd name="connsiteX1" fmla="*/ 3060758 w 3117395"/>
                <a:gd name="connsiteY1" fmla="*/ 257442 h 257442"/>
                <a:gd name="connsiteX2" fmla="*/ 0 w 3117395"/>
                <a:gd name="connsiteY2" fmla="*/ 257442 h 257442"/>
                <a:gd name="connsiteX3" fmla="*/ 56638 w 3117395"/>
                <a:gd name="connsiteY3" fmla="*/ 0 h 257442"/>
                <a:gd name="connsiteX0" fmla="*/ 3283312 w 3283312"/>
                <a:gd name="connsiteY0" fmla="*/ 0 h 257442"/>
                <a:gd name="connsiteX1" fmla="*/ 3060758 w 3283312"/>
                <a:gd name="connsiteY1" fmla="*/ 257442 h 257442"/>
                <a:gd name="connsiteX2" fmla="*/ 0 w 3283312"/>
                <a:gd name="connsiteY2" fmla="*/ 257442 h 257442"/>
                <a:gd name="connsiteX3" fmla="*/ 56638 w 3283312"/>
                <a:gd name="connsiteY3" fmla="*/ 0 h 257442"/>
                <a:gd name="connsiteX0" fmla="*/ 3283312 w 3283312"/>
                <a:gd name="connsiteY0" fmla="*/ 0 h 257442"/>
                <a:gd name="connsiteX1" fmla="*/ 3226673 w 3283312"/>
                <a:gd name="connsiteY1" fmla="*/ 257442 h 257442"/>
                <a:gd name="connsiteX2" fmla="*/ 0 w 3283312"/>
                <a:gd name="connsiteY2" fmla="*/ 257442 h 257442"/>
                <a:gd name="connsiteX3" fmla="*/ 56638 w 3283312"/>
                <a:gd name="connsiteY3" fmla="*/ 0 h 257442"/>
                <a:gd name="connsiteX0" fmla="*/ 3283313 w 3283313"/>
                <a:gd name="connsiteY0" fmla="*/ 0 h 257442"/>
                <a:gd name="connsiteX1" fmla="*/ 3226674 w 3283313"/>
                <a:gd name="connsiteY1" fmla="*/ 257442 h 257442"/>
                <a:gd name="connsiteX2" fmla="*/ 0 w 3283313"/>
                <a:gd name="connsiteY2" fmla="*/ 257442 h 257442"/>
                <a:gd name="connsiteX3" fmla="*/ 56639 w 3283313"/>
                <a:gd name="connsiteY3" fmla="*/ 0 h 257442"/>
                <a:gd name="connsiteX0" fmla="*/ 3283313 w 3283313"/>
                <a:gd name="connsiteY0" fmla="*/ 0 h 257442"/>
                <a:gd name="connsiteX1" fmla="*/ 3226674 w 3283313"/>
                <a:gd name="connsiteY1" fmla="*/ 257442 h 257442"/>
                <a:gd name="connsiteX2" fmla="*/ 0 w 3283313"/>
                <a:gd name="connsiteY2" fmla="*/ 257442 h 257442"/>
                <a:gd name="connsiteX3" fmla="*/ 56639 w 3283313"/>
                <a:gd name="connsiteY3" fmla="*/ 0 h 257442"/>
                <a:gd name="connsiteX0" fmla="*/ 2506825 w 3226674"/>
                <a:gd name="connsiteY0" fmla="*/ 0 h 257442"/>
                <a:gd name="connsiteX1" fmla="*/ 3226674 w 3226674"/>
                <a:gd name="connsiteY1" fmla="*/ 257442 h 257442"/>
                <a:gd name="connsiteX2" fmla="*/ 0 w 3226674"/>
                <a:gd name="connsiteY2" fmla="*/ 257442 h 257442"/>
                <a:gd name="connsiteX3" fmla="*/ 56639 w 3226674"/>
                <a:gd name="connsiteY3" fmla="*/ 0 h 257442"/>
                <a:gd name="connsiteX0" fmla="*/ 2506825 w 2506825"/>
                <a:gd name="connsiteY0" fmla="*/ 0 h 257442"/>
                <a:gd name="connsiteX1" fmla="*/ 2450187 w 2506825"/>
                <a:gd name="connsiteY1" fmla="*/ 257442 h 257442"/>
                <a:gd name="connsiteX2" fmla="*/ 0 w 2506825"/>
                <a:gd name="connsiteY2" fmla="*/ 257442 h 257442"/>
                <a:gd name="connsiteX3" fmla="*/ 56639 w 2506825"/>
                <a:gd name="connsiteY3" fmla="*/ 0 h 257442"/>
                <a:gd name="connsiteX0" fmla="*/ 2506823 w 2506823"/>
                <a:gd name="connsiteY0" fmla="*/ 0 h 257442"/>
                <a:gd name="connsiteX1" fmla="*/ 2450185 w 2506823"/>
                <a:gd name="connsiteY1" fmla="*/ 257442 h 257442"/>
                <a:gd name="connsiteX2" fmla="*/ 0 w 2506823"/>
                <a:gd name="connsiteY2" fmla="*/ 257442 h 257442"/>
                <a:gd name="connsiteX3" fmla="*/ 56637 w 2506823"/>
                <a:gd name="connsiteY3" fmla="*/ 0 h 257442"/>
                <a:gd name="connsiteX0" fmla="*/ 2506823 w 2506823"/>
                <a:gd name="connsiteY0" fmla="*/ 0 h 257442"/>
                <a:gd name="connsiteX1" fmla="*/ 2450185 w 2506823"/>
                <a:gd name="connsiteY1" fmla="*/ 257442 h 257442"/>
                <a:gd name="connsiteX2" fmla="*/ 0 w 2506823"/>
                <a:gd name="connsiteY2" fmla="*/ 257442 h 257442"/>
                <a:gd name="connsiteX3" fmla="*/ 56638 w 2506823"/>
                <a:gd name="connsiteY3" fmla="*/ 0 h 257442"/>
                <a:gd name="connsiteX0" fmla="*/ 2779655 w 2779655"/>
                <a:gd name="connsiteY0" fmla="*/ 0 h 257442"/>
                <a:gd name="connsiteX1" fmla="*/ 2450185 w 2779655"/>
                <a:gd name="connsiteY1" fmla="*/ 257442 h 257442"/>
                <a:gd name="connsiteX2" fmla="*/ 0 w 2779655"/>
                <a:gd name="connsiteY2" fmla="*/ 257442 h 257442"/>
                <a:gd name="connsiteX3" fmla="*/ 56638 w 2779655"/>
                <a:gd name="connsiteY3" fmla="*/ 0 h 257442"/>
                <a:gd name="connsiteX0" fmla="*/ 2779655 w 2779655"/>
                <a:gd name="connsiteY0" fmla="*/ 0 h 257442"/>
                <a:gd name="connsiteX1" fmla="*/ 2723018 w 2779655"/>
                <a:gd name="connsiteY1" fmla="*/ 257442 h 257442"/>
                <a:gd name="connsiteX2" fmla="*/ 0 w 2779655"/>
                <a:gd name="connsiteY2" fmla="*/ 257442 h 257442"/>
                <a:gd name="connsiteX3" fmla="*/ 56638 w 2779655"/>
                <a:gd name="connsiteY3" fmla="*/ 0 h 257442"/>
                <a:gd name="connsiteX0" fmla="*/ 2779655 w 2779655"/>
                <a:gd name="connsiteY0" fmla="*/ 0 h 257442"/>
                <a:gd name="connsiteX1" fmla="*/ 2723018 w 2779655"/>
                <a:gd name="connsiteY1" fmla="*/ 257442 h 257442"/>
                <a:gd name="connsiteX2" fmla="*/ 0 w 2779655"/>
                <a:gd name="connsiteY2" fmla="*/ 257442 h 257442"/>
                <a:gd name="connsiteX3" fmla="*/ 56638 w 2779655"/>
                <a:gd name="connsiteY3" fmla="*/ 0 h 257442"/>
                <a:gd name="connsiteX0" fmla="*/ 2779655 w 2779655"/>
                <a:gd name="connsiteY0" fmla="*/ 0 h 257442"/>
                <a:gd name="connsiteX1" fmla="*/ 2723018 w 2779655"/>
                <a:gd name="connsiteY1" fmla="*/ 257442 h 257442"/>
                <a:gd name="connsiteX2" fmla="*/ 0 w 2779655"/>
                <a:gd name="connsiteY2" fmla="*/ 257442 h 257442"/>
                <a:gd name="connsiteX3" fmla="*/ 56638 w 2779655"/>
                <a:gd name="connsiteY3" fmla="*/ 0 h 257442"/>
                <a:gd name="connsiteX0" fmla="*/ 2945573 w 2945573"/>
                <a:gd name="connsiteY0" fmla="*/ 0 h 257442"/>
                <a:gd name="connsiteX1" fmla="*/ 2723018 w 2945573"/>
                <a:gd name="connsiteY1" fmla="*/ 257442 h 257442"/>
                <a:gd name="connsiteX2" fmla="*/ 0 w 2945573"/>
                <a:gd name="connsiteY2" fmla="*/ 257442 h 257442"/>
                <a:gd name="connsiteX3" fmla="*/ 56638 w 2945573"/>
                <a:gd name="connsiteY3" fmla="*/ 0 h 257442"/>
                <a:gd name="connsiteX0" fmla="*/ 2945573 w 2945573"/>
                <a:gd name="connsiteY0" fmla="*/ 0 h 257442"/>
                <a:gd name="connsiteX1" fmla="*/ 2888935 w 2945573"/>
                <a:gd name="connsiteY1" fmla="*/ 257442 h 257442"/>
                <a:gd name="connsiteX2" fmla="*/ 0 w 2945573"/>
                <a:gd name="connsiteY2" fmla="*/ 257442 h 257442"/>
                <a:gd name="connsiteX3" fmla="*/ 56638 w 2945573"/>
                <a:gd name="connsiteY3" fmla="*/ 0 h 257442"/>
                <a:gd name="connsiteX0" fmla="*/ 2945573 w 2945573"/>
                <a:gd name="connsiteY0" fmla="*/ 0 h 257442"/>
                <a:gd name="connsiteX1" fmla="*/ 2888935 w 2945573"/>
                <a:gd name="connsiteY1" fmla="*/ 257442 h 257442"/>
                <a:gd name="connsiteX2" fmla="*/ 0 w 2945573"/>
                <a:gd name="connsiteY2" fmla="*/ 257442 h 257442"/>
                <a:gd name="connsiteX3" fmla="*/ 56638 w 2945573"/>
                <a:gd name="connsiteY3" fmla="*/ 0 h 257442"/>
                <a:gd name="connsiteX0" fmla="*/ 2945573 w 2945573"/>
                <a:gd name="connsiteY0" fmla="*/ 0 h 257442"/>
                <a:gd name="connsiteX1" fmla="*/ 2888935 w 2945573"/>
                <a:gd name="connsiteY1" fmla="*/ 257442 h 257442"/>
                <a:gd name="connsiteX2" fmla="*/ 0 w 2945573"/>
                <a:gd name="connsiteY2" fmla="*/ 257442 h 257442"/>
                <a:gd name="connsiteX3" fmla="*/ 56638 w 2945573"/>
                <a:gd name="connsiteY3" fmla="*/ 0 h 257442"/>
                <a:gd name="connsiteX0" fmla="*/ 3111488 w 3111488"/>
                <a:gd name="connsiteY0" fmla="*/ 0 h 257442"/>
                <a:gd name="connsiteX1" fmla="*/ 2888935 w 3111488"/>
                <a:gd name="connsiteY1" fmla="*/ 257442 h 257442"/>
                <a:gd name="connsiteX2" fmla="*/ 0 w 3111488"/>
                <a:gd name="connsiteY2" fmla="*/ 257442 h 257442"/>
                <a:gd name="connsiteX3" fmla="*/ 56638 w 3111488"/>
                <a:gd name="connsiteY3" fmla="*/ 0 h 257442"/>
                <a:gd name="connsiteX0" fmla="*/ 3111488 w 3111488"/>
                <a:gd name="connsiteY0" fmla="*/ 0 h 257442"/>
                <a:gd name="connsiteX1" fmla="*/ 3054849 w 3111488"/>
                <a:gd name="connsiteY1" fmla="*/ 257442 h 257442"/>
                <a:gd name="connsiteX2" fmla="*/ 0 w 3111488"/>
                <a:gd name="connsiteY2" fmla="*/ 257442 h 257442"/>
                <a:gd name="connsiteX3" fmla="*/ 56638 w 3111488"/>
                <a:gd name="connsiteY3" fmla="*/ 0 h 257442"/>
                <a:gd name="connsiteX0" fmla="*/ 3111490 w 3111490"/>
                <a:gd name="connsiteY0" fmla="*/ 0 h 257442"/>
                <a:gd name="connsiteX1" fmla="*/ 3054851 w 3111490"/>
                <a:gd name="connsiteY1" fmla="*/ 257442 h 257442"/>
                <a:gd name="connsiteX2" fmla="*/ 0 w 3111490"/>
                <a:gd name="connsiteY2" fmla="*/ 257442 h 257442"/>
                <a:gd name="connsiteX3" fmla="*/ 56640 w 3111490"/>
                <a:gd name="connsiteY3" fmla="*/ 0 h 257442"/>
                <a:gd name="connsiteX0" fmla="*/ 3111490 w 3111490"/>
                <a:gd name="connsiteY0" fmla="*/ 0 h 257442"/>
                <a:gd name="connsiteX1" fmla="*/ 3054851 w 3111490"/>
                <a:gd name="connsiteY1" fmla="*/ 257442 h 257442"/>
                <a:gd name="connsiteX2" fmla="*/ 0 w 3111490"/>
                <a:gd name="connsiteY2" fmla="*/ 257442 h 257442"/>
                <a:gd name="connsiteX3" fmla="*/ 56638 w 3111490"/>
                <a:gd name="connsiteY3" fmla="*/ 0 h 257442"/>
                <a:gd name="connsiteX0" fmla="*/ 3277404 w 3277404"/>
                <a:gd name="connsiteY0" fmla="*/ 0 h 257442"/>
                <a:gd name="connsiteX1" fmla="*/ 3054851 w 3277404"/>
                <a:gd name="connsiteY1" fmla="*/ 257442 h 257442"/>
                <a:gd name="connsiteX2" fmla="*/ 0 w 3277404"/>
                <a:gd name="connsiteY2" fmla="*/ 257442 h 257442"/>
                <a:gd name="connsiteX3" fmla="*/ 56638 w 3277404"/>
                <a:gd name="connsiteY3" fmla="*/ 0 h 257442"/>
                <a:gd name="connsiteX0" fmla="*/ 3277404 w 3277404"/>
                <a:gd name="connsiteY0" fmla="*/ 0 h 257442"/>
                <a:gd name="connsiteX1" fmla="*/ 3220766 w 3277404"/>
                <a:gd name="connsiteY1" fmla="*/ 257442 h 257442"/>
                <a:gd name="connsiteX2" fmla="*/ 0 w 3277404"/>
                <a:gd name="connsiteY2" fmla="*/ 257442 h 257442"/>
                <a:gd name="connsiteX3" fmla="*/ 56638 w 3277404"/>
                <a:gd name="connsiteY3" fmla="*/ 0 h 257442"/>
                <a:gd name="connsiteX0" fmla="*/ 3277405 w 3277405"/>
                <a:gd name="connsiteY0" fmla="*/ 0 h 257442"/>
                <a:gd name="connsiteX1" fmla="*/ 3220767 w 3277405"/>
                <a:gd name="connsiteY1" fmla="*/ 257442 h 257442"/>
                <a:gd name="connsiteX2" fmla="*/ 0 w 3277405"/>
                <a:gd name="connsiteY2" fmla="*/ 257442 h 257442"/>
                <a:gd name="connsiteX3" fmla="*/ 56639 w 3277405"/>
                <a:gd name="connsiteY3" fmla="*/ 0 h 257442"/>
                <a:gd name="connsiteX0" fmla="*/ 3277405 w 3277405"/>
                <a:gd name="connsiteY0" fmla="*/ 0 h 257442"/>
                <a:gd name="connsiteX1" fmla="*/ 3220767 w 3277405"/>
                <a:gd name="connsiteY1" fmla="*/ 257442 h 257442"/>
                <a:gd name="connsiteX2" fmla="*/ 0 w 3277405"/>
                <a:gd name="connsiteY2" fmla="*/ 257442 h 257442"/>
                <a:gd name="connsiteX3" fmla="*/ 56639 w 3277405"/>
                <a:gd name="connsiteY3" fmla="*/ 0 h 257442"/>
                <a:gd name="connsiteX0" fmla="*/ 3443322 w 3443322"/>
                <a:gd name="connsiteY0" fmla="*/ 0 h 257442"/>
                <a:gd name="connsiteX1" fmla="*/ 3220767 w 3443322"/>
                <a:gd name="connsiteY1" fmla="*/ 257442 h 257442"/>
                <a:gd name="connsiteX2" fmla="*/ 0 w 3443322"/>
                <a:gd name="connsiteY2" fmla="*/ 257442 h 257442"/>
                <a:gd name="connsiteX3" fmla="*/ 56639 w 3443322"/>
                <a:gd name="connsiteY3" fmla="*/ 0 h 257442"/>
                <a:gd name="connsiteX0" fmla="*/ 3443322 w 3443322"/>
                <a:gd name="connsiteY0" fmla="*/ 0 h 257442"/>
                <a:gd name="connsiteX1" fmla="*/ 3386683 w 3443322"/>
                <a:gd name="connsiteY1" fmla="*/ 257442 h 257442"/>
                <a:gd name="connsiteX2" fmla="*/ 0 w 3443322"/>
                <a:gd name="connsiteY2" fmla="*/ 257442 h 257442"/>
                <a:gd name="connsiteX3" fmla="*/ 56639 w 3443322"/>
                <a:gd name="connsiteY3" fmla="*/ 0 h 257442"/>
                <a:gd name="connsiteX0" fmla="*/ 3443323 w 3443323"/>
                <a:gd name="connsiteY0" fmla="*/ 0 h 257442"/>
                <a:gd name="connsiteX1" fmla="*/ 3386684 w 3443323"/>
                <a:gd name="connsiteY1" fmla="*/ 257442 h 257442"/>
                <a:gd name="connsiteX2" fmla="*/ 0 w 3443323"/>
                <a:gd name="connsiteY2" fmla="*/ 257442 h 257442"/>
                <a:gd name="connsiteX3" fmla="*/ 56640 w 3443323"/>
                <a:gd name="connsiteY3" fmla="*/ 0 h 257442"/>
                <a:gd name="connsiteX0" fmla="*/ 3443323 w 3443323"/>
                <a:gd name="connsiteY0" fmla="*/ 0 h 257442"/>
                <a:gd name="connsiteX1" fmla="*/ 3386684 w 3443323"/>
                <a:gd name="connsiteY1" fmla="*/ 257442 h 257442"/>
                <a:gd name="connsiteX2" fmla="*/ 0 w 3443323"/>
                <a:gd name="connsiteY2" fmla="*/ 257442 h 257442"/>
                <a:gd name="connsiteX3" fmla="*/ 56639 w 3443323"/>
                <a:gd name="connsiteY3" fmla="*/ 0 h 257442"/>
                <a:gd name="connsiteX0" fmla="*/ 3609238 w 3609238"/>
                <a:gd name="connsiteY0" fmla="*/ 0 h 257442"/>
                <a:gd name="connsiteX1" fmla="*/ 3386684 w 3609238"/>
                <a:gd name="connsiteY1" fmla="*/ 257442 h 257442"/>
                <a:gd name="connsiteX2" fmla="*/ 0 w 3609238"/>
                <a:gd name="connsiteY2" fmla="*/ 257442 h 257442"/>
                <a:gd name="connsiteX3" fmla="*/ 56639 w 3609238"/>
                <a:gd name="connsiteY3" fmla="*/ 0 h 257442"/>
                <a:gd name="connsiteX0" fmla="*/ 3609238 w 3609238"/>
                <a:gd name="connsiteY0" fmla="*/ 0 h 257442"/>
                <a:gd name="connsiteX1" fmla="*/ 3552599 w 3609238"/>
                <a:gd name="connsiteY1" fmla="*/ 257442 h 257442"/>
                <a:gd name="connsiteX2" fmla="*/ 0 w 3609238"/>
                <a:gd name="connsiteY2" fmla="*/ 257442 h 257442"/>
                <a:gd name="connsiteX3" fmla="*/ 56639 w 3609238"/>
                <a:gd name="connsiteY3" fmla="*/ 0 h 257442"/>
                <a:gd name="connsiteX0" fmla="*/ 3609239 w 3609239"/>
                <a:gd name="connsiteY0" fmla="*/ 0 h 257442"/>
                <a:gd name="connsiteX1" fmla="*/ 3552600 w 3609239"/>
                <a:gd name="connsiteY1" fmla="*/ 257442 h 257442"/>
                <a:gd name="connsiteX2" fmla="*/ 0 w 3609239"/>
                <a:gd name="connsiteY2" fmla="*/ 257442 h 257442"/>
                <a:gd name="connsiteX3" fmla="*/ 56640 w 3609239"/>
                <a:gd name="connsiteY3" fmla="*/ 0 h 257442"/>
                <a:gd name="connsiteX0" fmla="*/ 3609239 w 3609239"/>
                <a:gd name="connsiteY0" fmla="*/ 0 h 257442"/>
                <a:gd name="connsiteX1" fmla="*/ 3552600 w 3609239"/>
                <a:gd name="connsiteY1" fmla="*/ 257442 h 257442"/>
                <a:gd name="connsiteX2" fmla="*/ 0 w 3609239"/>
                <a:gd name="connsiteY2" fmla="*/ 257442 h 257442"/>
                <a:gd name="connsiteX3" fmla="*/ 56639 w 3609239"/>
                <a:gd name="connsiteY3" fmla="*/ 0 h 257442"/>
                <a:gd name="connsiteX0" fmla="*/ 3801700 w 3801700"/>
                <a:gd name="connsiteY0" fmla="*/ 0 h 257442"/>
                <a:gd name="connsiteX1" fmla="*/ 3552600 w 3801700"/>
                <a:gd name="connsiteY1" fmla="*/ 257442 h 257442"/>
                <a:gd name="connsiteX2" fmla="*/ 0 w 3801700"/>
                <a:gd name="connsiteY2" fmla="*/ 257442 h 257442"/>
                <a:gd name="connsiteX3" fmla="*/ 56639 w 3801700"/>
                <a:gd name="connsiteY3" fmla="*/ 0 h 257442"/>
                <a:gd name="connsiteX0" fmla="*/ 3801700 w 3801700"/>
                <a:gd name="connsiteY0" fmla="*/ 0 h 257442"/>
                <a:gd name="connsiteX1" fmla="*/ 3745062 w 3801700"/>
                <a:gd name="connsiteY1" fmla="*/ 257442 h 257442"/>
                <a:gd name="connsiteX2" fmla="*/ 0 w 3801700"/>
                <a:gd name="connsiteY2" fmla="*/ 257442 h 257442"/>
                <a:gd name="connsiteX3" fmla="*/ 56639 w 3801700"/>
                <a:gd name="connsiteY3" fmla="*/ 0 h 257442"/>
                <a:gd name="connsiteX0" fmla="*/ 3801699 w 3801699"/>
                <a:gd name="connsiteY0" fmla="*/ 0 h 257442"/>
                <a:gd name="connsiteX1" fmla="*/ 3745061 w 3801699"/>
                <a:gd name="connsiteY1" fmla="*/ 257442 h 257442"/>
                <a:gd name="connsiteX2" fmla="*/ 0 w 3801699"/>
                <a:gd name="connsiteY2" fmla="*/ 257442 h 257442"/>
                <a:gd name="connsiteX3" fmla="*/ 56638 w 3801699"/>
                <a:gd name="connsiteY3" fmla="*/ 0 h 257442"/>
                <a:gd name="connsiteX0" fmla="*/ 3801699 w 3801699"/>
                <a:gd name="connsiteY0" fmla="*/ 0 h 257442"/>
                <a:gd name="connsiteX1" fmla="*/ 3745061 w 3801699"/>
                <a:gd name="connsiteY1" fmla="*/ 257442 h 257442"/>
                <a:gd name="connsiteX2" fmla="*/ 0 w 3801699"/>
                <a:gd name="connsiteY2" fmla="*/ 257442 h 257442"/>
                <a:gd name="connsiteX3" fmla="*/ 56637 w 3801699"/>
                <a:gd name="connsiteY3" fmla="*/ 0 h 257442"/>
                <a:gd name="connsiteX0" fmla="*/ 3967615 w 3967615"/>
                <a:gd name="connsiteY0" fmla="*/ 0 h 257442"/>
                <a:gd name="connsiteX1" fmla="*/ 3745061 w 3967615"/>
                <a:gd name="connsiteY1" fmla="*/ 257442 h 257442"/>
                <a:gd name="connsiteX2" fmla="*/ 0 w 3967615"/>
                <a:gd name="connsiteY2" fmla="*/ 257442 h 257442"/>
                <a:gd name="connsiteX3" fmla="*/ 56637 w 3967615"/>
                <a:gd name="connsiteY3" fmla="*/ 0 h 257442"/>
                <a:gd name="connsiteX0" fmla="*/ 3967615 w 3967615"/>
                <a:gd name="connsiteY0" fmla="*/ 0 h 257442"/>
                <a:gd name="connsiteX1" fmla="*/ 3910977 w 3967615"/>
                <a:gd name="connsiteY1" fmla="*/ 257442 h 257442"/>
                <a:gd name="connsiteX2" fmla="*/ 0 w 3967615"/>
                <a:gd name="connsiteY2" fmla="*/ 257442 h 257442"/>
                <a:gd name="connsiteX3" fmla="*/ 56637 w 3967615"/>
                <a:gd name="connsiteY3" fmla="*/ 0 h 257442"/>
                <a:gd name="connsiteX0" fmla="*/ 3967616 w 3967616"/>
                <a:gd name="connsiteY0" fmla="*/ 0 h 257442"/>
                <a:gd name="connsiteX1" fmla="*/ 3910978 w 3967616"/>
                <a:gd name="connsiteY1" fmla="*/ 257442 h 257442"/>
                <a:gd name="connsiteX2" fmla="*/ 0 w 3967616"/>
                <a:gd name="connsiteY2" fmla="*/ 257442 h 257442"/>
                <a:gd name="connsiteX3" fmla="*/ 56638 w 3967616"/>
                <a:gd name="connsiteY3" fmla="*/ 0 h 257442"/>
                <a:gd name="connsiteX0" fmla="*/ 3967616 w 3967616"/>
                <a:gd name="connsiteY0" fmla="*/ 0 h 257442"/>
                <a:gd name="connsiteX1" fmla="*/ 3910978 w 3967616"/>
                <a:gd name="connsiteY1" fmla="*/ 257442 h 257442"/>
                <a:gd name="connsiteX2" fmla="*/ 0 w 3967616"/>
                <a:gd name="connsiteY2" fmla="*/ 257442 h 257442"/>
                <a:gd name="connsiteX3" fmla="*/ 56639 w 3967616"/>
                <a:gd name="connsiteY3" fmla="*/ 0 h 257442"/>
                <a:gd name="connsiteX0" fmla="*/ 4141828 w 4141828"/>
                <a:gd name="connsiteY0" fmla="*/ 0 h 257442"/>
                <a:gd name="connsiteX1" fmla="*/ 3910978 w 4141828"/>
                <a:gd name="connsiteY1" fmla="*/ 257442 h 257442"/>
                <a:gd name="connsiteX2" fmla="*/ 0 w 4141828"/>
                <a:gd name="connsiteY2" fmla="*/ 257442 h 257442"/>
                <a:gd name="connsiteX3" fmla="*/ 56639 w 4141828"/>
                <a:gd name="connsiteY3" fmla="*/ 0 h 257442"/>
                <a:gd name="connsiteX0" fmla="*/ 4141828 w 4141828"/>
                <a:gd name="connsiteY0" fmla="*/ 0 h 257442"/>
                <a:gd name="connsiteX1" fmla="*/ 4085190 w 4141828"/>
                <a:gd name="connsiteY1" fmla="*/ 257442 h 257442"/>
                <a:gd name="connsiteX2" fmla="*/ 0 w 4141828"/>
                <a:gd name="connsiteY2" fmla="*/ 257442 h 257442"/>
                <a:gd name="connsiteX3" fmla="*/ 56639 w 4141828"/>
                <a:gd name="connsiteY3" fmla="*/ 0 h 257442"/>
                <a:gd name="connsiteX0" fmla="*/ 4141828 w 4141828"/>
                <a:gd name="connsiteY0" fmla="*/ 0 h 257442"/>
                <a:gd name="connsiteX1" fmla="*/ 4085190 w 4141828"/>
                <a:gd name="connsiteY1" fmla="*/ 257442 h 257442"/>
                <a:gd name="connsiteX2" fmla="*/ 0 w 4141828"/>
                <a:gd name="connsiteY2" fmla="*/ 257442 h 257442"/>
                <a:gd name="connsiteX3" fmla="*/ 56639 w 4141828"/>
                <a:gd name="connsiteY3" fmla="*/ 0 h 257442"/>
                <a:gd name="connsiteX0" fmla="*/ 4141828 w 4141828"/>
                <a:gd name="connsiteY0" fmla="*/ 0 h 257442"/>
                <a:gd name="connsiteX1" fmla="*/ 4085190 w 4141828"/>
                <a:gd name="connsiteY1" fmla="*/ 257442 h 257442"/>
                <a:gd name="connsiteX2" fmla="*/ 0 w 4141828"/>
                <a:gd name="connsiteY2" fmla="*/ 257442 h 257442"/>
                <a:gd name="connsiteX3" fmla="*/ 56638 w 414182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41828" h="257442">
                  <a:moveTo>
                    <a:pt x="4141828" y="0"/>
                  </a:moveTo>
                  <a:lnTo>
                    <a:pt x="4085190" y="257442"/>
                  </a:lnTo>
                  <a:lnTo>
                    <a:pt x="0" y="257442"/>
                  </a:lnTo>
                  <a:lnTo>
                    <a:pt x="56638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94" name="btfpRunningAgenda2LevelTextRight283164">
              <a:extLst>
                <a:ext uri="{FF2B5EF4-FFF2-40B4-BE49-F238E27FC236}">
                  <a16:creationId xmlns:a16="http://schemas.microsoft.com/office/drawing/2014/main" id="{337D82B8-077A-4B09-A34F-16894DEB4E2B}"/>
                </a:ext>
              </a:extLst>
            </p:cNvPr>
            <p:cNvSpPr txBox="1"/>
            <p:nvPr/>
          </p:nvSpPr>
          <p:spPr bwMode="gray">
            <a:xfrm>
              <a:off x="3619132" y="944429"/>
              <a:ext cx="424281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QUALITATIVE ASSESSMENT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9068875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btfpColumnIndicatorGroup2">
            <a:extLst>
              <a:ext uri="{FF2B5EF4-FFF2-40B4-BE49-F238E27FC236}">
                <a16:creationId xmlns:a16="http://schemas.microsoft.com/office/drawing/2014/main" id="{CD0E0FB7-E30A-8C24-669C-8780811E6315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7" name="btfpColumnGapBlocker297425">
              <a:extLst>
                <a:ext uri="{FF2B5EF4-FFF2-40B4-BE49-F238E27FC236}">
                  <a16:creationId xmlns:a16="http://schemas.microsoft.com/office/drawing/2014/main" id="{F6784DA9-0F62-D13F-5873-9C1D92F6732A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5" name="btfpColumnGapBlocker549080">
              <a:extLst>
                <a:ext uri="{FF2B5EF4-FFF2-40B4-BE49-F238E27FC236}">
                  <a16:creationId xmlns:a16="http://schemas.microsoft.com/office/drawing/2014/main" id="{CACE68B8-D0A0-8AB2-6E4C-3D28862C495A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3" name="btfpColumnIndicator336821">
              <a:extLst>
                <a:ext uri="{FF2B5EF4-FFF2-40B4-BE49-F238E27FC236}">
                  <a16:creationId xmlns:a16="http://schemas.microsoft.com/office/drawing/2014/main" id="{FEF72D13-3363-08CD-DA9D-57ED99FA9C52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btfpColumnIndicator411343">
              <a:extLst>
                <a:ext uri="{FF2B5EF4-FFF2-40B4-BE49-F238E27FC236}">
                  <a16:creationId xmlns:a16="http://schemas.microsoft.com/office/drawing/2014/main" id="{67EDD241-F9EC-DD52-DC10-B90A9D8CD7B9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btfpColumnGapBlocker844786">
              <a:extLst>
                <a:ext uri="{FF2B5EF4-FFF2-40B4-BE49-F238E27FC236}">
                  <a16:creationId xmlns:a16="http://schemas.microsoft.com/office/drawing/2014/main" id="{09C3C7FA-DF53-7CE9-3928-E7FC8635C24A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btfpColumnIndicator309601">
              <a:extLst>
                <a:ext uri="{FF2B5EF4-FFF2-40B4-BE49-F238E27FC236}">
                  <a16:creationId xmlns:a16="http://schemas.microsoft.com/office/drawing/2014/main" id="{9AF8B229-DE42-AED9-1CB1-4D3A577B4724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btfpColumnIndicator276764">
              <a:extLst>
                <a:ext uri="{FF2B5EF4-FFF2-40B4-BE49-F238E27FC236}">
                  <a16:creationId xmlns:a16="http://schemas.microsoft.com/office/drawing/2014/main" id="{AB08DE03-9055-CEFA-21AF-A8E5F81493D5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btfpColumnGapBlocker589174">
              <a:extLst>
                <a:ext uri="{FF2B5EF4-FFF2-40B4-BE49-F238E27FC236}">
                  <a16:creationId xmlns:a16="http://schemas.microsoft.com/office/drawing/2014/main" id="{4D090646-FA44-B1F9-9291-F6A8E4E86D93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458063">
              <a:extLst>
                <a:ext uri="{FF2B5EF4-FFF2-40B4-BE49-F238E27FC236}">
                  <a16:creationId xmlns:a16="http://schemas.microsoft.com/office/drawing/2014/main" id="{2D0BBBCA-0203-D68B-8E0C-0249714E1BD7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626459">
              <a:extLst>
                <a:ext uri="{FF2B5EF4-FFF2-40B4-BE49-F238E27FC236}">
                  <a16:creationId xmlns:a16="http://schemas.microsoft.com/office/drawing/2014/main" id="{CF4FD3D0-D4BC-2C5D-07E3-9A256CCDA438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btfpColumnIndicatorGroup1">
            <a:extLst>
              <a:ext uri="{FF2B5EF4-FFF2-40B4-BE49-F238E27FC236}">
                <a16:creationId xmlns:a16="http://schemas.microsoft.com/office/drawing/2014/main" id="{A04718DD-A75E-3CD6-58A2-ED7BFB88F50D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6" name="btfpColumnGapBlocker854755">
              <a:extLst>
                <a:ext uri="{FF2B5EF4-FFF2-40B4-BE49-F238E27FC236}">
                  <a16:creationId xmlns:a16="http://schemas.microsoft.com/office/drawing/2014/main" id="{666E3D29-D20D-04E3-1F19-C06775946D90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4" name="btfpColumnGapBlocker401847">
              <a:extLst>
                <a:ext uri="{FF2B5EF4-FFF2-40B4-BE49-F238E27FC236}">
                  <a16:creationId xmlns:a16="http://schemas.microsoft.com/office/drawing/2014/main" id="{AAB67D4B-213D-E375-127B-0B7875D34F61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2" name="btfpColumnIndicator712802">
              <a:extLst>
                <a:ext uri="{FF2B5EF4-FFF2-40B4-BE49-F238E27FC236}">
                  <a16:creationId xmlns:a16="http://schemas.microsoft.com/office/drawing/2014/main" id="{5BA72A18-B1AC-5388-1E27-DC1EB512F557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btfpColumnIndicator474983">
              <a:extLst>
                <a:ext uri="{FF2B5EF4-FFF2-40B4-BE49-F238E27FC236}">
                  <a16:creationId xmlns:a16="http://schemas.microsoft.com/office/drawing/2014/main" id="{88B7F02B-EA9E-F3C4-20BF-78F082D551F7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btfpColumnGapBlocker219928">
              <a:extLst>
                <a:ext uri="{FF2B5EF4-FFF2-40B4-BE49-F238E27FC236}">
                  <a16:creationId xmlns:a16="http://schemas.microsoft.com/office/drawing/2014/main" id="{75617126-ECDE-AAB9-04CD-A2C5B1D88A3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6" name="btfpColumnIndicator632546">
              <a:extLst>
                <a:ext uri="{FF2B5EF4-FFF2-40B4-BE49-F238E27FC236}">
                  <a16:creationId xmlns:a16="http://schemas.microsoft.com/office/drawing/2014/main" id="{AA23B7CB-FD93-1D53-65E1-32EFF73D6800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475155">
              <a:extLst>
                <a:ext uri="{FF2B5EF4-FFF2-40B4-BE49-F238E27FC236}">
                  <a16:creationId xmlns:a16="http://schemas.microsoft.com/office/drawing/2014/main" id="{A7395730-6C24-45B8-71D2-275EFF19B65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btfpColumnGapBlocker393365">
              <a:extLst>
                <a:ext uri="{FF2B5EF4-FFF2-40B4-BE49-F238E27FC236}">
                  <a16:creationId xmlns:a16="http://schemas.microsoft.com/office/drawing/2014/main" id="{1DBF52CE-F717-9175-99C3-A7548C90F3C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7" name="btfpColumnIndicator832934">
              <a:extLst>
                <a:ext uri="{FF2B5EF4-FFF2-40B4-BE49-F238E27FC236}">
                  <a16:creationId xmlns:a16="http://schemas.microsoft.com/office/drawing/2014/main" id="{DAD00E2F-79D9-F988-B322-201975C6B9A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654178">
              <a:extLst>
                <a:ext uri="{FF2B5EF4-FFF2-40B4-BE49-F238E27FC236}">
                  <a16:creationId xmlns:a16="http://schemas.microsoft.com/office/drawing/2014/main" id="{F5AFABA0-89AB-C12D-B128-8BDD93674B2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HeaderBox198768"/>
          <p:cNvGrpSpPr/>
          <p:nvPr>
            <p:custDataLst>
              <p:tags r:id="rId2"/>
            </p:custDataLst>
          </p:nvPr>
        </p:nvGrpSpPr>
        <p:grpSpPr>
          <a:xfrm>
            <a:off x="3350454" y="1249486"/>
            <a:ext cx="8159681" cy="285432"/>
            <a:chOff x="4776416" y="1230864"/>
            <a:chExt cx="6616393" cy="163190"/>
          </a:xfrm>
        </p:grpSpPr>
        <p:sp>
          <p:nvSpPr>
            <p:cNvPr id="13" name="btfpColumnHeaderBoxText198768"/>
            <p:cNvSpPr txBox="1"/>
            <p:nvPr/>
          </p:nvSpPr>
          <p:spPr bwMode="gray">
            <a:xfrm>
              <a:off x="4776416" y="1230864"/>
              <a:ext cx="6616393" cy="163190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400" b="1">
                  <a:solidFill>
                    <a:srgbClr val="000000"/>
                  </a:solidFill>
                </a:rPr>
                <a:t>Commentary</a:t>
              </a:r>
              <a:endParaRPr lang="en-GB" sz="1100" b="1">
                <a:solidFill>
                  <a:srgbClr val="000000"/>
                </a:solidFill>
              </a:endParaRPr>
            </a:p>
          </p:txBody>
        </p:sp>
        <p:cxnSp>
          <p:nvCxnSpPr>
            <p:cNvPr id="14" name="btfpColumnHeaderBoxLine198768"/>
            <p:cNvCxnSpPr/>
            <p:nvPr/>
          </p:nvCxnSpPr>
          <p:spPr bwMode="gray">
            <a:xfrm>
              <a:off x="4776416" y="1394054"/>
              <a:ext cx="6616393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2076457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00">
                <a:solidFill>
                  <a:srgbClr val="FFFFFF">
                    <a:alpha val="0"/>
                  </a:srgbClr>
                </a:solidFill>
              </a:rPr>
              <a:t>overall_0_131740361282557469 columns_1_131740344387940758 6_1_131740338237529813 9_1_131740338237680210 12_0_131740338238000738 15_0_131740338238171188 16_0_131740338238702602 17_0_131740338239063566 18_1_131740338239314573 23_0_131740338239836017 26_0_131740338239976009 31_1_131740360388380890 32_1_131740361156218642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0"/>
            <a:ext cx="11522075" cy="876687"/>
          </a:xfrm>
        </p:spPr>
        <p:txBody>
          <a:bodyPr wrap="square"/>
          <a:lstStyle/>
          <a:p>
            <a:r>
              <a:rPr lang="en-GB">
                <a:latin typeface="+mn-lt"/>
              </a:rPr>
              <a:t>Deep-dive on most common use cases</a:t>
            </a:r>
          </a:p>
        </p:txBody>
      </p:sp>
      <p:sp>
        <p:nvSpPr>
          <p:cNvPr id="16" name="BainBulletsConfiguration" hidden="1"/>
          <p:cNvSpPr txBox="1"/>
          <p:nvPr>
            <p:custDataLst>
              <p:tags r:id="rId3"/>
            </p:custDataLst>
          </p:nvPr>
        </p:nvSpPr>
        <p:spPr bwMode="gray">
          <a:xfrm>
            <a:off x="12700" y="12700"/>
            <a:ext cx="72768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endParaRPr lang="en-GB" sz="100">
              <a:solidFill>
                <a:srgbClr val="FFFFFF"/>
              </a:solidFill>
            </a:endParaRPr>
          </a:p>
        </p:txBody>
      </p:sp>
      <p:sp>
        <p:nvSpPr>
          <p:cNvPr id="53" name="btfpQuoteBox701730">
            <a:extLst>
              <a:ext uri="{FF2B5EF4-FFF2-40B4-BE49-F238E27FC236}">
                <a16:creationId xmlns:a16="http://schemas.microsoft.com/office/drawing/2014/main" id="{3EC9CF81-1374-450C-9B76-5847701A91D4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59628" y="1598835"/>
            <a:ext cx="8138160" cy="232092"/>
          </a:xfrm>
          <a:prstGeom prst="rect">
            <a:avLst/>
          </a:prstGeom>
          <a:solidFill>
            <a:srgbClr val="D6D6D6"/>
          </a:solidFill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1050" b="1" i="1"/>
              <a:t>Recommended by doctor</a:t>
            </a:r>
          </a:p>
        </p:txBody>
      </p:sp>
      <p:grpSp>
        <p:nvGrpSpPr>
          <p:cNvPr id="70" name="btfpRunningAgenda2Level118082">
            <a:extLst>
              <a:ext uri="{FF2B5EF4-FFF2-40B4-BE49-F238E27FC236}">
                <a16:creationId xmlns:a16="http://schemas.microsoft.com/office/drawing/2014/main" id="{7CE93EB6-AC57-4C7E-B417-4DE7E678D3D3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5686551" cy="257442"/>
            <a:chOff x="0" y="876300"/>
            <a:chExt cx="5686551" cy="257442"/>
          </a:xfrm>
        </p:grpSpPr>
        <p:sp>
          <p:nvSpPr>
            <p:cNvPr id="72" name="btfpRunningAgenda2LevelBarLeft118082">
              <a:extLst>
                <a:ext uri="{FF2B5EF4-FFF2-40B4-BE49-F238E27FC236}">
                  <a16:creationId xmlns:a16="http://schemas.microsoft.com/office/drawing/2014/main" id="{5C8960E6-BE5F-4EDE-AE0A-6CBDB37C0790}"/>
                </a:ext>
              </a:extLst>
            </p:cNvPr>
            <p:cNvSpPr/>
            <p:nvPr/>
          </p:nvSpPr>
          <p:spPr bwMode="gray">
            <a:xfrm>
              <a:off x="0" y="876300"/>
              <a:ext cx="3631470" cy="257442"/>
            </a:xfrm>
            <a:custGeom>
              <a:avLst/>
              <a:gdLst>
                <a:gd name="connsiteX0" fmla="*/ 3548692 w 3548692"/>
                <a:gd name="connsiteY0" fmla="*/ 0 h 257442"/>
                <a:gd name="connsiteX1" fmla="*/ 1624062 w 3548692"/>
                <a:gd name="connsiteY1" fmla="*/ 0 h 257442"/>
                <a:gd name="connsiteX2" fmla="*/ 1569341 w 3548692"/>
                <a:gd name="connsiteY2" fmla="*/ 257442 h 257442"/>
                <a:gd name="connsiteX3" fmla="*/ 0 w 3548692"/>
                <a:gd name="connsiteY3" fmla="*/ 257442 h 257442"/>
                <a:gd name="connsiteX0" fmla="*/ 3548692 w 3548692"/>
                <a:gd name="connsiteY0" fmla="*/ 0 h 257442"/>
                <a:gd name="connsiteX1" fmla="*/ 3493970 w 3548692"/>
                <a:gd name="connsiteY1" fmla="*/ 257442 h 257442"/>
                <a:gd name="connsiteX2" fmla="*/ 1569341 w 3548692"/>
                <a:gd name="connsiteY2" fmla="*/ 257442 h 257442"/>
                <a:gd name="connsiteX3" fmla="*/ 0 w 3548692"/>
                <a:gd name="connsiteY3" fmla="*/ 257442 h 257442"/>
                <a:gd name="connsiteX0" fmla="*/ 3548693 w 3548693"/>
                <a:gd name="connsiteY0" fmla="*/ 0 h 257442"/>
                <a:gd name="connsiteX1" fmla="*/ 3493971 w 3548693"/>
                <a:gd name="connsiteY1" fmla="*/ 257442 h 257442"/>
                <a:gd name="connsiteX2" fmla="*/ 0 w 3548693"/>
                <a:gd name="connsiteY2" fmla="*/ 257442 h 257442"/>
                <a:gd name="connsiteX3" fmla="*/ 1 w 3548693"/>
                <a:gd name="connsiteY3" fmla="*/ 257442 h 257442"/>
                <a:gd name="connsiteX0" fmla="*/ 3548693 w 3548693"/>
                <a:gd name="connsiteY0" fmla="*/ 0 h 257442"/>
                <a:gd name="connsiteX1" fmla="*/ 3493971 w 3548693"/>
                <a:gd name="connsiteY1" fmla="*/ 257442 h 257442"/>
                <a:gd name="connsiteX2" fmla="*/ 0 w 3548693"/>
                <a:gd name="connsiteY2" fmla="*/ 257442 h 257442"/>
                <a:gd name="connsiteX3" fmla="*/ 1 w 3548693"/>
                <a:gd name="connsiteY3" fmla="*/ 0 h 257442"/>
                <a:gd name="connsiteX0" fmla="*/ 942787 w 3493971"/>
                <a:gd name="connsiteY0" fmla="*/ 0 h 257442"/>
                <a:gd name="connsiteX1" fmla="*/ 3493971 w 3493971"/>
                <a:gd name="connsiteY1" fmla="*/ 257442 h 257442"/>
                <a:gd name="connsiteX2" fmla="*/ 0 w 3493971"/>
                <a:gd name="connsiteY2" fmla="*/ 257442 h 257442"/>
                <a:gd name="connsiteX3" fmla="*/ 1 w 3493971"/>
                <a:gd name="connsiteY3" fmla="*/ 0 h 257442"/>
                <a:gd name="connsiteX0" fmla="*/ 942787 w 942787"/>
                <a:gd name="connsiteY0" fmla="*/ 0 h 257442"/>
                <a:gd name="connsiteX1" fmla="*/ 888066 w 942787"/>
                <a:gd name="connsiteY1" fmla="*/ 257442 h 257442"/>
                <a:gd name="connsiteX2" fmla="*/ 0 w 942787"/>
                <a:gd name="connsiteY2" fmla="*/ 257442 h 257442"/>
                <a:gd name="connsiteX3" fmla="*/ 1 w 942787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7 w 942787"/>
                <a:gd name="connsiteY0" fmla="*/ 0 h 257442"/>
                <a:gd name="connsiteX1" fmla="*/ 888066 w 942787"/>
                <a:gd name="connsiteY1" fmla="*/ 257442 h 257442"/>
                <a:gd name="connsiteX2" fmla="*/ 1 w 942787"/>
                <a:gd name="connsiteY2" fmla="*/ 257442 h 257442"/>
                <a:gd name="connsiteX3" fmla="*/ 0 w 942787"/>
                <a:gd name="connsiteY3" fmla="*/ 0 h 257442"/>
                <a:gd name="connsiteX0" fmla="*/ 1103087 w 1103087"/>
                <a:gd name="connsiteY0" fmla="*/ 0 h 257442"/>
                <a:gd name="connsiteX1" fmla="*/ 888066 w 1103087"/>
                <a:gd name="connsiteY1" fmla="*/ 257442 h 257442"/>
                <a:gd name="connsiteX2" fmla="*/ 1 w 1103087"/>
                <a:gd name="connsiteY2" fmla="*/ 257442 h 257442"/>
                <a:gd name="connsiteX3" fmla="*/ 0 w 1103087"/>
                <a:gd name="connsiteY3" fmla="*/ 0 h 257442"/>
                <a:gd name="connsiteX0" fmla="*/ 1103087 w 1103087"/>
                <a:gd name="connsiteY0" fmla="*/ 0 h 257442"/>
                <a:gd name="connsiteX1" fmla="*/ 1048366 w 1103087"/>
                <a:gd name="connsiteY1" fmla="*/ 257442 h 257442"/>
                <a:gd name="connsiteX2" fmla="*/ 1 w 1103087"/>
                <a:gd name="connsiteY2" fmla="*/ 257442 h 257442"/>
                <a:gd name="connsiteX3" fmla="*/ 0 w 1103087"/>
                <a:gd name="connsiteY3" fmla="*/ 0 h 257442"/>
                <a:gd name="connsiteX0" fmla="*/ 1103087 w 1103087"/>
                <a:gd name="connsiteY0" fmla="*/ 0 h 257442"/>
                <a:gd name="connsiteX1" fmla="*/ 1048366 w 1103087"/>
                <a:gd name="connsiteY1" fmla="*/ 257442 h 257442"/>
                <a:gd name="connsiteX2" fmla="*/ 1 w 1103087"/>
                <a:gd name="connsiteY2" fmla="*/ 257442 h 257442"/>
                <a:gd name="connsiteX3" fmla="*/ 0 w 1103087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271401 w 1271401"/>
                <a:gd name="connsiteY0" fmla="*/ 0 h 257442"/>
                <a:gd name="connsiteX1" fmla="*/ 1048365 w 1271401"/>
                <a:gd name="connsiteY1" fmla="*/ 257442 h 257442"/>
                <a:gd name="connsiteX2" fmla="*/ 0 w 1271401"/>
                <a:gd name="connsiteY2" fmla="*/ 257442 h 257442"/>
                <a:gd name="connsiteX3" fmla="*/ 0 w 1271401"/>
                <a:gd name="connsiteY3" fmla="*/ 0 h 257442"/>
                <a:gd name="connsiteX0" fmla="*/ 1271401 w 1271401"/>
                <a:gd name="connsiteY0" fmla="*/ 0 h 257442"/>
                <a:gd name="connsiteX1" fmla="*/ 1216680 w 1271401"/>
                <a:gd name="connsiteY1" fmla="*/ 257442 h 257442"/>
                <a:gd name="connsiteX2" fmla="*/ 0 w 1271401"/>
                <a:gd name="connsiteY2" fmla="*/ 257442 h 257442"/>
                <a:gd name="connsiteX3" fmla="*/ 0 w 1271401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423687 w 1423687"/>
                <a:gd name="connsiteY0" fmla="*/ 0 h 257442"/>
                <a:gd name="connsiteX1" fmla="*/ 1216681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524676 w 1524676"/>
                <a:gd name="connsiteY0" fmla="*/ 0 h 257442"/>
                <a:gd name="connsiteX1" fmla="*/ 1368966 w 1524676"/>
                <a:gd name="connsiteY1" fmla="*/ 257442 h 257442"/>
                <a:gd name="connsiteX2" fmla="*/ 0 w 1524676"/>
                <a:gd name="connsiteY2" fmla="*/ 257442 h 257442"/>
                <a:gd name="connsiteX3" fmla="*/ 0 w 1524676"/>
                <a:gd name="connsiteY3" fmla="*/ 0 h 257442"/>
                <a:gd name="connsiteX0" fmla="*/ 1524676 w 1524676"/>
                <a:gd name="connsiteY0" fmla="*/ 0 h 257442"/>
                <a:gd name="connsiteX1" fmla="*/ 1469954 w 1524676"/>
                <a:gd name="connsiteY1" fmla="*/ 257442 h 257442"/>
                <a:gd name="connsiteX2" fmla="*/ 0 w 1524676"/>
                <a:gd name="connsiteY2" fmla="*/ 257442 h 257442"/>
                <a:gd name="connsiteX3" fmla="*/ 0 w 1524676"/>
                <a:gd name="connsiteY3" fmla="*/ 0 h 257442"/>
                <a:gd name="connsiteX0" fmla="*/ 1524677 w 1524677"/>
                <a:gd name="connsiteY0" fmla="*/ 0 h 257442"/>
                <a:gd name="connsiteX1" fmla="*/ 1469955 w 1524677"/>
                <a:gd name="connsiteY1" fmla="*/ 257442 h 257442"/>
                <a:gd name="connsiteX2" fmla="*/ 0 w 1524677"/>
                <a:gd name="connsiteY2" fmla="*/ 257442 h 257442"/>
                <a:gd name="connsiteX3" fmla="*/ 1 w 1524677"/>
                <a:gd name="connsiteY3" fmla="*/ 0 h 257442"/>
                <a:gd name="connsiteX0" fmla="*/ 1524677 w 1524677"/>
                <a:gd name="connsiteY0" fmla="*/ 0 h 257442"/>
                <a:gd name="connsiteX1" fmla="*/ 1469955 w 1524677"/>
                <a:gd name="connsiteY1" fmla="*/ 257442 h 257442"/>
                <a:gd name="connsiteX2" fmla="*/ 0 w 1524677"/>
                <a:gd name="connsiteY2" fmla="*/ 257442 h 257442"/>
                <a:gd name="connsiteX3" fmla="*/ 1 w 1524677"/>
                <a:gd name="connsiteY3" fmla="*/ 0 h 257442"/>
                <a:gd name="connsiteX0" fmla="*/ 1710626 w 1710626"/>
                <a:gd name="connsiteY0" fmla="*/ 0 h 257442"/>
                <a:gd name="connsiteX1" fmla="*/ 1469955 w 1710626"/>
                <a:gd name="connsiteY1" fmla="*/ 257442 h 257442"/>
                <a:gd name="connsiteX2" fmla="*/ 0 w 1710626"/>
                <a:gd name="connsiteY2" fmla="*/ 257442 h 257442"/>
                <a:gd name="connsiteX3" fmla="*/ 1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1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1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1870925 w 1870925"/>
                <a:gd name="connsiteY0" fmla="*/ 0 h 257442"/>
                <a:gd name="connsiteX1" fmla="*/ 16559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2039240 w 2039240"/>
                <a:gd name="connsiteY0" fmla="*/ 0 h 257442"/>
                <a:gd name="connsiteX1" fmla="*/ 1816204 w 2039240"/>
                <a:gd name="connsiteY1" fmla="*/ 257442 h 257442"/>
                <a:gd name="connsiteX2" fmla="*/ 0 w 2039240"/>
                <a:gd name="connsiteY2" fmla="*/ 257442 h 257442"/>
                <a:gd name="connsiteX3" fmla="*/ 0 w 2039240"/>
                <a:gd name="connsiteY3" fmla="*/ 0 h 257442"/>
                <a:gd name="connsiteX0" fmla="*/ 2039240 w 2039240"/>
                <a:gd name="connsiteY0" fmla="*/ 0 h 257442"/>
                <a:gd name="connsiteX1" fmla="*/ 1984518 w 2039240"/>
                <a:gd name="connsiteY1" fmla="*/ 257442 h 257442"/>
                <a:gd name="connsiteX2" fmla="*/ 0 w 2039240"/>
                <a:gd name="connsiteY2" fmla="*/ 257442 h 257442"/>
                <a:gd name="connsiteX3" fmla="*/ 0 w 2039240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1 w 2039241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1 w 2039241"/>
                <a:gd name="connsiteY3" fmla="*/ 0 h 257442"/>
                <a:gd name="connsiteX0" fmla="*/ 2191526 w 2191526"/>
                <a:gd name="connsiteY0" fmla="*/ 0 h 257442"/>
                <a:gd name="connsiteX1" fmla="*/ 1984519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0 w 2191526"/>
                <a:gd name="connsiteY3" fmla="*/ 0 h 257442"/>
                <a:gd name="connsiteX0" fmla="*/ 2292514 w 2292514"/>
                <a:gd name="connsiteY0" fmla="*/ 0 h 257442"/>
                <a:gd name="connsiteX1" fmla="*/ 2136804 w 2292514"/>
                <a:gd name="connsiteY1" fmla="*/ 257442 h 257442"/>
                <a:gd name="connsiteX2" fmla="*/ 0 w 2292514"/>
                <a:gd name="connsiteY2" fmla="*/ 257442 h 257442"/>
                <a:gd name="connsiteX3" fmla="*/ 0 w 2292514"/>
                <a:gd name="connsiteY3" fmla="*/ 0 h 257442"/>
                <a:gd name="connsiteX0" fmla="*/ 2292514 w 2292514"/>
                <a:gd name="connsiteY0" fmla="*/ 0 h 257442"/>
                <a:gd name="connsiteX1" fmla="*/ 2237793 w 2292514"/>
                <a:gd name="connsiteY1" fmla="*/ 257442 h 257442"/>
                <a:gd name="connsiteX2" fmla="*/ 0 w 2292514"/>
                <a:gd name="connsiteY2" fmla="*/ 257442 h 257442"/>
                <a:gd name="connsiteX3" fmla="*/ 0 w 2292514"/>
                <a:gd name="connsiteY3" fmla="*/ 0 h 257442"/>
                <a:gd name="connsiteX0" fmla="*/ 2292514 w 2292514"/>
                <a:gd name="connsiteY0" fmla="*/ 0 h 257442"/>
                <a:gd name="connsiteX1" fmla="*/ 2237793 w 2292514"/>
                <a:gd name="connsiteY1" fmla="*/ 257442 h 257442"/>
                <a:gd name="connsiteX2" fmla="*/ 0 w 2292514"/>
                <a:gd name="connsiteY2" fmla="*/ 257442 h 257442"/>
                <a:gd name="connsiteX3" fmla="*/ 0 w 2292514"/>
                <a:gd name="connsiteY3" fmla="*/ 0 h 257442"/>
                <a:gd name="connsiteX0" fmla="*/ 2292514 w 2292514"/>
                <a:gd name="connsiteY0" fmla="*/ 0 h 257442"/>
                <a:gd name="connsiteX1" fmla="*/ 2237793 w 2292514"/>
                <a:gd name="connsiteY1" fmla="*/ 257442 h 257442"/>
                <a:gd name="connsiteX2" fmla="*/ 0 w 2292514"/>
                <a:gd name="connsiteY2" fmla="*/ 257442 h 257442"/>
                <a:gd name="connsiteX3" fmla="*/ 0 w 2292514"/>
                <a:gd name="connsiteY3" fmla="*/ 0 h 257442"/>
                <a:gd name="connsiteX0" fmla="*/ 2460830 w 2460830"/>
                <a:gd name="connsiteY0" fmla="*/ 0 h 257442"/>
                <a:gd name="connsiteX1" fmla="*/ 2237793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613115 w 2613115"/>
                <a:gd name="connsiteY0" fmla="*/ 0 h 257442"/>
                <a:gd name="connsiteX1" fmla="*/ 2406109 w 2613115"/>
                <a:gd name="connsiteY1" fmla="*/ 257442 h 257442"/>
                <a:gd name="connsiteX2" fmla="*/ 0 w 2613115"/>
                <a:gd name="connsiteY2" fmla="*/ 257442 h 257442"/>
                <a:gd name="connsiteX3" fmla="*/ 0 w 2613115"/>
                <a:gd name="connsiteY3" fmla="*/ 0 h 257442"/>
                <a:gd name="connsiteX0" fmla="*/ 2613115 w 2613115"/>
                <a:gd name="connsiteY0" fmla="*/ 0 h 257442"/>
                <a:gd name="connsiteX1" fmla="*/ 2558394 w 2613115"/>
                <a:gd name="connsiteY1" fmla="*/ 257442 h 257442"/>
                <a:gd name="connsiteX2" fmla="*/ 0 w 2613115"/>
                <a:gd name="connsiteY2" fmla="*/ 257442 h 257442"/>
                <a:gd name="connsiteX3" fmla="*/ 0 w 2613115"/>
                <a:gd name="connsiteY3" fmla="*/ 0 h 257442"/>
                <a:gd name="connsiteX0" fmla="*/ 2613115 w 2613115"/>
                <a:gd name="connsiteY0" fmla="*/ 0 h 257442"/>
                <a:gd name="connsiteX1" fmla="*/ 2558394 w 2613115"/>
                <a:gd name="connsiteY1" fmla="*/ 257442 h 257442"/>
                <a:gd name="connsiteX2" fmla="*/ 0 w 2613115"/>
                <a:gd name="connsiteY2" fmla="*/ 257442 h 257442"/>
                <a:gd name="connsiteX3" fmla="*/ 0 w 2613115"/>
                <a:gd name="connsiteY3" fmla="*/ 0 h 257442"/>
                <a:gd name="connsiteX0" fmla="*/ 2613115 w 2613115"/>
                <a:gd name="connsiteY0" fmla="*/ 0 h 257442"/>
                <a:gd name="connsiteX1" fmla="*/ 2558394 w 2613115"/>
                <a:gd name="connsiteY1" fmla="*/ 257442 h 257442"/>
                <a:gd name="connsiteX2" fmla="*/ 0 w 2613115"/>
                <a:gd name="connsiteY2" fmla="*/ 257442 h 257442"/>
                <a:gd name="connsiteX3" fmla="*/ 0 w 2613115"/>
                <a:gd name="connsiteY3" fmla="*/ 0 h 257442"/>
                <a:gd name="connsiteX0" fmla="*/ 2781430 w 2781430"/>
                <a:gd name="connsiteY0" fmla="*/ 0 h 257442"/>
                <a:gd name="connsiteX1" fmla="*/ 2558394 w 2781430"/>
                <a:gd name="connsiteY1" fmla="*/ 257442 h 257442"/>
                <a:gd name="connsiteX2" fmla="*/ 0 w 2781430"/>
                <a:gd name="connsiteY2" fmla="*/ 257442 h 257442"/>
                <a:gd name="connsiteX3" fmla="*/ 0 w 2781430"/>
                <a:gd name="connsiteY3" fmla="*/ 0 h 257442"/>
                <a:gd name="connsiteX0" fmla="*/ 2781430 w 2781430"/>
                <a:gd name="connsiteY0" fmla="*/ 0 h 257442"/>
                <a:gd name="connsiteX1" fmla="*/ 2726708 w 2781430"/>
                <a:gd name="connsiteY1" fmla="*/ 257442 h 257442"/>
                <a:gd name="connsiteX2" fmla="*/ 0 w 2781430"/>
                <a:gd name="connsiteY2" fmla="*/ 257442 h 257442"/>
                <a:gd name="connsiteX3" fmla="*/ 0 w 2781430"/>
                <a:gd name="connsiteY3" fmla="*/ 0 h 257442"/>
                <a:gd name="connsiteX0" fmla="*/ 2781431 w 2781431"/>
                <a:gd name="connsiteY0" fmla="*/ 0 h 257442"/>
                <a:gd name="connsiteX1" fmla="*/ 2726709 w 2781431"/>
                <a:gd name="connsiteY1" fmla="*/ 257442 h 257442"/>
                <a:gd name="connsiteX2" fmla="*/ 0 w 2781431"/>
                <a:gd name="connsiteY2" fmla="*/ 257442 h 257442"/>
                <a:gd name="connsiteX3" fmla="*/ 1 w 2781431"/>
                <a:gd name="connsiteY3" fmla="*/ 0 h 257442"/>
                <a:gd name="connsiteX0" fmla="*/ 2781431 w 2781431"/>
                <a:gd name="connsiteY0" fmla="*/ 0 h 257442"/>
                <a:gd name="connsiteX1" fmla="*/ 2726709 w 2781431"/>
                <a:gd name="connsiteY1" fmla="*/ 257442 h 257442"/>
                <a:gd name="connsiteX2" fmla="*/ 0 w 2781431"/>
                <a:gd name="connsiteY2" fmla="*/ 257442 h 257442"/>
                <a:gd name="connsiteX3" fmla="*/ 1 w 2781431"/>
                <a:gd name="connsiteY3" fmla="*/ 0 h 257442"/>
                <a:gd name="connsiteX0" fmla="*/ 2941732 w 2941732"/>
                <a:gd name="connsiteY0" fmla="*/ 0 h 257442"/>
                <a:gd name="connsiteX1" fmla="*/ 2726709 w 2941732"/>
                <a:gd name="connsiteY1" fmla="*/ 257442 h 257442"/>
                <a:gd name="connsiteX2" fmla="*/ 0 w 2941732"/>
                <a:gd name="connsiteY2" fmla="*/ 257442 h 257442"/>
                <a:gd name="connsiteX3" fmla="*/ 1 w 2941732"/>
                <a:gd name="connsiteY3" fmla="*/ 0 h 257442"/>
                <a:gd name="connsiteX0" fmla="*/ 2941732 w 2941732"/>
                <a:gd name="connsiteY0" fmla="*/ 0 h 257442"/>
                <a:gd name="connsiteX1" fmla="*/ 2887010 w 2941732"/>
                <a:gd name="connsiteY1" fmla="*/ 257442 h 257442"/>
                <a:gd name="connsiteX2" fmla="*/ 0 w 2941732"/>
                <a:gd name="connsiteY2" fmla="*/ 257442 h 257442"/>
                <a:gd name="connsiteX3" fmla="*/ 1 w 2941732"/>
                <a:gd name="connsiteY3" fmla="*/ 0 h 257442"/>
                <a:gd name="connsiteX0" fmla="*/ 2941732 w 2941732"/>
                <a:gd name="connsiteY0" fmla="*/ 0 h 257442"/>
                <a:gd name="connsiteX1" fmla="*/ 2887010 w 2941732"/>
                <a:gd name="connsiteY1" fmla="*/ 257442 h 257442"/>
                <a:gd name="connsiteX2" fmla="*/ 0 w 2941732"/>
                <a:gd name="connsiteY2" fmla="*/ 257442 h 257442"/>
                <a:gd name="connsiteX3" fmla="*/ 1 w 2941732"/>
                <a:gd name="connsiteY3" fmla="*/ 0 h 257442"/>
                <a:gd name="connsiteX0" fmla="*/ 2941732 w 2941732"/>
                <a:gd name="connsiteY0" fmla="*/ 0 h 257442"/>
                <a:gd name="connsiteX1" fmla="*/ 2887010 w 2941732"/>
                <a:gd name="connsiteY1" fmla="*/ 257442 h 257442"/>
                <a:gd name="connsiteX2" fmla="*/ 0 w 2941732"/>
                <a:gd name="connsiteY2" fmla="*/ 257442 h 257442"/>
                <a:gd name="connsiteX3" fmla="*/ 0 w 2941732"/>
                <a:gd name="connsiteY3" fmla="*/ 0 h 257442"/>
                <a:gd name="connsiteX0" fmla="*/ 3102031 w 3102031"/>
                <a:gd name="connsiteY0" fmla="*/ 0 h 257442"/>
                <a:gd name="connsiteX1" fmla="*/ 2887010 w 3102031"/>
                <a:gd name="connsiteY1" fmla="*/ 257442 h 257442"/>
                <a:gd name="connsiteX2" fmla="*/ 0 w 3102031"/>
                <a:gd name="connsiteY2" fmla="*/ 257442 h 257442"/>
                <a:gd name="connsiteX3" fmla="*/ 0 w 3102031"/>
                <a:gd name="connsiteY3" fmla="*/ 0 h 257442"/>
                <a:gd name="connsiteX0" fmla="*/ 3102031 w 3102031"/>
                <a:gd name="connsiteY0" fmla="*/ 0 h 257442"/>
                <a:gd name="connsiteX1" fmla="*/ 3047310 w 3102031"/>
                <a:gd name="connsiteY1" fmla="*/ 257442 h 257442"/>
                <a:gd name="connsiteX2" fmla="*/ 0 w 3102031"/>
                <a:gd name="connsiteY2" fmla="*/ 257442 h 257442"/>
                <a:gd name="connsiteX3" fmla="*/ 0 w 3102031"/>
                <a:gd name="connsiteY3" fmla="*/ 0 h 257442"/>
                <a:gd name="connsiteX0" fmla="*/ 3102031 w 3102031"/>
                <a:gd name="connsiteY0" fmla="*/ 0 h 257442"/>
                <a:gd name="connsiteX1" fmla="*/ 3047310 w 3102031"/>
                <a:gd name="connsiteY1" fmla="*/ 257442 h 257442"/>
                <a:gd name="connsiteX2" fmla="*/ 0 w 3102031"/>
                <a:gd name="connsiteY2" fmla="*/ 257442 h 257442"/>
                <a:gd name="connsiteX3" fmla="*/ 0 w 3102031"/>
                <a:gd name="connsiteY3" fmla="*/ 0 h 257442"/>
                <a:gd name="connsiteX0" fmla="*/ 3102031 w 3102031"/>
                <a:gd name="connsiteY0" fmla="*/ 0 h 257442"/>
                <a:gd name="connsiteX1" fmla="*/ 3047310 w 3102031"/>
                <a:gd name="connsiteY1" fmla="*/ 257442 h 257442"/>
                <a:gd name="connsiteX2" fmla="*/ 0 w 3102031"/>
                <a:gd name="connsiteY2" fmla="*/ 257442 h 257442"/>
                <a:gd name="connsiteX3" fmla="*/ 0 w 3102031"/>
                <a:gd name="connsiteY3" fmla="*/ 0 h 257442"/>
                <a:gd name="connsiteX0" fmla="*/ 3203020 w 3203020"/>
                <a:gd name="connsiteY0" fmla="*/ 0 h 257442"/>
                <a:gd name="connsiteX1" fmla="*/ 3047310 w 3203020"/>
                <a:gd name="connsiteY1" fmla="*/ 257442 h 257442"/>
                <a:gd name="connsiteX2" fmla="*/ 0 w 3203020"/>
                <a:gd name="connsiteY2" fmla="*/ 257442 h 257442"/>
                <a:gd name="connsiteX3" fmla="*/ 0 w 3203020"/>
                <a:gd name="connsiteY3" fmla="*/ 0 h 257442"/>
                <a:gd name="connsiteX0" fmla="*/ 3203020 w 3203020"/>
                <a:gd name="connsiteY0" fmla="*/ 0 h 257442"/>
                <a:gd name="connsiteX1" fmla="*/ 3148298 w 3203020"/>
                <a:gd name="connsiteY1" fmla="*/ 257442 h 257442"/>
                <a:gd name="connsiteX2" fmla="*/ 0 w 3203020"/>
                <a:gd name="connsiteY2" fmla="*/ 257442 h 257442"/>
                <a:gd name="connsiteX3" fmla="*/ 0 w 3203020"/>
                <a:gd name="connsiteY3" fmla="*/ 0 h 257442"/>
                <a:gd name="connsiteX0" fmla="*/ 3203021 w 3203021"/>
                <a:gd name="connsiteY0" fmla="*/ 0 h 257442"/>
                <a:gd name="connsiteX1" fmla="*/ 3148299 w 3203021"/>
                <a:gd name="connsiteY1" fmla="*/ 257442 h 257442"/>
                <a:gd name="connsiteX2" fmla="*/ 0 w 3203021"/>
                <a:gd name="connsiteY2" fmla="*/ 257442 h 257442"/>
                <a:gd name="connsiteX3" fmla="*/ 1 w 3203021"/>
                <a:gd name="connsiteY3" fmla="*/ 0 h 257442"/>
                <a:gd name="connsiteX0" fmla="*/ 3203021 w 3203021"/>
                <a:gd name="connsiteY0" fmla="*/ 0 h 257442"/>
                <a:gd name="connsiteX1" fmla="*/ 3148299 w 3203021"/>
                <a:gd name="connsiteY1" fmla="*/ 257442 h 257442"/>
                <a:gd name="connsiteX2" fmla="*/ 0 w 3203021"/>
                <a:gd name="connsiteY2" fmla="*/ 257442 h 257442"/>
                <a:gd name="connsiteX3" fmla="*/ 1 w 3203021"/>
                <a:gd name="connsiteY3" fmla="*/ 0 h 257442"/>
                <a:gd name="connsiteX0" fmla="*/ 2455124 w 3148299"/>
                <a:gd name="connsiteY0" fmla="*/ 0 h 257442"/>
                <a:gd name="connsiteX1" fmla="*/ 3148299 w 3148299"/>
                <a:gd name="connsiteY1" fmla="*/ 257442 h 257442"/>
                <a:gd name="connsiteX2" fmla="*/ 0 w 3148299"/>
                <a:gd name="connsiteY2" fmla="*/ 257442 h 257442"/>
                <a:gd name="connsiteX3" fmla="*/ 1 w 3148299"/>
                <a:gd name="connsiteY3" fmla="*/ 0 h 257442"/>
                <a:gd name="connsiteX0" fmla="*/ 2455124 w 2455124"/>
                <a:gd name="connsiteY0" fmla="*/ 0 h 257442"/>
                <a:gd name="connsiteX1" fmla="*/ 2400403 w 2455124"/>
                <a:gd name="connsiteY1" fmla="*/ 257442 h 257442"/>
                <a:gd name="connsiteX2" fmla="*/ 0 w 2455124"/>
                <a:gd name="connsiteY2" fmla="*/ 257442 h 257442"/>
                <a:gd name="connsiteX3" fmla="*/ 1 w 2455124"/>
                <a:gd name="connsiteY3" fmla="*/ 0 h 257442"/>
                <a:gd name="connsiteX0" fmla="*/ 2455123 w 2455123"/>
                <a:gd name="connsiteY0" fmla="*/ 0 h 257442"/>
                <a:gd name="connsiteX1" fmla="*/ 2400402 w 2455123"/>
                <a:gd name="connsiteY1" fmla="*/ 257442 h 257442"/>
                <a:gd name="connsiteX2" fmla="*/ 0 w 2455123"/>
                <a:gd name="connsiteY2" fmla="*/ 257442 h 257442"/>
                <a:gd name="connsiteX3" fmla="*/ 0 w 2455123"/>
                <a:gd name="connsiteY3" fmla="*/ 0 h 257442"/>
                <a:gd name="connsiteX0" fmla="*/ 2455123 w 2455123"/>
                <a:gd name="connsiteY0" fmla="*/ 0 h 257442"/>
                <a:gd name="connsiteX1" fmla="*/ 2400402 w 2455123"/>
                <a:gd name="connsiteY1" fmla="*/ 257442 h 257442"/>
                <a:gd name="connsiteX2" fmla="*/ 0 w 2455123"/>
                <a:gd name="connsiteY2" fmla="*/ 257442 h 257442"/>
                <a:gd name="connsiteX3" fmla="*/ 0 w 2455123"/>
                <a:gd name="connsiteY3" fmla="*/ 0 h 257442"/>
                <a:gd name="connsiteX0" fmla="*/ 2623439 w 2623439"/>
                <a:gd name="connsiteY0" fmla="*/ 0 h 257442"/>
                <a:gd name="connsiteX1" fmla="*/ 2400402 w 2623439"/>
                <a:gd name="connsiteY1" fmla="*/ 257442 h 257442"/>
                <a:gd name="connsiteX2" fmla="*/ 0 w 2623439"/>
                <a:gd name="connsiteY2" fmla="*/ 257442 h 257442"/>
                <a:gd name="connsiteX3" fmla="*/ 0 w 2623439"/>
                <a:gd name="connsiteY3" fmla="*/ 0 h 257442"/>
                <a:gd name="connsiteX0" fmla="*/ 2623439 w 2623439"/>
                <a:gd name="connsiteY0" fmla="*/ 0 h 257442"/>
                <a:gd name="connsiteX1" fmla="*/ 2568718 w 2623439"/>
                <a:gd name="connsiteY1" fmla="*/ 257442 h 257442"/>
                <a:gd name="connsiteX2" fmla="*/ 0 w 2623439"/>
                <a:gd name="connsiteY2" fmla="*/ 257442 h 257442"/>
                <a:gd name="connsiteX3" fmla="*/ 0 w 2623439"/>
                <a:gd name="connsiteY3" fmla="*/ 0 h 257442"/>
                <a:gd name="connsiteX0" fmla="*/ 2623439 w 2623439"/>
                <a:gd name="connsiteY0" fmla="*/ 0 h 257442"/>
                <a:gd name="connsiteX1" fmla="*/ 2568718 w 2623439"/>
                <a:gd name="connsiteY1" fmla="*/ 257442 h 257442"/>
                <a:gd name="connsiteX2" fmla="*/ 0 w 2623439"/>
                <a:gd name="connsiteY2" fmla="*/ 257442 h 257442"/>
                <a:gd name="connsiteX3" fmla="*/ 0 w 2623439"/>
                <a:gd name="connsiteY3" fmla="*/ 0 h 257442"/>
                <a:gd name="connsiteX0" fmla="*/ 2623439 w 2623439"/>
                <a:gd name="connsiteY0" fmla="*/ 0 h 257442"/>
                <a:gd name="connsiteX1" fmla="*/ 2568718 w 2623439"/>
                <a:gd name="connsiteY1" fmla="*/ 257442 h 257442"/>
                <a:gd name="connsiteX2" fmla="*/ 0 w 2623439"/>
                <a:gd name="connsiteY2" fmla="*/ 257442 h 257442"/>
                <a:gd name="connsiteX3" fmla="*/ 0 w 2623439"/>
                <a:gd name="connsiteY3" fmla="*/ 0 h 257442"/>
                <a:gd name="connsiteX0" fmla="*/ 2791753 w 2791753"/>
                <a:gd name="connsiteY0" fmla="*/ 0 h 257442"/>
                <a:gd name="connsiteX1" fmla="*/ 2568718 w 2791753"/>
                <a:gd name="connsiteY1" fmla="*/ 257442 h 257442"/>
                <a:gd name="connsiteX2" fmla="*/ 0 w 2791753"/>
                <a:gd name="connsiteY2" fmla="*/ 257442 h 257442"/>
                <a:gd name="connsiteX3" fmla="*/ 0 w 2791753"/>
                <a:gd name="connsiteY3" fmla="*/ 0 h 257442"/>
                <a:gd name="connsiteX0" fmla="*/ 2791753 w 2791753"/>
                <a:gd name="connsiteY0" fmla="*/ 0 h 257442"/>
                <a:gd name="connsiteX1" fmla="*/ 2737032 w 2791753"/>
                <a:gd name="connsiteY1" fmla="*/ 257442 h 257442"/>
                <a:gd name="connsiteX2" fmla="*/ 0 w 2791753"/>
                <a:gd name="connsiteY2" fmla="*/ 257442 h 257442"/>
                <a:gd name="connsiteX3" fmla="*/ 0 w 2791753"/>
                <a:gd name="connsiteY3" fmla="*/ 0 h 257442"/>
                <a:gd name="connsiteX0" fmla="*/ 2791753 w 2791753"/>
                <a:gd name="connsiteY0" fmla="*/ 0 h 257442"/>
                <a:gd name="connsiteX1" fmla="*/ 2737032 w 2791753"/>
                <a:gd name="connsiteY1" fmla="*/ 257442 h 257442"/>
                <a:gd name="connsiteX2" fmla="*/ 0 w 2791753"/>
                <a:gd name="connsiteY2" fmla="*/ 257442 h 257442"/>
                <a:gd name="connsiteX3" fmla="*/ 0 w 2791753"/>
                <a:gd name="connsiteY3" fmla="*/ 0 h 257442"/>
                <a:gd name="connsiteX0" fmla="*/ 2791753 w 2791753"/>
                <a:gd name="connsiteY0" fmla="*/ 0 h 257442"/>
                <a:gd name="connsiteX1" fmla="*/ 2737032 w 2791753"/>
                <a:gd name="connsiteY1" fmla="*/ 257442 h 257442"/>
                <a:gd name="connsiteX2" fmla="*/ 0 w 2791753"/>
                <a:gd name="connsiteY2" fmla="*/ 257442 h 257442"/>
                <a:gd name="connsiteX3" fmla="*/ 0 w 2791753"/>
                <a:gd name="connsiteY3" fmla="*/ 0 h 257442"/>
                <a:gd name="connsiteX0" fmla="*/ 2944039 w 2944039"/>
                <a:gd name="connsiteY0" fmla="*/ 0 h 257442"/>
                <a:gd name="connsiteX1" fmla="*/ 2737032 w 2944039"/>
                <a:gd name="connsiteY1" fmla="*/ 257442 h 257442"/>
                <a:gd name="connsiteX2" fmla="*/ 0 w 2944039"/>
                <a:gd name="connsiteY2" fmla="*/ 257442 h 257442"/>
                <a:gd name="connsiteX3" fmla="*/ 0 w 2944039"/>
                <a:gd name="connsiteY3" fmla="*/ 0 h 257442"/>
                <a:gd name="connsiteX0" fmla="*/ 2944039 w 2944039"/>
                <a:gd name="connsiteY0" fmla="*/ 0 h 257442"/>
                <a:gd name="connsiteX1" fmla="*/ 2889318 w 2944039"/>
                <a:gd name="connsiteY1" fmla="*/ 257442 h 257442"/>
                <a:gd name="connsiteX2" fmla="*/ 0 w 2944039"/>
                <a:gd name="connsiteY2" fmla="*/ 257442 h 257442"/>
                <a:gd name="connsiteX3" fmla="*/ 0 w 2944039"/>
                <a:gd name="connsiteY3" fmla="*/ 0 h 257442"/>
                <a:gd name="connsiteX0" fmla="*/ 2944039 w 2944039"/>
                <a:gd name="connsiteY0" fmla="*/ 0 h 257442"/>
                <a:gd name="connsiteX1" fmla="*/ 2889318 w 2944039"/>
                <a:gd name="connsiteY1" fmla="*/ 257442 h 257442"/>
                <a:gd name="connsiteX2" fmla="*/ 0 w 2944039"/>
                <a:gd name="connsiteY2" fmla="*/ 257442 h 257442"/>
                <a:gd name="connsiteX3" fmla="*/ 0 w 2944039"/>
                <a:gd name="connsiteY3" fmla="*/ 0 h 257442"/>
                <a:gd name="connsiteX0" fmla="*/ 2944039 w 2944039"/>
                <a:gd name="connsiteY0" fmla="*/ 0 h 257442"/>
                <a:gd name="connsiteX1" fmla="*/ 2889318 w 2944039"/>
                <a:gd name="connsiteY1" fmla="*/ 257442 h 257442"/>
                <a:gd name="connsiteX2" fmla="*/ 0 w 2944039"/>
                <a:gd name="connsiteY2" fmla="*/ 257442 h 257442"/>
                <a:gd name="connsiteX3" fmla="*/ 0 w 2944039"/>
                <a:gd name="connsiteY3" fmla="*/ 0 h 257442"/>
                <a:gd name="connsiteX0" fmla="*/ 3090233 w 3090233"/>
                <a:gd name="connsiteY0" fmla="*/ 0 h 257442"/>
                <a:gd name="connsiteX1" fmla="*/ 2889318 w 3090233"/>
                <a:gd name="connsiteY1" fmla="*/ 257442 h 257442"/>
                <a:gd name="connsiteX2" fmla="*/ 0 w 3090233"/>
                <a:gd name="connsiteY2" fmla="*/ 257442 h 257442"/>
                <a:gd name="connsiteX3" fmla="*/ 0 w 3090233"/>
                <a:gd name="connsiteY3" fmla="*/ 0 h 257442"/>
                <a:gd name="connsiteX0" fmla="*/ 3090233 w 3090233"/>
                <a:gd name="connsiteY0" fmla="*/ 0 h 257442"/>
                <a:gd name="connsiteX1" fmla="*/ 3035512 w 3090233"/>
                <a:gd name="connsiteY1" fmla="*/ 257442 h 257442"/>
                <a:gd name="connsiteX2" fmla="*/ 0 w 3090233"/>
                <a:gd name="connsiteY2" fmla="*/ 257442 h 257442"/>
                <a:gd name="connsiteX3" fmla="*/ 0 w 3090233"/>
                <a:gd name="connsiteY3" fmla="*/ 0 h 257442"/>
                <a:gd name="connsiteX0" fmla="*/ 3090233 w 3090233"/>
                <a:gd name="connsiteY0" fmla="*/ 0 h 257442"/>
                <a:gd name="connsiteX1" fmla="*/ 3035512 w 3090233"/>
                <a:gd name="connsiteY1" fmla="*/ 257442 h 257442"/>
                <a:gd name="connsiteX2" fmla="*/ 0 w 3090233"/>
                <a:gd name="connsiteY2" fmla="*/ 257442 h 257442"/>
                <a:gd name="connsiteX3" fmla="*/ 0 w 3090233"/>
                <a:gd name="connsiteY3" fmla="*/ 0 h 257442"/>
                <a:gd name="connsiteX0" fmla="*/ 3090233 w 3090233"/>
                <a:gd name="connsiteY0" fmla="*/ 0 h 257442"/>
                <a:gd name="connsiteX1" fmla="*/ 3035512 w 3090233"/>
                <a:gd name="connsiteY1" fmla="*/ 257442 h 257442"/>
                <a:gd name="connsiteX2" fmla="*/ 0 w 3090233"/>
                <a:gd name="connsiteY2" fmla="*/ 257442 h 257442"/>
                <a:gd name="connsiteX3" fmla="*/ 0 w 3090233"/>
                <a:gd name="connsiteY3" fmla="*/ 0 h 257442"/>
                <a:gd name="connsiteX0" fmla="*/ 3250533 w 3250533"/>
                <a:gd name="connsiteY0" fmla="*/ 0 h 257442"/>
                <a:gd name="connsiteX1" fmla="*/ 3035512 w 3250533"/>
                <a:gd name="connsiteY1" fmla="*/ 257442 h 257442"/>
                <a:gd name="connsiteX2" fmla="*/ 0 w 3250533"/>
                <a:gd name="connsiteY2" fmla="*/ 257442 h 257442"/>
                <a:gd name="connsiteX3" fmla="*/ 0 w 3250533"/>
                <a:gd name="connsiteY3" fmla="*/ 0 h 257442"/>
                <a:gd name="connsiteX0" fmla="*/ 3250533 w 3250533"/>
                <a:gd name="connsiteY0" fmla="*/ 0 h 257442"/>
                <a:gd name="connsiteX1" fmla="*/ 3195812 w 3250533"/>
                <a:gd name="connsiteY1" fmla="*/ 257442 h 257442"/>
                <a:gd name="connsiteX2" fmla="*/ 0 w 3250533"/>
                <a:gd name="connsiteY2" fmla="*/ 257442 h 257442"/>
                <a:gd name="connsiteX3" fmla="*/ 0 w 3250533"/>
                <a:gd name="connsiteY3" fmla="*/ 0 h 257442"/>
                <a:gd name="connsiteX0" fmla="*/ 3250533 w 3250533"/>
                <a:gd name="connsiteY0" fmla="*/ 0 h 257442"/>
                <a:gd name="connsiteX1" fmla="*/ 3195812 w 3250533"/>
                <a:gd name="connsiteY1" fmla="*/ 257442 h 257442"/>
                <a:gd name="connsiteX2" fmla="*/ 0 w 3250533"/>
                <a:gd name="connsiteY2" fmla="*/ 257442 h 257442"/>
                <a:gd name="connsiteX3" fmla="*/ 0 w 3250533"/>
                <a:gd name="connsiteY3" fmla="*/ 0 h 257442"/>
                <a:gd name="connsiteX0" fmla="*/ 3250533 w 3250533"/>
                <a:gd name="connsiteY0" fmla="*/ 0 h 257442"/>
                <a:gd name="connsiteX1" fmla="*/ 3195812 w 3250533"/>
                <a:gd name="connsiteY1" fmla="*/ 257442 h 257442"/>
                <a:gd name="connsiteX2" fmla="*/ 0 w 3250533"/>
                <a:gd name="connsiteY2" fmla="*/ 257442 h 257442"/>
                <a:gd name="connsiteX3" fmla="*/ 0 w 3250533"/>
                <a:gd name="connsiteY3" fmla="*/ 0 h 257442"/>
                <a:gd name="connsiteX0" fmla="*/ 3351522 w 3351522"/>
                <a:gd name="connsiteY0" fmla="*/ 0 h 257442"/>
                <a:gd name="connsiteX1" fmla="*/ 3195812 w 3351522"/>
                <a:gd name="connsiteY1" fmla="*/ 257442 h 257442"/>
                <a:gd name="connsiteX2" fmla="*/ 0 w 3351522"/>
                <a:gd name="connsiteY2" fmla="*/ 257442 h 257442"/>
                <a:gd name="connsiteX3" fmla="*/ 0 w 3351522"/>
                <a:gd name="connsiteY3" fmla="*/ 0 h 257442"/>
                <a:gd name="connsiteX0" fmla="*/ 3351522 w 3351522"/>
                <a:gd name="connsiteY0" fmla="*/ 0 h 257442"/>
                <a:gd name="connsiteX1" fmla="*/ 3296800 w 3351522"/>
                <a:gd name="connsiteY1" fmla="*/ 257442 h 257442"/>
                <a:gd name="connsiteX2" fmla="*/ 0 w 3351522"/>
                <a:gd name="connsiteY2" fmla="*/ 257442 h 257442"/>
                <a:gd name="connsiteX3" fmla="*/ 0 w 3351522"/>
                <a:gd name="connsiteY3" fmla="*/ 0 h 257442"/>
                <a:gd name="connsiteX0" fmla="*/ 3351523 w 3351523"/>
                <a:gd name="connsiteY0" fmla="*/ 0 h 257442"/>
                <a:gd name="connsiteX1" fmla="*/ 3296801 w 3351523"/>
                <a:gd name="connsiteY1" fmla="*/ 257442 h 257442"/>
                <a:gd name="connsiteX2" fmla="*/ 0 w 3351523"/>
                <a:gd name="connsiteY2" fmla="*/ 257442 h 257442"/>
                <a:gd name="connsiteX3" fmla="*/ 1 w 3351523"/>
                <a:gd name="connsiteY3" fmla="*/ 0 h 257442"/>
                <a:gd name="connsiteX0" fmla="*/ 3351523 w 3351523"/>
                <a:gd name="connsiteY0" fmla="*/ 0 h 257442"/>
                <a:gd name="connsiteX1" fmla="*/ 3296801 w 3351523"/>
                <a:gd name="connsiteY1" fmla="*/ 257442 h 257442"/>
                <a:gd name="connsiteX2" fmla="*/ 0 w 3351523"/>
                <a:gd name="connsiteY2" fmla="*/ 257442 h 257442"/>
                <a:gd name="connsiteX3" fmla="*/ 1 w 3351523"/>
                <a:gd name="connsiteY3" fmla="*/ 0 h 257442"/>
                <a:gd name="connsiteX0" fmla="*/ 3511823 w 3511823"/>
                <a:gd name="connsiteY0" fmla="*/ 0 h 257442"/>
                <a:gd name="connsiteX1" fmla="*/ 3296801 w 3511823"/>
                <a:gd name="connsiteY1" fmla="*/ 257442 h 257442"/>
                <a:gd name="connsiteX2" fmla="*/ 0 w 3511823"/>
                <a:gd name="connsiteY2" fmla="*/ 257442 h 257442"/>
                <a:gd name="connsiteX3" fmla="*/ 1 w 3511823"/>
                <a:gd name="connsiteY3" fmla="*/ 0 h 257442"/>
                <a:gd name="connsiteX0" fmla="*/ 3511823 w 3511823"/>
                <a:gd name="connsiteY0" fmla="*/ 0 h 257442"/>
                <a:gd name="connsiteX1" fmla="*/ 3457102 w 3511823"/>
                <a:gd name="connsiteY1" fmla="*/ 257442 h 257442"/>
                <a:gd name="connsiteX2" fmla="*/ 0 w 3511823"/>
                <a:gd name="connsiteY2" fmla="*/ 257442 h 257442"/>
                <a:gd name="connsiteX3" fmla="*/ 1 w 3511823"/>
                <a:gd name="connsiteY3" fmla="*/ 0 h 257442"/>
                <a:gd name="connsiteX0" fmla="*/ 3511822 w 3511822"/>
                <a:gd name="connsiteY0" fmla="*/ 0 h 257442"/>
                <a:gd name="connsiteX1" fmla="*/ 3457101 w 3511822"/>
                <a:gd name="connsiteY1" fmla="*/ 257442 h 257442"/>
                <a:gd name="connsiteX2" fmla="*/ 0 w 3511822"/>
                <a:gd name="connsiteY2" fmla="*/ 257442 h 257442"/>
                <a:gd name="connsiteX3" fmla="*/ 0 w 3511822"/>
                <a:gd name="connsiteY3" fmla="*/ 0 h 257442"/>
                <a:gd name="connsiteX0" fmla="*/ 3511823 w 3511823"/>
                <a:gd name="connsiteY0" fmla="*/ 0 h 257442"/>
                <a:gd name="connsiteX1" fmla="*/ 3457102 w 3511823"/>
                <a:gd name="connsiteY1" fmla="*/ 257442 h 257442"/>
                <a:gd name="connsiteX2" fmla="*/ 1 w 3511823"/>
                <a:gd name="connsiteY2" fmla="*/ 257442 h 257442"/>
                <a:gd name="connsiteX3" fmla="*/ 0 w 3511823"/>
                <a:gd name="connsiteY3" fmla="*/ 0 h 257442"/>
                <a:gd name="connsiteX0" fmla="*/ 950802 w 3457102"/>
                <a:gd name="connsiteY0" fmla="*/ 0 h 257442"/>
                <a:gd name="connsiteX1" fmla="*/ 3457102 w 3457102"/>
                <a:gd name="connsiteY1" fmla="*/ 257442 h 257442"/>
                <a:gd name="connsiteX2" fmla="*/ 1 w 3457102"/>
                <a:gd name="connsiteY2" fmla="*/ 257442 h 257442"/>
                <a:gd name="connsiteX3" fmla="*/ 0 w 34571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279417 w 1279417"/>
                <a:gd name="connsiteY0" fmla="*/ 0 h 257442"/>
                <a:gd name="connsiteX1" fmla="*/ 10643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6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6 w 1279417"/>
                <a:gd name="connsiteY1" fmla="*/ 257442 h 257442"/>
                <a:gd name="connsiteX2" fmla="*/ 1 w 1279417"/>
                <a:gd name="connsiteY2" fmla="*/ 257442 h 257442"/>
                <a:gd name="connsiteX3" fmla="*/ 0 w 1279417"/>
                <a:gd name="connsiteY3" fmla="*/ 0 h 257442"/>
                <a:gd name="connsiteX0" fmla="*/ 1431703 w 1431703"/>
                <a:gd name="connsiteY0" fmla="*/ 0 h 257442"/>
                <a:gd name="connsiteX1" fmla="*/ 1224696 w 1431703"/>
                <a:gd name="connsiteY1" fmla="*/ 257442 h 257442"/>
                <a:gd name="connsiteX2" fmla="*/ 1 w 1431703"/>
                <a:gd name="connsiteY2" fmla="*/ 257442 h 257442"/>
                <a:gd name="connsiteX3" fmla="*/ 0 w 1431703"/>
                <a:gd name="connsiteY3" fmla="*/ 0 h 257442"/>
                <a:gd name="connsiteX0" fmla="*/ 1431703 w 1431703"/>
                <a:gd name="connsiteY0" fmla="*/ 0 h 257442"/>
                <a:gd name="connsiteX1" fmla="*/ 1376982 w 1431703"/>
                <a:gd name="connsiteY1" fmla="*/ 257442 h 257442"/>
                <a:gd name="connsiteX2" fmla="*/ 1 w 1431703"/>
                <a:gd name="connsiteY2" fmla="*/ 257442 h 257442"/>
                <a:gd name="connsiteX3" fmla="*/ 0 w 1431703"/>
                <a:gd name="connsiteY3" fmla="*/ 0 h 257442"/>
                <a:gd name="connsiteX0" fmla="*/ 1431703 w 1431703"/>
                <a:gd name="connsiteY0" fmla="*/ 0 h 257442"/>
                <a:gd name="connsiteX1" fmla="*/ 1376982 w 1431703"/>
                <a:gd name="connsiteY1" fmla="*/ 257442 h 257442"/>
                <a:gd name="connsiteX2" fmla="*/ 1 w 1431703"/>
                <a:gd name="connsiteY2" fmla="*/ 257442 h 257442"/>
                <a:gd name="connsiteX3" fmla="*/ 0 w 1431703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606877 w 1606877"/>
                <a:gd name="connsiteY0" fmla="*/ 0 h 257442"/>
                <a:gd name="connsiteX1" fmla="*/ 1376981 w 1606877"/>
                <a:gd name="connsiteY1" fmla="*/ 257442 h 257442"/>
                <a:gd name="connsiteX2" fmla="*/ 0 w 1606877"/>
                <a:gd name="connsiteY2" fmla="*/ 257442 h 257442"/>
                <a:gd name="connsiteX3" fmla="*/ 0 w 1606877"/>
                <a:gd name="connsiteY3" fmla="*/ 0 h 257442"/>
                <a:gd name="connsiteX0" fmla="*/ 1606877 w 1606877"/>
                <a:gd name="connsiteY0" fmla="*/ 0 h 257442"/>
                <a:gd name="connsiteX1" fmla="*/ 1552156 w 1606877"/>
                <a:gd name="connsiteY1" fmla="*/ 257442 h 257442"/>
                <a:gd name="connsiteX2" fmla="*/ 0 w 1606877"/>
                <a:gd name="connsiteY2" fmla="*/ 257442 h 257442"/>
                <a:gd name="connsiteX3" fmla="*/ 0 w 1606877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1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792827 w 1792827"/>
                <a:gd name="connsiteY0" fmla="*/ 0 h 257442"/>
                <a:gd name="connsiteX1" fmla="*/ 1552157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953127 w 1953127"/>
                <a:gd name="connsiteY0" fmla="*/ 0 h 257442"/>
                <a:gd name="connsiteX1" fmla="*/ 17381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2121442 w 2121442"/>
                <a:gd name="connsiteY0" fmla="*/ 0 h 257442"/>
                <a:gd name="connsiteX1" fmla="*/ 1898406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2 w 2121442"/>
                <a:gd name="connsiteY0" fmla="*/ 0 h 257442"/>
                <a:gd name="connsiteX1" fmla="*/ 2066720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222432 w 2222432"/>
                <a:gd name="connsiteY0" fmla="*/ 0 h 257442"/>
                <a:gd name="connsiteX1" fmla="*/ 2066721 w 2222432"/>
                <a:gd name="connsiteY1" fmla="*/ 257442 h 257442"/>
                <a:gd name="connsiteX2" fmla="*/ 0 w 2222432"/>
                <a:gd name="connsiteY2" fmla="*/ 257442 h 257442"/>
                <a:gd name="connsiteX3" fmla="*/ 1 w 2222432"/>
                <a:gd name="connsiteY3" fmla="*/ 0 h 257442"/>
                <a:gd name="connsiteX0" fmla="*/ 2222432 w 2222432"/>
                <a:gd name="connsiteY0" fmla="*/ 0 h 257442"/>
                <a:gd name="connsiteX1" fmla="*/ 2167710 w 2222432"/>
                <a:gd name="connsiteY1" fmla="*/ 257442 h 257442"/>
                <a:gd name="connsiteX2" fmla="*/ 0 w 2222432"/>
                <a:gd name="connsiteY2" fmla="*/ 257442 h 257442"/>
                <a:gd name="connsiteX3" fmla="*/ 1 w 2222432"/>
                <a:gd name="connsiteY3" fmla="*/ 0 h 257442"/>
                <a:gd name="connsiteX0" fmla="*/ 2222432 w 2222432"/>
                <a:gd name="connsiteY0" fmla="*/ 0 h 257442"/>
                <a:gd name="connsiteX1" fmla="*/ 2167710 w 2222432"/>
                <a:gd name="connsiteY1" fmla="*/ 257442 h 257442"/>
                <a:gd name="connsiteX2" fmla="*/ 0 w 2222432"/>
                <a:gd name="connsiteY2" fmla="*/ 257442 h 257442"/>
                <a:gd name="connsiteX3" fmla="*/ 1 w 2222432"/>
                <a:gd name="connsiteY3" fmla="*/ 0 h 257442"/>
                <a:gd name="connsiteX0" fmla="*/ 2222432 w 2222432"/>
                <a:gd name="connsiteY0" fmla="*/ 0 h 257442"/>
                <a:gd name="connsiteX1" fmla="*/ 2167710 w 2222432"/>
                <a:gd name="connsiteY1" fmla="*/ 257442 h 257442"/>
                <a:gd name="connsiteX2" fmla="*/ 0 w 2222432"/>
                <a:gd name="connsiteY2" fmla="*/ 257442 h 257442"/>
                <a:gd name="connsiteX3" fmla="*/ 0 w 2222432"/>
                <a:gd name="connsiteY3" fmla="*/ 0 h 257442"/>
                <a:gd name="connsiteX0" fmla="*/ 2382732 w 2382732"/>
                <a:gd name="connsiteY0" fmla="*/ 0 h 257442"/>
                <a:gd name="connsiteX1" fmla="*/ 2167710 w 2382732"/>
                <a:gd name="connsiteY1" fmla="*/ 257442 h 257442"/>
                <a:gd name="connsiteX2" fmla="*/ 0 w 2382732"/>
                <a:gd name="connsiteY2" fmla="*/ 257442 h 257442"/>
                <a:gd name="connsiteX3" fmla="*/ 0 w 2382732"/>
                <a:gd name="connsiteY3" fmla="*/ 0 h 257442"/>
                <a:gd name="connsiteX0" fmla="*/ 2382732 w 2382732"/>
                <a:gd name="connsiteY0" fmla="*/ 0 h 257442"/>
                <a:gd name="connsiteX1" fmla="*/ 2328011 w 2382732"/>
                <a:gd name="connsiteY1" fmla="*/ 257442 h 257442"/>
                <a:gd name="connsiteX2" fmla="*/ 0 w 2382732"/>
                <a:gd name="connsiteY2" fmla="*/ 257442 h 257442"/>
                <a:gd name="connsiteX3" fmla="*/ 0 w 2382732"/>
                <a:gd name="connsiteY3" fmla="*/ 0 h 257442"/>
                <a:gd name="connsiteX0" fmla="*/ 2382732 w 2382732"/>
                <a:gd name="connsiteY0" fmla="*/ 0 h 257442"/>
                <a:gd name="connsiteX1" fmla="*/ 2328011 w 2382732"/>
                <a:gd name="connsiteY1" fmla="*/ 257442 h 257442"/>
                <a:gd name="connsiteX2" fmla="*/ 0 w 2382732"/>
                <a:gd name="connsiteY2" fmla="*/ 257442 h 257442"/>
                <a:gd name="connsiteX3" fmla="*/ 0 w 2382732"/>
                <a:gd name="connsiteY3" fmla="*/ 0 h 257442"/>
                <a:gd name="connsiteX0" fmla="*/ 2382732 w 2382732"/>
                <a:gd name="connsiteY0" fmla="*/ 0 h 257442"/>
                <a:gd name="connsiteX1" fmla="*/ 2328011 w 2382732"/>
                <a:gd name="connsiteY1" fmla="*/ 257442 h 257442"/>
                <a:gd name="connsiteX2" fmla="*/ 0 w 2382732"/>
                <a:gd name="connsiteY2" fmla="*/ 257442 h 257442"/>
                <a:gd name="connsiteX3" fmla="*/ 0 w 2382732"/>
                <a:gd name="connsiteY3" fmla="*/ 0 h 257442"/>
                <a:gd name="connsiteX0" fmla="*/ 2543032 w 2543032"/>
                <a:gd name="connsiteY0" fmla="*/ 0 h 257442"/>
                <a:gd name="connsiteX1" fmla="*/ 2328011 w 2543032"/>
                <a:gd name="connsiteY1" fmla="*/ 257442 h 257442"/>
                <a:gd name="connsiteX2" fmla="*/ 0 w 2543032"/>
                <a:gd name="connsiteY2" fmla="*/ 257442 h 257442"/>
                <a:gd name="connsiteX3" fmla="*/ 0 w 2543032"/>
                <a:gd name="connsiteY3" fmla="*/ 0 h 257442"/>
                <a:gd name="connsiteX0" fmla="*/ 2543032 w 2543032"/>
                <a:gd name="connsiteY0" fmla="*/ 0 h 257442"/>
                <a:gd name="connsiteX1" fmla="*/ 2488311 w 2543032"/>
                <a:gd name="connsiteY1" fmla="*/ 257442 h 257442"/>
                <a:gd name="connsiteX2" fmla="*/ 0 w 2543032"/>
                <a:gd name="connsiteY2" fmla="*/ 257442 h 257442"/>
                <a:gd name="connsiteX3" fmla="*/ 0 w 2543032"/>
                <a:gd name="connsiteY3" fmla="*/ 0 h 257442"/>
                <a:gd name="connsiteX0" fmla="*/ 2543032 w 2543032"/>
                <a:gd name="connsiteY0" fmla="*/ 0 h 257442"/>
                <a:gd name="connsiteX1" fmla="*/ 2488311 w 2543032"/>
                <a:gd name="connsiteY1" fmla="*/ 257442 h 257442"/>
                <a:gd name="connsiteX2" fmla="*/ 0 w 2543032"/>
                <a:gd name="connsiteY2" fmla="*/ 257442 h 257442"/>
                <a:gd name="connsiteX3" fmla="*/ 0 w 2543032"/>
                <a:gd name="connsiteY3" fmla="*/ 0 h 257442"/>
                <a:gd name="connsiteX0" fmla="*/ 2543032 w 2543032"/>
                <a:gd name="connsiteY0" fmla="*/ 0 h 257442"/>
                <a:gd name="connsiteX1" fmla="*/ 2488311 w 2543032"/>
                <a:gd name="connsiteY1" fmla="*/ 257442 h 257442"/>
                <a:gd name="connsiteX2" fmla="*/ 0 w 2543032"/>
                <a:gd name="connsiteY2" fmla="*/ 257442 h 257442"/>
                <a:gd name="connsiteX3" fmla="*/ 0 w 2543032"/>
                <a:gd name="connsiteY3" fmla="*/ 0 h 257442"/>
                <a:gd name="connsiteX0" fmla="*/ 2711347 w 2711347"/>
                <a:gd name="connsiteY0" fmla="*/ 0 h 257442"/>
                <a:gd name="connsiteX1" fmla="*/ 2488311 w 2711347"/>
                <a:gd name="connsiteY1" fmla="*/ 257442 h 257442"/>
                <a:gd name="connsiteX2" fmla="*/ 0 w 2711347"/>
                <a:gd name="connsiteY2" fmla="*/ 257442 h 257442"/>
                <a:gd name="connsiteX3" fmla="*/ 0 w 2711347"/>
                <a:gd name="connsiteY3" fmla="*/ 0 h 257442"/>
                <a:gd name="connsiteX0" fmla="*/ 2711347 w 2711347"/>
                <a:gd name="connsiteY0" fmla="*/ 0 h 257442"/>
                <a:gd name="connsiteX1" fmla="*/ 2656626 w 2711347"/>
                <a:gd name="connsiteY1" fmla="*/ 257442 h 257442"/>
                <a:gd name="connsiteX2" fmla="*/ 0 w 2711347"/>
                <a:gd name="connsiteY2" fmla="*/ 257442 h 257442"/>
                <a:gd name="connsiteX3" fmla="*/ 0 w 2711347"/>
                <a:gd name="connsiteY3" fmla="*/ 0 h 257442"/>
                <a:gd name="connsiteX0" fmla="*/ 2711347 w 2711347"/>
                <a:gd name="connsiteY0" fmla="*/ 0 h 257442"/>
                <a:gd name="connsiteX1" fmla="*/ 2656626 w 2711347"/>
                <a:gd name="connsiteY1" fmla="*/ 257442 h 257442"/>
                <a:gd name="connsiteX2" fmla="*/ 0 w 2711347"/>
                <a:gd name="connsiteY2" fmla="*/ 257442 h 257442"/>
                <a:gd name="connsiteX3" fmla="*/ 0 w 2711347"/>
                <a:gd name="connsiteY3" fmla="*/ 0 h 257442"/>
                <a:gd name="connsiteX0" fmla="*/ 2711347 w 2711347"/>
                <a:gd name="connsiteY0" fmla="*/ 0 h 257442"/>
                <a:gd name="connsiteX1" fmla="*/ 2656626 w 2711347"/>
                <a:gd name="connsiteY1" fmla="*/ 257442 h 257442"/>
                <a:gd name="connsiteX2" fmla="*/ 0 w 2711347"/>
                <a:gd name="connsiteY2" fmla="*/ 257442 h 257442"/>
                <a:gd name="connsiteX3" fmla="*/ 0 w 2711347"/>
                <a:gd name="connsiteY3" fmla="*/ 0 h 257442"/>
                <a:gd name="connsiteX0" fmla="*/ 2863632 w 2863632"/>
                <a:gd name="connsiteY0" fmla="*/ 0 h 257442"/>
                <a:gd name="connsiteX1" fmla="*/ 2656626 w 2863632"/>
                <a:gd name="connsiteY1" fmla="*/ 257442 h 257442"/>
                <a:gd name="connsiteX2" fmla="*/ 0 w 2863632"/>
                <a:gd name="connsiteY2" fmla="*/ 257442 h 257442"/>
                <a:gd name="connsiteX3" fmla="*/ 0 w 2863632"/>
                <a:gd name="connsiteY3" fmla="*/ 0 h 257442"/>
                <a:gd name="connsiteX0" fmla="*/ 2863632 w 2863632"/>
                <a:gd name="connsiteY0" fmla="*/ 0 h 257442"/>
                <a:gd name="connsiteX1" fmla="*/ 2808910 w 2863632"/>
                <a:gd name="connsiteY1" fmla="*/ 257442 h 257442"/>
                <a:gd name="connsiteX2" fmla="*/ 0 w 2863632"/>
                <a:gd name="connsiteY2" fmla="*/ 257442 h 257442"/>
                <a:gd name="connsiteX3" fmla="*/ 0 w 2863632"/>
                <a:gd name="connsiteY3" fmla="*/ 0 h 257442"/>
                <a:gd name="connsiteX0" fmla="*/ 2863633 w 2863633"/>
                <a:gd name="connsiteY0" fmla="*/ 0 h 257442"/>
                <a:gd name="connsiteX1" fmla="*/ 2808911 w 2863633"/>
                <a:gd name="connsiteY1" fmla="*/ 257442 h 257442"/>
                <a:gd name="connsiteX2" fmla="*/ 0 w 2863633"/>
                <a:gd name="connsiteY2" fmla="*/ 257442 h 257442"/>
                <a:gd name="connsiteX3" fmla="*/ 1 w 2863633"/>
                <a:gd name="connsiteY3" fmla="*/ 0 h 257442"/>
                <a:gd name="connsiteX0" fmla="*/ 2863633 w 2863633"/>
                <a:gd name="connsiteY0" fmla="*/ 0 h 257442"/>
                <a:gd name="connsiteX1" fmla="*/ 2808911 w 2863633"/>
                <a:gd name="connsiteY1" fmla="*/ 257442 h 257442"/>
                <a:gd name="connsiteX2" fmla="*/ 0 w 2863633"/>
                <a:gd name="connsiteY2" fmla="*/ 257442 h 257442"/>
                <a:gd name="connsiteX3" fmla="*/ 1 w 2863633"/>
                <a:gd name="connsiteY3" fmla="*/ 0 h 257442"/>
                <a:gd name="connsiteX0" fmla="*/ 2964622 w 2964622"/>
                <a:gd name="connsiteY0" fmla="*/ 0 h 257442"/>
                <a:gd name="connsiteX1" fmla="*/ 2808911 w 2964622"/>
                <a:gd name="connsiteY1" fmla="*/ 257442 h 257442"/>
                <a:gd name="connsiteX2" fmla="*/ 0 w 2964622"/>
                <a:gd name="connsiteY2" fmla="*/ 257442 h 257442"/>
                <a:gd name="connsiteX3" fmla="*/ 1 w 2964622"/>
                <a:gd name="connsiteY3" fmla="*/ 0 h 257442"/>
                <a:gd name="connsiteX0" fmla="*/ 2964622 w 2964622"/>
                <a:gd name="connsiteY0" fmla="*/ 0 h 257442"/>
                <a:gd name="connsiteX1" fmla="*/ 2909900 w 2964622"/>
                <a:gd name="connsiteY1" fmla="*/ 257442 h 257442"/>
                <a:gd name="connsiteX2" fmla="*/ 0 w 2964622"/>
                <a:gd name="connsiteY2" fmla="*/ 257442 h 257442"/>
                <a:gd name="connsiteX3" fmla="*/ 1 w 2964622"/>
                <a:gd name="connsiteY3" fmla="*/ 0 h 257442"/>
                <a:gd name="connsiteX0" fmla="*/ 2964622 w 2964622"/>
                <a:gd name="connsiteY0" fmla="*/ 0 h 257442"/>
                <a:gd name="connsiteX1" fmla="*/ 2909900 w 2964622"/>
                <a:gd name="connsiteY1" fmla="*/ 257442 h 257442"/>
                <a:gd name="connsiteX2" fmla="*/ 0 w 2964622"/>
                <a:gd name="connsiteY2" fmla="*/ 257442 h 257442"/>
                <a:gd name="connsiteX3" fmla="*/ 1 w 2964622"/>
                <a:gd name="connsiteY3" fmla="*/ 0 h 257442"/>
                <a:gd name="connsiteX0" fmla="*/ 2964622 w 2964622"/>
                <a:gd name="connsiteY0" fmla="*/ 0 h 257442"/>
                <a:gd name="connsiteX1" fmla="*/ 2909900 w 2964622"/>
                <a:gd name="connsiteY1" fmla="*/ 257442 h 257442"/>
                <a:gd name="connsiteX2" fmla="*/ 0 w 2964622"/>
                <a:gd name="connsiteY2" fmla="*/ 257442 h 257442"/>
                <a:gd name="connsiteX3" fmla="*/ 0 w 2964622"/>
                <a:gd name="connsiteY3" fmla="*/ 0 h 257442"/>
                <a:gd name="connsiteX0" fmla="*/ 3150570 w 3150570"/>
                <a:gd name="connsiteY0" fmla="*/ 0 h 257442"/>
                <a:gd name="connsiteX1" fmla="*/ 2909900 w 3150570"/>
                <a:gd name="connsiteY1" fmla="*/ 257442 h 257442"/>
                <a:gd name="connsiteX2" fmla="*/ 0 w 3150570"/>
                <a:gd name="connsiteY2" fmla="*/ 257442 h 257442"/>
                <a:gd name="connsiteX3" fmla="*/ 0 w 3150570"/>
                <a:gd name="connsiteY3" fmla="*/ 0 h 257442"/>
                <a:gd name="connsiteX0" fmla="*/ 3150570 w 3150570"/>
                <a:gd name="connsiteY0" fmla="*/ 0 h 257442"/>
                <a:gd name="connsiteX1" fmla="*/ 3095849 w 3150570"/>
                <a:gd name="connsiteY1" fmla="*/ 257442 h 257442"/>
                <a:gd name="connsiteX2" fmla="*/ 0 w 3150570"/>
                <a:gd name="connsiteY2" fmla="*/ 257442 h 257442"/>
                <a:gd name="connsiteX3" fmla="*/ 0 w 3150570"/>
                <a:gd name="connsiteY3" fmla="*/ 0 h 257442"/>
                <a:gd name="connsiteX0" fmla="*/ 3150570 w 3150570"/>
                <a:gd name="connsiteY0" fmla="*/ 0 h 257442"/>
                <a:gd name="connsiteX1" fmla="*/ 3095849 w 3150570"/>
                <a:gd name="connsiteY1" fmla="*/ 257442 h 257442"/>
                <a:gd name="connsiteX2" fmla="*/ 0 w 3150570"/>
                <a:gd name="connsiteY2" fmla="*/ 257442 h 257442"/>
                <a:gd name="connsiteX3" fmla="*/ 0 w 3150570"/>
                <a:gd name="connsiteY3" fmla="*/ 0 h 257442"/>
                <a:gd name="connsiteX0" fmla="*/ 3150570 w 3150570"/>
                <a:gd name="connsiteY0" fmla="*/ 0 h 257442"/>
                <a:gd name="connsiteX1" fmla="*/ 3095849 w 3150570"/>
                <a:gd name="connsiteY1" fmla="*/ 257442 h 257442"/>
                <a:gd name="connsiteX2" fmla="*/ 0 w 3150570"/>
                <a:gd name="connsiteY2" fmla="*/ 257442 h 257442"/>
                <a:gd name="connsiteX3" fmla="*/ 0 w 3150570"/>
                <a:gd name="connsiteY3" fmla="*/ 0 h 257442"/>
                <a:gd name="connsiteX0" fmla="*/ 3310870 w 3310870"/>
                <a:gd name="connsiteY0" fmla="*/ 0 h 257442"/>
                <a:gd name="connsiteX1" fmla="*/ 3095849 w 3310870"/>
                <a:gd name="connsiteY1" fmla="*/ 257442 h 257442"/>
                <a:gd name="connsiteX2" fmla="*/ 0 w 3310870"/>
                <a:gd name="connsiteY2" fmla="*/ 257442 h 257442"/>
                <a:gd name="connsiteX3" fmla="*/ 0 w 3310870"/>
                <a:gd name="connsiteY3" fmla="*/ 0 h 257442"/>
                <a:gd name="connsiteX0" fmla="*/ 3310870 w 3310870"/>
                <a:gd name="connsiteY0" fmla="*/ 0 h 257442"/>
                <a:gd name="connsiteX1" fmla="*/ 3256149 w 3310870"/>
                <a:gd name="connsiteY1" fmla="*/ 257442 h 257442"/>
                <a:gd name="connsiteX2" fmla="*/ 0 w 3310870"/>
                <a:gd name="connsiteY2" fmla="*/ 257442 h 257442"/>
                <a:gd name="connsiteX3" fmla="*/ 0 w 3310870"/>
                <a:gd name="connsiteY3" fmla="*/ 0 h 257442"/>
                <a:gd name="connsiteX0" fmla="*/ 3310870 w 3310870"/>
                <a:gd name="connsiteY0" fmla="*/ 0 h 257442"/>
                <a:gd name="connsiteX1" fmla="*/ 3256149 w 3310870"/>
                <a:gd name="connsiteY1" fmla="*/ 257442 h 257442"/>
                <a:gd name="connsiteX2" fmla="*/ 0 w 3310870"/>
                <a:gd name="connsiteY2" fmla="*/ 257442 h 257442"/>
                <a:gd name="connsiteX3" fmla="*/ 0 w 3310870"/>
                <a:gd name="connsiteY3" fmla="*/ 0 h 257442"/>
                <a:gd name="connsiteX0" fmla="*/ 3310870 w 3310870"/>
                <a:gd name="connsiteY0" fmla="*/ 0 h 257442"/>
                <a:gd name="connsiteX1" fmla="*/ 3256149 w 3310870"/>
                <a:gd name="connsiteY1" fmla="*/ 257442 h 257442"/>
                <a:gd name="connsiteX2" fmla="*/ 0 w 3310870"/>
                <a:gd name="connsiteY2" fmla="*/ 257442 h 257442"/>
                <a:gd name="connsiteX3" fmla="*/ 0 w 3310870"/>
                <a:gd name="connsiteY3" fmla="*/ 0 h 257442"/>
                <a:gd name="connsiteX0" fmla="*/ 3479186 w 3479186"/>
                <a:gd name="connsiteY0" fmla="*/ 0 h 257442"/>
                <a:gd name="connsiteX1" fmla="*/ 3256149 w 3479186"/>
                <a:gd name="connsiteY1" fmla="*/ 257442 h 257442"/>
                <a:gd name="connsiteX2" fmla="*/ 0 w 3479186"/>
                <a:gd name="connsiteY2" fmla="*/ 257442 h 257442"/>
                <a:gd name="connsiteX3" fmla="*/ 0 w 3479186"/>
                <a:gd name="connsiteY3" fmla="*/ 0 h 257442"/>
                <a:gd name="connsiteX0" fmla="*/ 3479186 w 3479186"/>
                <a:gd name="connsiteY0" fmla="*/ 0 h 257442"/>
                <a:gd name="connsiteX1" fmla="*/ 3424465 w 3479186"/>
                <a:gd name="connsiteY1" fmla="*/ 257442 h 257442"/>
                <a:gd name="connsiteX2" fmla="*/ 0 w 3479186"/>
                <a:gd name="connsiteY2" fmla="*/ 257442 h 257442"/>
                <a:gd name="connsiteX3" fmla="*/ 0 w 3479186"/>
                <a:gd name="connsiteY3" fmla="*/ 0 h 257442"/>
                <a:gd name="connsiteX0" fmla="*/ 3479186 w 3479186"/>
                <a:gd name="connsiteY0" fmla="*/ 0 h 257442"/>
                <a:gd name="connsiteX1" fmla="*/ 3424465 w 3479186"/>
                <a:gd name="connsiteY1" fmla="*/ 257442 h 257442"/>
                <a:gd name="connsiteX2" fmla="*/ 0 w 3479186"/>
                <a:gd name="connsiteY2" fmla="*/ 257442 h 257442"/>
                <a:gd name="connsiteX3" fmla="*/ 0 w 3479186"/>
                <a:gd name="connsiteY3" fmla="*/ 0 h 257442"/>
                <a:gd name="connsiteX0" fmla="*/ 3479186 w 3479186"/>
                <a:gd name="connsiteY0" fmla="*/ 0 h 257442"/>
                <a:gd name="connsiteX1" fmla="*/ 3424465 w 3479186"/>
                <a:gd name="connsiteY1" fmla="*/ 257442 h 257442"/>
                <a:gd name="connsiteX2" fmla="*/ 0 w 3479186"/>
                <a:gd name="connsiteY2" fmla="*/ 257442 h 257442"/>
                <a:gd name="connsiteX3" fmla="*/ 0 w 3479186"/>
                <a:gd name="connsiteY3" fmla="*/ 0 h 257442"/>
                <a:gd name="connsiteX0" fmla="*/ 3631470 w 3631470"/>
                <a:gd name="connsiteY0" fmla="*/ 0 h 257442"/>
                <a:gd name="connsiteX1" fmla="*/ 3424465 w 3631470"/>
                <a:gd name="connsiteY1" fmla="*/ 257442 h 257442"/>
                <a:gd name="connsiteX2" fmla="*/ 0 w 3631470"/>
                <a:gd name="connsiteY2" fmla="*/ 257442 h 257442"/>
                <a:gd name="connsiteX3" fmla="*/ 0 w 3631470"/>
                <a:gd name="connsiteY3" fmla="*/ 0 h 257442"/>
                <a:gd name="connsiteX0" fmla="*/ 3631470 w 3631470"/>
                <a:gd name="connsiteY0" fmla="*/ 0 h 257442"/>
                <a:gd name="connsiteX1" fmla="*/ 3576749 w 3631470"/>
                <a:gd name="connsiteY1" fmla="*/ 257442 h 257442"/>
                <a:gd name="connsiteX2" fmla="*/ 0 w 3631470"/>
                <a:gd name="connsiteY2" fmla="*/ 257442 h 257442"/>
                <a:gd name="connsiteX3" fmla="*/ 0 w 3631470"/>
                <a:gd name="connsiteY3" fmla="*/ 0 h 257442"/>
                <a:gd name="connsiteX0" fmla="*/ 3631470 w 3631470"/>
                <a:gd name="connsiteY0" fmla="*/ 0 h 257442"/>
                <a:gd name="connsiteX1" fmla="*/ 3576749 w 3631470"/>
                <a:gd name="connsiteY1" fmla="*/ 257442 h 257442"/>
                <a:gd name="connsiteX2" fmla="*/ 0 w 3631470"/>
                <a:gd name="connsiteY2" fmla="*/ 257442 h 257442"/>
                <a:gd name="connsiteX3" fmla="*/ 0 w 3631470"/>
                <a:gd name="connsiteY3" fmla="*/ 0 h 257442"/>
                <a:gd name="connsiteX0" fmla="*/ 3631470 w 3631470"/>
                <a:gd name="connsiteY0" fmla="*/ 0 h 257442"/>
                <a:gd name="connsiteX1" fmla="*/ 3576749 w 3631470"/>
                <a:gd name="connsiteY1" fmla="*/ 257442 h 257442"/>
                <a:gd name="connsiteX2" fmla="*/ 0 w 3631470"/>
                <a:gd name="connsiteY2" fmla="*/ 257442 h 257442"/>
                <a:gd name="connsiteX3" fmla="*/ 0 w 3631470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1470" h="257442">
                  <a:moveTo>
                    <a:pt x="3631470" y="0"/>
                  </a:moveTo>
                  <a:lnTo>
                    <a:pt x="3576749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3" name="btfpRunningAgenda2LevelTextLeft118082">
              <a:extLst>
                <a:ext uri="{FF2B5EF4-FFF2-40B4-BE49-F238E27FC236}">
                  <a16:creationId xmlns:a16="http://schemas.microsoft.com/office/drawing/2014/main" id="{9C7C23D9-8F57-452D-BE12-4899C07EA673}"/>
                </a:ext>
              </a:extLst>
            </p:cNvPr>
            <p:cNvSpPr txBox="1"/>
            <p:nvPr/>
          </p:nvSpPr>
          <p:spPr bwMode="gray">
            <a:xfrm>
              <a:off x="0" y="876300"/>
              <a:ext cx="357674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ustomer sentiment</a:t>
              </a:r>
            </a:p>
          </p:txBody>
        </p:sp>
        <p:sp>
          <p:nvSpPr>
            <p:cNvPr id="74" name="btfpRunningAgenda2LevelBarRight118082">
              <a:extLst>
                <a:ext uri="{FF2B5EF4-FFF2-40B4-BE49-F238E27FC236}">
                  <a16:creationId xmlns:a16="http://schemas.microsoft.com/office/drawing/2014/main" id="{41FDBFBE-9ED5-434C-AE04-6C1AEE4926DA}"/>
                </a:ext>
              </a:extLst>
            </p:cNvPr>
            <p:cNvSpPr/>
            <p:nvPr/>
          </p:nvSpPr>
          <p:spPr bwMode="gray">
            <a:xfrm>
              <a:off x="3496629" y="876300"/>
              <a:ext cx="2189922" cy="257442"/>
            </a:xfrm>
            <a:custGeom>
              <a:avLst/>
              <a:gdLst>
                <a:gd name="connsiteX0" fmla="*/ 942786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42786 w 2313135"/>
                <a:gd name="connsiteY0" fmla="*/ 0 h 257442"/>
                <a:gd name="connsiteX1" fmla="*/ 888065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03086 w 1103086"/>
                <a:gd name="connsiteY0" fmla="*/ 0 h 257442"/>
                <a:gd name="connsiteX1" fmla="*/ 888064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4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54722 w 1103087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54722 w 1103087"/>
                <a:gd name="connsiteY3" fmla="*/ 0 h 257442"/>
                <a:gd name="connsiteX0" fmla="*/ 1271403 w 1271403"/>
                <a:gd name="connsiteY0" fmla="*/ 0 h 257442"/>
                <a:gd name="connsiteX1" fmla="*/ 1048365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0 w 1271402"/>
                <a:gd name="connsiteY3" fmla="*/ 0 h 257442"/>
                <a:gd name="connsiteX0" fmla="*/ 1439716 w 1439716"/>
                <a:gd name="connsiteY0" fmla="*/ 0 h 257442"/>
                <a:gd name="connsiteX1" fmla="*/ 1216681 w 1439716"/>
                <a:gd name="connsiteY1" fmla="*/ 257442 h 257442"/>
                <a:gd name="connsiteX2" fmla="*/ 0 w 1439716"/>
                <a:gd name="connsiteY2" fmla="*/ 257442 h 257442"/>
                <a:gd name="connsiteX3" fmla="*/ 54720 w 1439716"/>
                <a:gd name="connsiteY3" fmla="*/ 0 h 257442"/>
                <a:gd name="connsiteX0" fmla="*/ 1439716 w 1439716"/>
                <a:gd name="connsiteY0" fmla="*/ 0 h 257442"/>
                <a:gd name="connsiteX1" fmla="*/ 1384995 w 1439716"/>
                <a:gd name="connsiteY1" fmla="*/ 257442 h 257442"/>
                <a:gd name="connsiteX2" fmla="*/ 0 w 1439716"/>
                <a:gd name="connsiteY2" fmla="*/ 257442 h 257442"/>
                <a:gd name="connsiteX3" fmla="*/ 54720 w 1439716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2 w 1439717"/>
                <a:gd name="connsiteY3" fmla="*/ 0 h 257442"/>
                <a:gd name="connsiteX0" fmla="*/ 1608033 w 1608033"/>
                <a:gd name="connsiteY0" fmla="*/ 0 h 257442"/>
                <a:gd name="connsiteX1" fmla="*/ 1384996 w 1608033"/>
                <a:gd name="connsiteY1" fmla="*/ 257442 h 257442"/>
                <a:gd name="connsiteX2" fmla="*/ 0 w 1608033"/>
                <a:gd name="connsiteY2" fmla="*/ 257442 h 257442"/>
                <a:gd name="connsiteX3" fmla="*/ 54722 w 1608033"/>
                <a:gd name="connsiteY3" fmla="*/ 0 h 257442"/>
                <a:gd name="connsiteX0" fmla="*/ 1608033 w 1608033"/>
                <a:gd name="connsiteY0" fmla="*/ 0 h 257442"/>
                <a:gd name="connsiteX1" fmla="*/ 1553312 w 1608033"/>
                <a:gd name="connsiteY1" fmla="*/ 257442 h 257442"/>
                <a:gd name="connsiteX2" fmla="*/ 0 w 1608033"/>
                <a:gd name="connsiteY2" fmla="*/ 257442 h 257442"/>
                <a:gd name="connsiteX3" fmla="*/ 54722 w 1608033"/>
                <a:gd name="connsiteY3" fmla="*/ 0 h 257442"/>
                <a:gd name="connsiteX0" fmla="*/ 1608032 w 1608032"/>
                <a:gd name="connsiteY0" fmla="*/ 0 h 257442"/>
                <a:gd name="connsiteX1" fmla="*/ 1553311 w 1608032"/>
                <a:gd name="connsiteY1" fmla="*/ 257442 h 257442"/>
                <a:gd name="connsiteX2" fmla="*/ 0 w 1608032"/>
                <a:gd name="connsiteY2" fmla="*/ 257442 h 257442"/>
                <a:gd name="connsiteX3" fmla="*/ 54721 w 1608032"/>
                <a:gd name="connsiteY3" fmla="*/ 0 h 257442"/>
                <a:gd name="connsiteX0" fmla="*/ 1608032 w 1608032"/>
                <a:gd name="connsiteY0" fmla="*/ 0 h 257442"/>
                <a:gd name="connsiteX1" fmla="*/ 1553311 w 1608032"/>
                <a:gd name="connsiteY1" fmla="*/ 257442 h 257442"/>
                <a:gd name="connsiteX2" fmla="*/ 0 w 1608032"/>
                <a:gd name="connsiteY2" fmla="*/ 257442 h 257442"/>
                <a:gd name="connsiteX3" fmla="*/ 54720 w 1608032"/>
                <a:gd name="connsiteY3" fmla="*/ 0 h 257442"/>
                <a:gd name="connsiteX0" fmla="*/ 1776346 w 1776346"/>
                <a:gd name="connsiteY0" fmla="*/ 0 h 257442"/>
                <a:gd name="connsiteX1" fmla="*/ 1553311 w 1776346"/>
                <a:gd name="connsiteY1" fmla="*/ 257442 h 257442"/>
                <a:gd name="connsiteX2" fmla="*/ 0 w 1776346"/>
                <a:gd name="connsiteY2" fmla="*/ 257442 h 257442"/>
                <a:gd name="connsiteX3" fmla="*/ 54720 w 1776346"/>
                <a:gd name="connsiteY3" fmla="*/ 0 h 257442"/>
                <a:gd name="connsiteX0" fmla="*/ 1776346 w 1776346"/>
                <a:gd name="connsiteY0" fmla="*/ 0 h 257442"/>
                <a:gd name="connsiteX1" fmla="*/ 1721625 w 1776346"/>
                <a:gd name="connsiteY1" fmla="*/ 257442 h 257442"/>
                <a:gd name="connsiteX2" fmla="*/ 0 w 1776346"/>
                <a:gd name="connsiteY2" fmla="*/ 257442 h 257442"/>
                <a:gd name="connsiteX3" fmla="*/ 54720 w 1776346"/>
                <a:gd name="connsiteY3" fmla="*/ 0 h 257442"/>
                <a:gd name="connsiteX0" fmla="*/ 1776347 w 1776347"/>
                <a:gd name="connsiteY0" fmla="*/ 0 h 257442"/>
                <a:gd name="connsiteX1" fmla="*/ 1721626 w 1776347"/>
                <a:gd name="connsiteY1" fmla="*/ 257442 h 257442"/>
                <a:gd name="connsiteX2" fmla="*/ 0 w 1776347"/>
                <a:gd name="connsiteY2" fmla="*/ 257442 h 257442"/>
                <a:gd name="connsiteX3" fmla="*/ 54721 w 1776347"/>
                <a:gd name="connsiteY3" fmla="*/ 0 h 257442"/>
                <a:gd name="connsiteX0" fmla="*/ 1776347 w 1776347"/>
                <a:gd name="connsiteY0" fmla="*/ 0 h 257442"/>
                <a:gd name="connsiteX1" fmla="*/ 1721626 w 1776347"/>
                <a:gd name="connsiteY1" fmla="*/ 257442 h 257442"/>
                <a:gd name="connsiteX2" fmla="*/ 0 w 1776347"/>
                <a:gd name="connsiteY2" fmla="*/ 257442 h 257442"/>
                <a:gd name="connsiteX3" fmla="*/ 54722 w 1776347"/>
                <a:gd name="connsiteY3" fmla="*/ 0 h 257442"/>
                <a:gd name="connsiteX0" fmla="*/ 1978327 w 1978327"/>
                <a:gd name="connsiteY0" fmla="*/ 0 h 257442"/>
                <a:gd name="connsiteX1" fmla="*/ 1721626 w 1978327"/>
                <a:gd name="connsiteY1" fmla="*/ 257442 h 257442"/>
                <a:gd name="connsiteX2" fmla="*/ 0 w 1978327"/>
                <a:gd name="connsiteY2" fmla="*/ 257442 h 257442"/>
                <a:gd name="connsiteX3" fmla="*/ 54722 w 1978327"/>
                <a:gd name="connsiteY3" fmla="*/ 0 h 257442"/>
                <a:gd name="connsiteX0" fmla="*/ 1978327 w 1978327"/>
                <a:gd name="connsiteY0" fmla="*/ 0 h 257442"/>
                <a:gd name="connsiteX1" fmla="*/ 1923606 w 1978327"/>
                <a:gd name="connsiteY1" fmla="*/ 257442 h 257442"/>
                <a:gd name="connsiteX2" fmla="*/ 0 w 1978327"/>
                <a:gd name="connsiteY2" fmla="*/ 257442 h 257442"/>
                <a:gd name="connsiteX3" fmla="*/ 54722 w 1978327"/>
                <a:gd name="connsiteY3" fmla="*/ 0 h 257442"/>
                <a:gd name="connsiteX0" fmla="*/ 1978326 w 1978326"/>
                <a:gd name="connsiteY0" fmla="*/ 0 h 257442"/>
                <a:gd name="connsiteX1" fmla="*/ 1923605 w 1978326"/>
                <a:gd name="connsiteY1" fmla="*/ 257442 h 257442"/>
                <a:gd name="connsiteX2" fmla="*/ 0 w 1978326"/>
                <a:gd name="connsiteY2" fmla="*/ 257442 h 257442"/>
                <a:gd name="connsiteX3" fmla="*/ 54721 w 1978326"/>
                <a:gd name="connsiteY3" fmla="*/ 0 h 257442"/>
                <a:gd name="connsiteX0" fmla="*/ 1978326 w 1978326"/>
                <a:gd name="connsiteY0" fmla="*/ 0 h 257442"/>
                <a:gd name="connsiteX1" fmla="*/ 1923605 w 1978326"/>
                <a:gd name="connsiteY1" fmla="*/ 257442 h 257442"/>
                <a:gd name="connsiteX2" fmla="*/ 0 w 1978326"/>
                <a:gd name="connsiteY2" fmla="*/ 257442 h 257442"/>
                <a:gd name="connsiteX3" fmla="*/ 54720 w 1978326"/>
                <a:gd name="connsiteY3" fmla="*/ 0 h 257442"/>
                <a:gd name="connsiteX0" fmla="*/ 2146640 w 2146640"/>
                <a:gd name="connsiteY0" fmla="*/ 0 h 257442"/>
                <a:gd name="connsiteX1" fmla="*/ 1923605 w 2146640"/>
                <a:gd name="connsiteY1" fmla="*/ 257442 h 257442"/>
                <a:gd name="connsiteX2" fmla="*/ 0 w 2146640"/>
                <a:gd name="connsiteY2" fmla="*/ 257442 h 257442"/>
                <a:gd name="connsiteX3" fmla="*/ 54720 w 2146640"/>
                <a:gd name="connsiteY3" fmla="*/ 0 h 257442"/>
                <a:gd name="connsiteX0" fmla="*/ 2146640 w 2146640"/>
                <a:gd name="connsiteY0" fmla="*/ 0 h 257442"/>
                <a:gd name="connsiteX1" fmla="*/ 2091919 w 2146640"/>
                <a:gd name="connsiteY1" fmla="*/ 257442 h 257442"/>
                <a:gd name="connsiteX2" fmla="*/ 0 w 2146640"/>
                <a:gd name="connsiteY2" fmla="*/ 257442 h 257442"/>
                <a:gd name="connsiteX3" fmla="*/ 54720 w 2146640"/>
                <a:gd name="connsiteY3" fmla="*/ 0 h 257442"/>
                <a:gd name="connsiteX0" fmla="*/ 2146641 w 2146641"/>
                <a:gd name="connsiteY0" fmla="*/ 0 h 257442"/>
                <a:gd name="connsiteX1" fmla="*/ 2091920 w 2146641"/>
                <a:gd name="connsiteY1" fmla="*/ 257442 h 257442"/>
                <a:gd name="connsiteX2" fmla="*/ 0 w 2146641"/>
                <a:gd name="connsiteY2" fmla="*/ 257442 h 257442"/>
                <a:gd name="connsiteX3" fmla="*/ 54721 w 2146641"/>
                <a:gd name="connsiteY3" fmla="*/ 0 h 257442"/>
                <a:gd name="connsiteX0" fmla="*/ 2146641 w 2146641"/>
                <a:gd name="connsiteY0" fmla="*/ 0 h 257442"/>
                <a:gd name="connsiteX1" fmla="*/ 2091920 w 2146641"/>
                <a:gd name="connsiteY1" fmla="*/ 257442 h 257442"/>
                <a:gd name="connsiteX2" fmla="*/ 0 w 2146641"/>
                <a:gd name="connsiteY2" fmla="*/ 257442 h 257442"/>
                <a:gd name="connsiteX3" fmla="*/ 54722 w 2146641"/>
                <a:gd name="connsiteY3" fmla="*/ 0 h 257442"/>
                <a:gd name="connsiteX0" fmla="*/ 2459227 w 2459227"/>
                <a:gd name="connsiteY0" fmla="*/ 0 h 257442"/>
                <a:gd name="connsiteX1" fmla="*/ 2091920 w 2459227"/>
                <a:gd name="connsiteY1" fmla="*/ 257442 h 257442"/>
                <a:gd name="connsiteX2" fmla="*/ 0 w 2459227"/>
                <a:gd name="connsiteY2" fmla="*/ 257442 h 257442"/>
                <a:gd name="connsiteX3" fmla="*/ 54722 w 2459227"/>
                <a:gd name="connsiteY3" fmla="*/ 0 h 257442"/>
                <a:gd name="connsiteX0" fmla="*/ 2459227 w 2459227"/>
                <a:gd name="connsiteY0" fmla="*/ 0 h 257442"/>
                <a:gd name="connsiteX1" fmla="*/ 2404506 w 2459227"/>
                <a:gd name="connsiteY1" fmla="*/ 257442 h 257442"/>
                <a:gd name="connsiteX2" fmla="*/ 0 w 2459227"/>
                <a:gd name="connsiteY2" fmla="*/ 257442 h 257442"/>
                <a:gd name="connsiteX3" fmla="*/ 54722 w 2459227"/>
                <a:gd name="connsiteY3" fmla="*/ 0 h 257442"/>
                <a:gd name="connsiteX0" fmla="*/ 2459226 w 2459226"/>
                <a:gd name="connsiteY0" fmla="*/ 0 h 257442"/>
                <a:gd name="connsiteX1" fmla="*/ 2404505 w 2459226"/>
                <a:gd name="connsiteY1" fmla="*/ 257442 h 257442"/>
                <a:gd name="connsiteX2" fmla="*/ 0 w 2459226"/>
                <a:gd name="connsiteY2" fmla="*/ 257442 h 257442"/>
                <a:gd name="connsiteX3" fmla="*/ 54721 w 2459226"/>
                <a:gd name="connsiteY3" fmla="*/ 0 h 257442"/>
                <a:gd name="connsiteX0" fmla="*/ 2459226 w 2459226"/>
                <a:gd name="connsiteY0" fmla="*/ 0 h 257442"/>
                <a:gd name="connsiteX1" fmla="*/ 2404505 w 2459226"/>
                <a:gd name="connsiteY1" fmla="*/ 257442 h 257442"/>
                <a:gd name="connsiteX2" fmla="*/ 0 w 2459226"/>
                <a:gd name="connsiteY2" fmla="*/ 257442 h 257442"/>
                <a:gd name="connsiteX3" fmla="*/ 54720 w 2459226"/>
                <a:gd name="connsiteY3" fmla="*/ 0 h 257442"/>
                <a:gd name="connsiteX0" fmla="*/ 2627541 w 2627541"/>
                <a:gd name="connsiteY0" fmla="*/ 0 h 257442"/>
                <a:gd name="connsiteX1" fmla="*/ 2404505 w 2627541"/>
                <a:gd name="connsiteY1" fmla="*/ 257442 h 257442"/>
                <a:gd name="connsiteX2" fmla="*/ 0 w 2627541"/>
                <a:gd name="connsiteY2" fmla="*/ 257442 h 257442"/>
                <a:gd name="connsiteX3" fmla="*/ 54720 w 2627541"/>
                <a:gd name="connsiteY3" fmla="*/ 0 h 257442"/>
                <a:gd name="connsiteX0" fmla="*/ 2627541 w 2627541"/>
                <a:gd name="connsiteY0" fmla="*/ 0 h 257442"/>
                <a:gd name="connsiteX1" fmla="*/ 2572820 w 2627541"/>
                <a:gd name="connsiteY1" fmla="*/ 257442 h 257442"/>
                <a:gd name="connsiteX2" fmla="*/ 0 w 2627541"/>
                <a:gd name="connsiteY2" fmla="*/ 257442 h 257442"/>
                <a:gd name="connsiteX3" fmla="*/ 54720 w 2627541"/>
                <a:gd name="connsiteY3" fmla="*/ 0 h 257442"/>
                <a:gd name="connsiteX0" fmla="*/ 2627542 w 2627542"/>
                <a:gd name="connsiteY0" fmla="*/ 0 h 257442"/>
                <a:gd name="connsiteX1" fmla="*/ 2572821 w 2627542"/>
                <a:gd name="connsiteY1" fmla="*/ 257442 h 257442"/>
                <a:gd name="connsiteX2" fmla="*/ 0 w 2627542"/>
                <a:gd name="connsiteY2" fmla="*/ 257442 h 257442"/>
                <a:gd name="connsiteX3" fmla="*/ 54721 w 2627542"/>
                <a:gd name="connsiteY3" fmla="*/ 0 h 257442"/>
                <a:gd name="connsiteX0" fmla="*/ 2627542 w 2627542"/>
                <a:gd name="connsiteY0" fmla="*/ 0 h 257442"/>
                <a:gd name="connsiteX1" fmla="*/ 2572821 w 2627542"/>
                <a:gd name="connsiteY1" fmla="*/ 257442 h 257442"/>
                <a:gd name="connsiteX2" fmla="*/ 0 w 2627542"/>
                <a:gd name="connsiteY2" fmla="*/ 257442 h 257442"/>
                <a:gd name="connsiteX3" fmla="*/ 54721 w 2627542"/>
                <a:gd name="connsiteY3" fmla="*/ 0 h 257442"/>
                <a:gd name="connsiteX0" fmla="*/ 2787843 w 2787843"/>
                <a:gd name="connsiteY0" fmla="*/ 0 h 257442"/>
                <a:gd name="connsiteX1" fmla="*/ 2572821 w 2787843"/>
                <a:gd name="connsiteY1" fmla="*/ 257442 h 257442"/>
                <a:gd name="connsiteX2" fmla="*/ 0 w 2787843"/>
                <a:gd name="connsiteY2" fmla="*/ 257442 h 257442"/>
                <a:gd name="connsiteX3" fmla="*/ 54721 w 2787843"/>
                <a:gd name="connsiteY3" fmla="*/ 0 h 257442"/>
                <a:gd name="connsiteX0" fmla="*/ 2787843 w 2787843"/>
                <a:gd name="connsiteY0" fmla="*/ 0 h 257442"/>
                <a:gd name="connsiteX1" fmla="*/ 2733122 w 2787843"/>
                <a:gd name="connsiteY1" fmla="*/ 257442 h 257442"/>
                <a:gd name="connsiteX2" fmla="*/ 0 w 2787843"/>
                <a:gd name="connsiteY2" fmla="*/ 257442 h 257442"/>
                <a:gd name="connsiteX3" fmla="*/ 54721 w 2787843"/>
                <a:gd name="connsiteY3" fmla="*/ 0 h 257442"/>
                <a:gd name="connsiteX0" fmla="*/ 2787843 w 2787843"/>
                <a:gd name="connsiteY0" fmla="*/ 0 h 257442"/>
                <a:gd name="connsiteX1" fmla="*/ 2733122 w 2787843"/>
                <a:gd name="connsiteY1" fmla="*/ 257442 h 257442"/>
                <a:gd name="connsiteX2" fmla="*/ 0 w 2787843"/>
                <a:gd name="connsiteY2" fmla="*/ 257442 h 257442"/>
                <a:gd name="connsiteX3" fmla="*/ 54721 w 2787843"/>
                <a:gd name="connsiteY3" fmla="*/ 0 h 257442"/>
                <a:gd name="connsiteX0" fmla="*/ 2787843 w 2787843"/>
                <a:gd name="connsiteY0" fmla="*/ 0 h 257442"/>
                <a:gd name="connsiteX1" fmla="*/ 2733122 w 2787843"/>
                <a:gd name="connsiteY1" fmla="*/ 257442 h 257442"/>
                <a:gd name="connsiteX2" fmla="*/ 0 w 2787843"/>
                <a:gd name="connsiteY2" fmla="*/ 257442 h 257442"/>
                <a:gd name="connsiteX3" fmla="*/ 54721 w 2787843"/>
                <a:gd name="connsiteY3" fmla="*/ 0 h 257442"/>
                <a:gd name="connsiteX0" fmla="*/ 2948143 w 2948143"/>
                <a:gd name="connsiteY0" fmla="*/ 0 h 257442"/>
                <a:gd name="connsiteX1" fmla="*/ 2733122 w 2948143"/>
                <a:gd name="connsiteY1" fmla="*/ 257442 h 257442"/>
                <a:gd name="connsiteX2" fmla="*/ 0 w 2948143"/>
                <a:gd name="connsiteY2" fmla="*/ 257442 h 257442"/>
                <a:gd name="connsiteX3" fmla="*/ 54721 w 2948143"/>
                <a:gd name="connsiteY3" fmla="*/ 0 h 257442"/>
                <a:gd name="connsiteX0" fmla="*/ 2948143 w 2948143"/>
                <a:gd name="connsiteY0" fmla="*/ 0 h 257442"/>
                <a:gd name="connsiteX1" fmla="*/ 2893422 w 2948143"/>
                <a:gd name="connsiteY1" fmla="*/ 257442 h 257442"/>
                <a:gd name="connsiteX2" fmla="*/ 0 w 2948143"/>
                <a:gd name="connsiteY2" fmla="*/ 257442 h 257442"/>
                <a:gd name="connsiteX3" fmla="*/ 54721 w 2948143"/>
                <a:gd name="connsiteY3" fmla="*/ 0 h 257442"/>
                <a:gd name="connsiteX0" fmla="*/ 2948143 w 2948143"/>
                <a:gd name="connsiteY0" fmla="*/ 0 h 257442"/>
                <a:gd name="connsiteX1" fmla="*/ 2893422 w 2948143"/>
                <a:gd name="connsiteY1" fmla="*/ 257442 h 257442"/>
                <a:gd name="connsiteX2" fmla="*/ 0 w 2948143"/>
                <a:gd name="connsiteY2" fmla="*/ 257442 h 257442"/>
                <a:gd name="connsiteX3" fmla="*/ 54721 w 2948143"/>
                <a:gd name="connsiteY3" fmla="*/ 0 h 257442"/>
                <a:gd name="connsiteX0" fmla="*/ 2948143 w 2948143"/>
                <a:gd name="connsiteY0" fmla="*/ 0 h 257442"/>
                <a:gd name="connsiteX1" fmla="*/ 2893422 w 2948143"/>
                <a:gd name="connsiteY1" fmla="*/ 257442 h 257442"/>
                <a:gd name="connsiteX2" fmla="*/ 0 w 2948143"/>
                <a:gd name="connsiteY2" fmla="*/ 257442 h 257442"/>
                <a:gd name="connsiteX3" fmla="*/ 54721 w 2948143"/>
                <a:gd name="connsiteY3" fmla="*/ 0 h 257442"/>
                <a:gd name="connsiteX0" fmla="*/ 942786 w 2893422"/>
                <a:gd name="connsiteY0" fmla="*/ 0 h 257442"/>
                <a:gd name="connsiteX1" fmla="*/ 2893422 w 2893422"/>
                <a:gd name="connsiteY1" fmla="*/ 257442 h 257442"/>
                <a:gd name="connsiteX2" fmla="*/ 0 w 2893422"/>
                <a:gd name="connsiteY2" fmla="*/ 257442 h 257442"/>
                <a:gd name="connsiteX3" fmla="*/ 54721 w 2893422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1120719 w 1120719"/>
                <a:gd name="connsiteY0" fmla="*/ 0 h 257442"/>
                <a:gd name="connsiteX1" fmla="*/ 888065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289034 w 1289034"/>
                <a:gd name="connsiteY0" fmla="*/ 0 h 257442"/>
                <a:gd name="connsiteX1" fmla="*/ 1065998 w 1289034"/>
                <a:gd name="connsiteY1" fmla="*/ 257442 h 257442"/>
                <a:gd name="connsiteX2" fmla="*/ 0 w 1289034"/>
                <a:gd name="connsiteY2" fmla="*/ 257442 h 257442"/>
                <a:gd name="connsiteX3" fmla="*/ 54721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54721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54722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54722 w 1289035"/>
                <a:gd name="connsiteY3" fmla="*/ 0 h 257442"/>
                <a:gd name="connsiteX0" fmla="*/ 1558340 w 1558340"/>
                <a:gd name="connsiteY0" fmla="*/ 0 h 257442"/>
                <a:gd name="connsiteX1" fmla="*/ 1234313 w 1558340"/>
                <a:gd name="connsiteY1" fmla="*/ 257442 h 257442"/>
                <a:gd name="connsiteX2" fmla="*/ 0 w 1558340"/>
                <a:gd name="connsiteY2" fmla="*/ 257442 h 257442"/>
                <a:gd name="connsiteX3" fmla="*/ 54722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0 w 1558340"/>
                <a:gd name="connsiteY2" fmla="*/ 257442 h 257442"/>
                <a:gd name="connsiteX3" fmla="*/ 54722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0 w 1558340"/>
                <a:gd name="connsiteY2" fmla="*/ 257442 h 257442"/>
                <a:gd name="connsiteX3" fmla="*/ 54722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0 w 1558340"/>
                <a:gd name="connsiteY2" fmla="*/ 257442 h 257442"/>
                <a:gd name="connsiteX3" fmla="*/ 54721 w 1558340"/>
                <a:gd name="connsiteY3" fmla="*/ 0 h 257442"/>
                <a:gd name="connsiteX0" fmla="*/ 1808857 w 1808857"/>
                <a:gd name="connsiteY0" fmla="*/ 0 h 257442"/>
                <a:gd name="connsiteX1" fmla="*/ 1503618 w 1808857"/>
                <a:gd name="connsiteY1" fmla="*/ 257442 h 257442"/>
                <a:gd name="connsiteX2" fmla="*/ 0 w 1808857"/>
                <a:gd name="connsiteY2" fmla="*/ 257442 h 257442"/>
                <a:gd name="connsiteX3" fmla="*/ 54721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54721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54721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54721 w 1808857"/>
                <a:gd name="connsiteY3" fmla="*/ 0 h 257442"/>
                <a:gd name="connsiteX0" fmla="*/ 1994805 w 1994805"/>
                <a:gd name="connsiteY0" fmla="*/ 0 h 257442"/>
                <a:gd name="connsiteX1" fmla="*/ 1754136 w 1994805"/>
                <a:gd name="connsiteY1" fmla="*/ 257442 h 257442"/>
                <a:gd name="connsiteX2" fmla="*/ 0 w 1994805"/>
                <a:gd name="connsiteY2" fmla="*/ 257442 h 257442"/>
                <a:gd name="connsiteX3" fmla="*/ 54721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54721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54721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54721 w 1994805"/>
                <a:gd name="connsiteY3" fmla="*/ 0 h 257442"/>
                <a:gd name="connsiteX0" fmla="*/ 2155105 w 2155105"/>
                <a:gd name="connsiteY0" fmla="*/ 0 h 257442"/>
                <a:gd name="connsiteX1" fmla="*/ 1940084 w 2155105"/>
                <a:gd name="connsiteY1" fmla="*/ 257442 h 257442"/>
                <a:gd name="connsiteX2" fmla="*/ 0 w 2155105"/>
                <a:gd name="connsiteY2" fmla="*/ 257442 h 257442"/>
                <a:gd name="connsiteX3" fmla="*/ 54721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54721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54721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54721 w 2155105"/>
                <a:gd name="connsiteY3" fmla="*/ 0 h 257442"/>
                <a:gd name="connsiteX0" fmla="*/ 2323420 w 2323420"/>
                <a:gd name="connsiteY0" fmla="*/ 0 h 257442"/>
                <a:gd name="connsiteX1" fmla="*/ 2100384 w 2323420"/>
                <a:gd name="connsiteY1" fmla="*/ 257442 h 257442"/>
                <a:gd name="connsiteX2" fmla="*/ 0 w 2323420"/>
                <a:gd name="connsiteY2" fmla="*/ 257442 h 257442"/>
                <a:gd name="connsiteX3" fmla="*/ 54721 w 2323420"/>
                <a:gd name="connsiteY3" fmla="*/ 0 h 257442"/>
                <a:gd name="connsiteX0" fmla="*/ 2323420 w 2323420"/>
                <a:gd name="connsiteY0" fmla="*/ 0 h 257442"/>
                <a:gd name="connsiteX1" fmla="*/ 2268698 w 2323420"/>
                <a:gd name="connsiteY1" fmla="*/ 257442 h 257442"/>
                <a:gd name="connsiteX2" fmla="*/ 0 w 2323420"/>
                <a:gd name="connsiteY2" fmla="*/ 257442 h 257442"/>
                <a:gd name="connsiteX3" fmla="*/ 54721 w 2323420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54722 w 2323421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54722 w 2323421"/>
                <a:gd name="connsiteY3" fmla="*/ 0 h 257442"/>
                <a:gd name="connsiteX0" fmla="*/ 2592725 w 2592725"/>
                <a:gd name="connsiteY0" fmla="*/ 0 h 257442"/>
                <a:gd name="connsiteX1" fmla="*/ 2268699 w 2592725"/>
                <a:gd name="connsiteY1" fmla="*/ 257442 h 257442"/>
                <a:gd name="connsiteX2" fmla="*/ 0 w 2592725"/>
                <a:gd name="connsiteY2" fmla="*/ 257442 h 257442"/>
                <a:gd name="connsiteX3" fmla="*/ 54722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0 w 2592725"/>
                <a:gd name="connsiteY2" fmla="*/ 257442 h 257442"/>
                <a:gd name="connsiteX3" fmla="*/ 54722 w 2592725"/>
                <a:gd name="connsiteY3" fmla="*/ 0 h 257442"/>
                <a:gd name="connsiteX0" fmla="*/ 2592724 w 2592724"/>
                <a:gd name="connsiteY0" fmla="*/ 0 h 257442"/>
                <a:gd name="connsiteX1" fmla="*/ 2538003 w 2592724"/>
                <a:gd name="connsiteY1" fmla="*/ 257442 h 257442"/>
                <a:gd name="connsiteX2" fmla="*/ 0 w 2592724"/>
                <a:gd name="connsiteY2" fmla="*/ 257442 h 257442"/>
                <a:gd name="connsiteX3" fmla="*/ 54721 w 2592724"/>
                <a:gd name="connsiteY3" fmla="*/ 0 h 257442"/>
                <a:gd name="connsiteX0" fmla="*/ 2592724 w 2592724"/>
                <a:gd name="connsiteY0" fmla="*/ 0 h 257442"/>
                <a:gd name="connsiteX1" fmla="*/ 2538003 w 2592724"/>
                <a:gd name="connsiteY1" fmla="*/ 257442 h 257442"/>
                <a:gd name="connsiteX2" fmla="*/ 0 w 2592724"/>
                <a:gd name="connsiteY2" fmla="*/ 257442 h 257442"/>
                <a:gd name="connsiteX3" fmla="*/ 54720 w 2592724"/>
                <a:gd name="connsiteY3" fmla="*/ 0 h 257442"/>
                <a:gd name="connsiteX0" fmla="*/ 2848306 w 2848306"/>
                <a:gd name="connsiteY0" fmla="*/ 0 h 257442"/>
                <a:gd name="connsiteX1" fmla="*/ 2538003 w 2848306"/>
                <a:gd name="connsiteY1" fmla="*/ 257442 h 257442"/>
                <a:gd name="connsiteX2" fmla="*/ 0 w 2848306"/>
                <a:gd name="connsiteY2" fmla="*/ 257442 h 257442"/>
                <a:gd name="connsiteX3" fmla="*/ 54720 w 2848306"/>
                <a:gd name="connsiteY3" fmla="*/ 0 h 257442"/>
                <a:gd name="connsiteX0" fmla="*/ 2848306 w 2848306"/>
                <a:gd name="connsiteY0" fmla="*/ 0 h 257442"/>
                <a:gd name="connsiteX1" fmla="*/ 2793585 w 2848306"/>
                <a:gd name="connsiteY1" fmla="*/ 257442 h 257442"/>
                <a:gd name="connsiteX2" fmla="*/ 0 w 2848306"/>
                <a:gd name="connsiteY2" fmla="*/ 257442 h 257442"/>
                <a:gd name="connsiteX3" fmla="*/ 54720 w 2848306"/>
                <a:gd name="connsiteY3" fmla="*/ 0 h 257442"/>
                <a:gd name="connsiteX0" fmla="*/ 2848307 w 2848307"/>
                <a:gd name="connsiteY0" fmla="*/ 0 h 257442"/>
                <a:gd name="connsiteX1" fmla="*/ 2793586 w 2848307"/>
                <a:gd name="connsiteY1" fmla="*/ 257442 h 257442"/>
                <a:gd name="connsiteX2" fmla="*/ 0 w 2848307"/>
                <a:gd name="connsiteY2" fmla="*/ 257442 h 257442"/>
                <a:gd name="connsiteX3" fmla="*/ 54721 w 2848307"/>
                <a:gd name="connsiteY3" fmla="*/ 0 h 257442"/>
                <a:gd name="connsiteX0" fmla="*/ 2848307 w 2848307"/>
                <a:gd name="connsiteY0" fmla="*/ 0 h 257442"/>
                <a:gd name="connsiteX1" fmla="*/ 2793586 w 2848307"/>
                <a:gd name="connsiteY1" fmla="*/ 257442 h 257442"/>
                <a:gd name="connsiteX2" fmla="*/ 0 w 2848307"/>
                <a:gd name="connsiteY2" fmla="*/ 257442 h 257442"/>
                <a:gd name="connsiteX3" fmla="*/ 54722 w 2848307"/>
                <a:gd name="connsiteY3" fmla="*/ 0 h 257442"/>
                <a:gd name="connsiteX0" fmla="*/ 3008609 w 3008609"/>
                <a:gd name="connsiteY0" fmla="*/ 0 h 257442"/>
                <a:gd name="connsiteX1" fmla="*/ 2793586 w 3008609"/>
                <a:gd name="connsiteY1" fmla="*/ 257442 h 257442"/>
                <a:gd name="connsiteX2" fmla="*/ 0 w 3008609"/>
                <a:gd name="connsiteY2" fmla="*/ 257442 h 257442"/>
                <a:gd name="connsiteX3" fmla="*/ 54722 w 3008609"/>
                <a:gd name="connsiteY3" fmla="*/ 0 h 257442"/>
                <a:gd name="connsiteX0" fmla="*/ 3008609 w 3008609"/>
                <a:gd name="connsiteY0" fmla="*/ 0 h 257442"/>
                <a:gd name="connsiteX1" fmla="*/ 2953888 w 3008609"/>
                <a:gd name="connsiteY1" fmla="*/ 257442 h 257442"/>
                <a:gd name="connsiteX2" fmla="*/ 0 w 3008609"/>
                <a:gd name="connsiteY2" fmla="*/ 257442 h 257442"/>
                <a:gd name="connsiteX3" fmla="*/ 54722 w 3008609"/>
                <a:gd name="connsiteY3" fmla="*/ 0 h 257442"/>
                <a:gd name="connsiteX0" fmla="*/ 3008608 w 3008608"/>
                <a:gd name="connsiteY0" fmla="*/ 0 h 257442"/>
                <a:gd name="connsiteX1" fmla="*/ 2953887 w 3008608"/>
                <a:gd name="connsiteY1" fmla="*/ 257442 h 257442"/>
                <a:gd name="connsiteX2" fmla="*/ 0 w 3008608"/>
                <a:gd name="connsiteY2" fmla="*/ 257442 h 257442"/>
                <a:gd name="connsiteX3" fmla="*/ 54721 w 3008608"/>
                <a:gd name="connsiteY3" fmla="*/ 0 h 257442"/>
                <a:gd name="connsiteX0" fmla="*/ 3008608 w 3008608"/>
                <a:gd name="connsiteY0" fmla="*/ 0 h 257442"/>
                <a:gd name="connsiteX1" fmla="*/ 2953887 w 3008608"/>
                <a:gd name="connsiteY1" fmla="*/ 257442 h 257442"/>
                <a:gd name="connsiteX2" fmla="*/ 0 w 3008608"/>
                <a:gd name="connsiteY2" fmla="*/ 257442 h 257442"/>
                <a:gd name="connsiteX3" fmla="*/ 54720 w 3008608"/>
                <a:gd name="connsiteY3" fmla="*/ 0 h 257442"/>
                <a:gd name="connsiteX0" fmla="*/ 3176922 w 3176922"/>
                <a:gd name="connsiteY0" fmla="*/ 0 h 257442"/>
                <a:gd name="connsiteX1" fmla="*/ 2953887 w 3176922"/>
                <a:gd name="connsiteY1" fmla="*/ 257442 h 257442"/>
                <a:gd name="connsiteX2" fmla="*/ 0 w 3176922"/>
                <a:gd name="connsiteY2" fmla="*/ 257442 h 257442"/>
                <a:gd name="connsiteX3" fmla="*/ 54720 w 3176922"/>
                <a:gd name="connsiteY3" fmla="*/ 0 h 257442"/>
                <a:gd name="connsiteX0" fmla="*/ 3176922 w 3176922"/>
                <a:gd name="connsiteY0" fmla="*/ 0 h 257442"/>
                <a:gd name="connsiteX1" fmla="*/ 3122201 w 3176922"/>
                <a:gd name="connsiteY1" fmla="*/ 257442 h 257442"/>
                <a:gd name="connsiteX2" fmla="*/ 0 w 3176922"/>
                <a:gd name="connsiteY2" fmla="*/ 257442 h 257442"/>
                <a:gd name="connsiteX3" fmla="*/ 54720 w 3176922"/>
                <a:gd name="connsiteY3" fmla="*/ 0 h 257442"/>
                <a:gd name="connsiteX0" fmla="*/ 3176923 w 3176923"/>
                <a:gd name="connsiteY0" fmla="*/ 0 h 257442"/>
                <a:gd name="connsiteX1" fmla="*/ 3122202 w 3176923"/>
                <a:gd name="connsiteY1" fmla="*/ 257442 h 257442"/>
                <a:gd name="connsiteX2" fmla="*/ 0 w 3176923"/>
                <a:gd name="connsiteY2" fmla="*/ 257442 h 257442"/>
                <a:gd name="connsiteX3" fmla="*/ 54721 w 3176923"/>
                <a:gd name="connsiteY3" fmla="*/ 0 h 257442"/>
                <a:gd name="connsiteX0" fmla="*/ 3176923 w 3176923"/>
                <a:gd name="connsiteY0" fmla="*/ 0 h 257442"/>
                <a:gd name="connsiteX1" fmla="*/ 3122202 w 3176923"/>
                <a:gd name="connsiteY1" fmla="*/ 257442 h 257442"/>
                <a:gd name="connsiteX2" fmla="*/ 0 w 3176923"/>
                <a:gd name="connsiteY2" fmla="*/ 257442 h 257442"/>
                <a:gd name="connsiteX3" fmla="*/ 54722 w 3176923"/>
                <a:gd name="connsiteY3" fmla="*/ 0 h 257442"/>
                <a:gd name="connsiteX0" fmla="*/ 3430199 w 3430199"/>
                <a:gd name="connsiteY0" fmla="*/ 0 h 257442"/>
                <a:gd name="connsiteX1" fmla="*/ 3122202 w 3430199"/>
                <a:gd name="connsiteY1" fmla="*/ 257442 h 257442"/>
                <a:gd name="connsiteX2" fmla="*/ 0 w 3430199"/>
                <a:gd name="connsiteY2" fmla="*/ 257442 h 257442"/>
                <a:gd name="connsiteX3" fmla="*/ 54722 w 3430199"/>
                <a:gd name="connsiteY3" fmla="*/ 0 h 257442"/>
                <a:gd name="connsiteX0" fmla="*/ 3430199 w 3430199"/>
                <a:gd name="connsiteY0" fmla="*/ 0 h 257442"/>
                <a:gd name="connsiteX1" fmla="*/ 3375478 w 3430199"/>
                <a:gd name="connsiteY1" fmla="*/ 257442 h 257442"/>
                <a:gd name="connsiteX2" fmla="*/ 0 w 3430199"/>
                <a:gd name="connsiteY2" fmla="*/ 257442 h 257442"/>
                <a:gd name="connsiteX3" fmla="*/ 54722 w 3430199"/>
                <a:gd name="connsiteY3" fmla="*/ 0 h 257442"/>
                <a:gd name="connsiteX0" fmla="*/ 3430198 w 3430198"/>
                <a:gd name="connsiteY0" fmla="*/ 0 h 257442"/>
                <a:gd name="connsiteX1" fmla="*/ 3375477 w 3430198"/>
                <a:gd name="connsiteY1" fmla="*/ 257442 h 257442"/>
                <a:gd name="connsiteX2" fmla="*/ 0 w 3430198"/>
                <a:gd name="connsiteY2" fmla="*/ 257442 h 257442"/>
                <a:gd name="connsiteX3" fmla="*/ 54721 w 3430198"/>
                <a:gd name="connsiteY3" fmla="*/ 0 h 257442"/>
                <a:gd name="connsiteX0" fmla="*/ 3430198 w 3430198"/>
                <a:gd name="connsiteY0" fmla="*/ 0 h 257442"/>
                <a:gd name="connsiteX1" fmla="*/ 3375477 w 3430198"/>
                <a:gd name="connsiteY1" fmla="*/ 257442 h 257442"/>
                <a:gd name="connsiteX2" fmla="*/ 0 w 3430198"/>
                <a:gd name="connsiteY2" fmla="*/ 257442 h 257442"/>
                <a:gd name="connsiteX3" fmla="*/ 54720 w 3430198"/>
                <a:gd name="connsiteY3" fmla="*/ 0 h 257442"/>
                <a:gd name="connsiteX0" fmla="*/ 3616145 w 3616145"/>
                <a:gd name="connsiteY0" fmla="*/ 0 h 257442"/>
                <a:gd name="connsiteX1" fmla="*/ 3375477 w 3616145"/>
                <a:gd name="connsiteY1" fmla="*/ 257442 h 257442"/>
                <a:gd name="connsiteX2" fmla="*/ 0 w 3616145"/>
                <a:gd name="connsiteY2" fmla="*/ 257442 h 257442"/>
                <a:gd name="connsiteX3" fmla="*/ 54720 w 3616145"/>
                <a:gd name="connsiteY3" fmla="*/ 0 h 257442"/>
                <a:gd name="connsiteX0" fmla="*/ 3616145 w 3616145"/>
                <a:gd name="connsiteY0" fmla="*/ 0 h 257442"/>
                <a:gd name="connsiteX1" fmla="*/ 3561424 w 3616145"/>
                <a:gd name="connsiteY1" fmla="*/ 257442 h 257442"/>
                <a:gd name="connsiteX2" fmla="*/ 0 w 3616145"/>
                <a:gd name="connsiteY2" fmla="*/ 257442 h 257442"/>
                <a:gd name="connsiteX3" fmla="*/ 54720 w 3616145"/>
                <a:gd name="connsiteY3" fmla="*/ 0 h 257442"/>
                <a:gd name="connsiteX0" fmla="*/ 3616146 w 3616146"/>
                <a:gd name="connsiteY0" fmla="*/ 0 h 257442"/>
                <a:gd name="connsiteX1" fmla="*/ 3561425 w 3616146"/>
                <a:gd name="connsiteY1" fmla="*/ 257442 h 257442"/>
                <a:gd name="connsiteX2" fmla="*/ 0 w 3616146"/>
                <a:gd name="connsiteY2" fmla="*/ 257442 h 257442"/>
                <a:gd name="connsiteX3" fmla="*/ 54721 w 3616146"/>
                <a:gd name="connsiteY3" fmla="*/ 0 h 257442"/>
                <a:gd name="connsiteX0" fmla="*/ 3616146 w 3616146"/>
                <a:gd name="connsiteY0" fmla="*/ 0 h 257442"/>
                <a:gd name="connsiteX1" fmla="*/ 3561425 w 3616146"/>
                <a:gd name="connsiteY1" fmla="*/ 257442 h 257442"/>
                <a:gd name="connsiteX2" fmla="*/ 0 w 3616146"/>
                <a:gd name="connsiteY2" fmla="*/ 257442 h 257442"/>
                <a:gd name="connsiteX3" fmla="*/ 54721 w 3616146"/>
                <a:gd name="connsiteY3" fmla="*/ 0 h 257442"/>
                <a:gd name="connsiteX0" fmla="*/ 3776446 w 3776446"/>
                <a:gd name="connsiteY0" fmla="*/ 0 h 257442"/>
                <a:gd name="connsiteX1" fmla="*/ 3561425 w 3776446"/>
                <a:gd name="connsiteY1" fmla="*/ 257442 h 257442"/>
                <a:gd name="connsiteX2" fmla="*/ 0 w 3776446"/>
                <a:gd name="connsiteY2" fmla="*/ 257442 h 257442"/>
                <a:gd name="connsiteX3" fmla="*/ 54721 w 3776446"/>
                <a:gd name="connsiteY3" fmla="*/ 0 h 257442"/>
                <a:gd name="connsiteX0" fmla="*/ 3776446 w 3776446"/>
                <a:gd name="connsiteY0" fmla="*/ 0 h 257442"/>
                <a:gd name="connsiteX1" fmla="*/ 3721725 w 3776446"/>
                <a:gd name="connsiteY1" fmla="*/ 257442 h 257442"/>
                <a:gd name="connsiteX2" fmla="*/ 0 w 3776446"/>
                <a:gd name="connsiteY2" fmla="*/ 257442 h 257442"/>
                <a:gd name="connsiteX3" fmla="*/ 54721 w 3776446"/>
                <a:gd name="connsiteY3" fmla="*/ 0 h 257442"/>
                <a:gd name="connsiteX0" fmla="*/ 3776446 w 3776446"/>
                <a:gd name="connsiteY0" fmla="*/ 0 h 257442"/>
                <a:gd name="connsiteX1" fmla="*/ 3721725 w 3776446"/>
                <a:gd name="connsiteY1" fmla="*/ 257442 h 257442"/>
                <a:gd name="connsiteX2" fmla="*/ 0 w 3776446"/>
                <a:gd name="connsiteY2" fmla="*/ 257442 h 257442"/>
                <a:gd name="connsiteX3" fmla="*/ 54721 w 3776446"/>
                <a:gd name="connsiteY3" fmla="*/ 0 h 257442"/>
                <a:gd name="connsiteX0" fmla="*/ 3776446 w 3776446"/>
                <a:gd name="connsiteY0" fmla="*/ 0 h 257442"/>
                <a:gd name="connsiteX1" fmla="*/ 3721725 w 3776446"/>
                <a:gd name="connsiteY1" fmla="*/ 257442 h 257442"/>
                <a:gd name="connsiteX2" fmla="*/ 0 w 3776446"/>
                <a:gd name="connsiteY2" fmla="*/ 257442 h 257442"/>
                <a:gd name="connsiteX3" fmla="*/ 54721 w 3776446"/>
                <a:gd name="connsiteY3" fmla="*/ 0 h 257442"/>
                <a:gd name="connsiteX0" fmla="*/ 3944761 w 3944761"/>
                <a:gd name="connsiteY0" fmla="*/ 0 h 257442"/>
                <a:gd name="connsiteX1" fmla="*/ 3721725 w 3944761"/>
                <a:gd name="connsiteY1" fmla="*/ 257442 h 257442"/>
                <a:gd name="connsiteX2" fmla="*/ 0 w 3944761"/>
                <a:gd name="connsiteY2" fmla="*/ 257442 h 257442"/>
                <a:gd name="connsiteX3" fmla="*/ 54721 w 3944761"/>
                <a:gd name="connsiteY3" fmla="*/ 0 h 257442"/>
                <a:gd name="connsiteX0" fmla="*/ 3944761 w 3944761"/>
                <a:gd name="connsiteY0" fmla="*/ 0 h 257442"/>
                <a:gd name="connsiteX1" fmla="*/ 3890040 w 3944761"/>
                <a:gd name="connsiteY1" fmla="*/ 257442 h 257442"/>
                <a:gd name="connsiteX2" fmla="*/ 0 w 3944761"/>
                <a:gd name="connsiteY2" fmla="*/ 257442 h 257442"/>
                <a:gd name="connsiteX3" fmla="*/ 54721 w 3944761"/>
                <a:gd name="connsiteY3" fmla="*/ 0 h 257442"/>
                <a:gd name="connsiteX0" fmla="*/ 3944761 w 3944761"/>
                <a:gd name="connsiteY0" fmla="*/ 0 h 257442"/>
                <a:gd name="connsiteX1" fmla="*/ 3890040 w 3944761"/>
                <a:gd name="connsiteY1" fmla="*/ 257442 h 257442"/>
                <a:gd name="connsiteX2" fmla="*/ 0 w 3944761"/>
                <a:gd name="connsiteY2" fmla="*/ 257442 h 257442"/>
                <a:gd name="connsiteX3" fmla="*/ 54721 w 3944761"/>
                <a:gd name="connsiteY3" fmla="*/ 0 h 257442"/>
                <a:gd name="connsiteX0" fmla="*/ 3944761 w 3944761"/>
                <a:gd name="connsiteY0" fmla="*/ 0 h 257442"/>
                <a:gd name="connsiteX1" fmla="*/ 3890040 w 3944761"/>
                <a:gd name="connsiteY1" fmla="*/ 257442 h 257442"/>
                <a:gd name="connsiteX2" fmla="*/ 0 w 3944761"/>
                <a:gd name="connsiteY2" fmla="*/ 257442 h 257442"/>
                <a:gd name="connsiteX3" fmla="*/ 54721 w 3944761"/>
                <a:gd name="connsiteY3" fmla="*/ 0 h 257442"/>
                <a:gd name="connsiteX0" fmla="*/ 934771 w 3890040"/>
                <a:gd name="connsiteY0" fmla="*/ 0 h 257442"/>
                <a:gd name="connsiteX1" fmla="*/ 3890040 w 3890040"/>
                <a:gd name="connsiteY1" fmla="*/ 257442 h 257442"/>
                <a:gd name="connsiteX2" fmla="*/ 0 w 3890040"/>
                <a:gd name="connsiteY2" fmla="*/ 257442 h 257442"/>
                <a:gd name="connsiteX3" fmla="*/ 54721 w 3890040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54721 w 934771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1259987 w 1259987"/>
                <a:gd name="connsiteY0" fmla="*/ 0 h 257442"/>
                <a:gd name="connsiteX1" fmla="*/ 880049 w 1259987"/>
                <a:gd name="connsiteY1" fmla="*/ 257442 h 257442"/>
                <a:gd name="connsiteX2" fmla="*/ 0 w 1259987"/>
                <a:gd name="connsiteY2" fmla="*/ 257442 h 257442"/>
                <a:gd name="connsiteX3" fmla="*/ 54720 w 1259987"/>
                <a:gd name="connsiteY3" fmla="*/ 0 h 257442"/>
                <a:gd name="connsiteX0" fmla="*/ 1259987 w 1259987"/>
                <a:gd name="connsiteY0" fmla="*/ 0 h 257442"/>
                <a:gd name="connsiteX1" fmla="*/ 1205266 w 1259987"/>
                <a:gd name="connsiteY1" fmla="*/ 257442 h 257442"/>
                <a:gd name="connsiteX2" fmla="*/ 0 w 1259987"/>
                <a:gd name="connsiteY2" fmla="*/ 257442 h 257442"/>
                <a:gd name="connsiteX3" fmla="*/ 54720 w 1259987"/>
                <a:gd name="connsiteY3" fmla="*/ 0 h 257442"/>
                <a:gd name="connsiteX0" fmla="*/ 1259988 w 1259988"/>
                <a:gd name="connsiteY0" fmla="*/ 0 h 257442"/>
                <a:gd name="connsiteX1" fmla="*/ 1205267 w 1259988"/>
                <a:gd name="connsiteY1" fmla="*/ 257442 h 257442"/>
                <a:gd name="connsiteX2" fmla="*/ 0 w 1259988"/>
                <a:gd name="connsiteY2" fmla="*/ 257442 h 257442"/>
                <a:gd name="connsiteX3" fmla="*/ 54721 w 1259988"/>
                <a:gd name="connsiteY3" fmla="*/ 0 h 257442"/>
                <a:gd name="connsiteX0" fmla="*/ 1259988 w 1259988"/>
                <a:gd name="connsiteY0" fmla="*/ 0 h 257442"/>
                <a:gd name="connsiteX1" fmla="*/ 1205267 w 1259988"/>
                <a:gd name="connsiteY1" fmla="*/ 257442 h 257442"/>
                <a:gd name="connsiteX2" fmla="*/ 0 w 1259988"/>
                <a:gd name="connsiteY2" fmla="*/ 257442 h 257442"/>
                <a:gd name="connsiteX3" fmla="*/ 54721 w 1259988"/>
                <a:gd name="connsiteY3" fmla="*/ 0 h 257442"/>
                <a:gd name="connsiteX0" fmla="*/ 1437921 w 1437921"/>
                <a:gd name="connsiteY0" fmla="*/ 0 h 257442"/>
                <a:gd name="connsiteX1" fmla="*/ 1205267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437921 w 1437921"/>
                <a:gd name="connsiteY0" fmla="*/ 0 h 257442"/>
                <a:gd name="connsiteX1" fmla="*/ 1383200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437921 w 1437921"/>
                <a:gd name="connsiteY0" fmla="*/ 0 h 257442"/>
                <a:gd name="connsiteX1" fmla="*/ 1383200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437921 w 1437921"/>
                <a:gd name="connsiteY0" fmla="*/ 0 h 257442"/>
                <a:gd name="connsiteX1" fmla="*/ 1383200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598221 w 1598221"/>
                <a:gd name="connsiteY0" fmla="*/ 0 h 257442"/>
                <a:gd name="connsiteX1" fmla="*/ 1383200 w 1598221"/>
                <a:gd name="connsiteY1" fmla="*/ 257442 h 257442"/>
                <a:gd name="connsiteX2" fmla="*/ 0 w 1598221"/>
                <a:gd name="connsiteY2" fmla="*/ 257442 h 257442"/>
                <a:gd name="connsiteX3" fmla="*/ 54721 w 1598221"/>
                <a:gd name="connsiteY3" fmla="*/ 0 h 257442"/>
                <a:gd name="connsiteX0" fmla="*/ 1598221 w 1598221"/>
                <a:gd name="connsiteY0" fmla="*/ 0 h 257442"/>
                <a:gd name="connsiteX1" fmla="*/ 1543500 w 1598221"/>
                <a:gd name="connsiteY1" fmla="*/ 257442 h 257442"/>
                <a:gd name="connsiteX2" fmla="*/ 0 w 1598221"/>
                <a:gd name="connsiteY2" fmla="*/ 257442 h 257442"/>
                <a:gd name="connsiteX3" fmla="*/ 54721 w 1598221"/>
                <a:gd name="connsiteY3" fmla="*/ 0 h 257442"/>
                <a:gd name="connsiteX0" fmla="*/ 1598221 w 1598221"/>
                <a:gd name="connsiteY0" fmla="*/ 0 h 257442"/>
                <a:gd name="connsiteX1" fmla="*/ 1543500 w 1598221"/>
                <a:gd name="connsiteY1" fmla="*/ 257442 h 257442"/>
                <a:gd name="connsiteX2" fmla="*/ 0 w 1598221"/>
                <a:gd name="connsiteY2" fmla="*/ 257442 h 257442"/>
                <a:gd name="connsiteX3" fmla="*/ 54721 w 1598221"/>
                <a:gd name="connsiteY3" fmla="*/ 0 h 257442"/>
                <a:gd name="connsiteX0" fmla="*/ 1598221 w 1598221"/>
                <a:gd name="connsiteY0" fmla="*/ 0 h 257442"/>
                <a:gd name="connsiteX1" fmla="*/ 1543500 w 1598221"/>
                <a:gd name="connsiteY1" fmla="*/ 257442 h 257442"/>
                <a:gd name="connsiteX2" fmla="*/ 0 w 1598221"/>
                <a:gd name="connsiteY2" fmla="*/ 257442 h 257442"/>
                <a:gd name="connsiteX3" fmla="*/ 54721 w 1598221"/>
                <a:gd name="connsiteY3" fmla="*/ 0 h 257442"/>
                <a:gd name="connsiteX0" fmla="*/ 1851496 w 1851496"/>
                <a:gd name="connsiteY0" fmla="*/ 0 h 257442"/>
                <a:gd name="connsiteX1" fmla="*/ 1543500 w 1851496"/>
                <a:gd name="connsiteY1" fmla="*/ 257442 h 257442"/>
                <a:gd name="connsiteX2" fmla="*/ 0 w 1851496"/>
                <a:gd name="connsiteY2" fmla="*/ 257442 h 257442"/>
                <a:gd name="connsiteX3" fmla="*/ 54721 w 1851496"/>
                <a:gd name="connsiteY3" fmla="*/ 0 h 257442"/>
                <a:gd name="connsiteX0" fmla="*/ 1851496 w 1851496"/>
                <a:gd name="connsiteY0" fmla="*/ 0 h 257442"/>
                <a:gd name="connsiteX1" fmla="*/ 1796774 w 1851496"/>
                <a:gd name="connsiteY1" fmla="*/ 257442 h 257442"/>
                <a:gd name="connsiteX2" fmla="*/ 0 w 1851496"/>
                <a:gd name="connsiteY2" fmla="*/ 257442 h 257442"/>
                <a:gd name="connsiteX3" fmla="*/ 54721 w 1851496"/>
                <a:gd name="connsiteY3" fmla="*/ 0 h 257442"/>
                <a:gd name="connsiteX0" fmla="*/ 1851497 w 1851497"/>
                <a:gd name="connsiteY0" fmla="*/ 0 h 257442"/>
                <a:gd name="connsiteX1" fmla="*/ 1796775 w 1851497"/>
                <a:gd name="connsiteY1" fmla="*/ 257442 h 257442"/>
                <a:gd name="connsiteX2" fmla="*/ 0 w 1851497"/>
                <a:gd name="connsiteY2" fmla="*/ 257442 h 257442"/>
                <a:gd name="connsiteX3" fmla="*/ 54722 w 1851497"/>
                <a:gd name="connsiteY3" fmla="*/ 0 h 257442"/>
                <a:gd name="connsiteX0" fmla="*/ 1851497 w 1851497"/>
                <a:gd name="connsiteY0" fmla="*/ 0 h 257442"/>
                <a:gd name="connsiteX1" fmla="*/ 1796775 w 1851497"/>
                <a:gd name="connsiteY1" fmla="*/ 257442 h 257442"/>
                <a:gd name="connsiteX2" fmla="*/ 0 w 1851497"/>
                <a:gd name="connsiteY2" fmla="*/ 257442 h 257442"/>
                <a:gd name="connsiteX3" fmla="*/ 54722 w 1851497"/>
                <a:gd name="connsiteY3" fmla="*/ 0 h 257442"/>
                <a:gd name="connsiteX0" fmla="*/ 2014106 w 2014106"/>
                <a:gd name="connsiteY0" fmla="*/ 0 h 257442"/>
                <a:gd name="connsiteX1" fmla="*/ 1796775 w 2014106"/>
                <a:gd name="connsiteY1" fmla="*/ 257442 h 257442"/>
                <a:gd name="connsiteX2" fmla="*/ 0 w 2014106"/>
                <a:gd name="connsiteY2" fmla="*/ 257442 h 257442"/>
                <a:gd name="connsiteX3" fmla="*/ 54722 w 2014106"/>
                <a:gd name="connsiteY3" fmla="*/ 0 h 257442"/>
                <a:gd name="connsiteX0" fmla="*/ 2014106 w 2014106"/>
                <a:gd name="connsiteY0" fmla="*/ 0 h 257442"/>
                <a:gd name="connsiteX1" fmla="*/ 1959384 w 2014106"/>
                <a:gd name="connsiteY1" fmla="*/ 257442 h 257442"/>
                <a:gd name="connsiteX2" fmla="*/ 0 w 2014106"/>
                <a:gd name="connsiteY2" fmla="*/ 257442 h 257442"/>
                <a:gd name="connsiteX3" fmla="*/ 54722 w 2014106"/>
                <a:gd name="connsiteY3" fmla="*/ 0 h 257442"/>
                <a:gd name="connsiteX0" fmla="*/ 2014106 w 2014106"/>
                <a:gd name="connsiteY0" fmla="*/ 0 h 257442"/>
                <a:gd name="connsiteX1" fmla="*/ 1959384 w 2014106"/>
                <a:gd name="connsiteY1" fmla="*/ 257442 h 257442"/>
                <a:gd name="connsiteX2" fmla="*/ 0 w 2014106"/>
                <a:gd name="connsiteY2" fmla="*/ 257442 h 257442"/>
                <a:gd name="connsiteX3" fmla="*/ 54722 w 2014106"/>
                <a:gd name="connsiteY3" fmla="*/ 0 h 257442"/>
                <a:gd name="connsiteX0" fmla="*/ 2014106 w 2014106"/>
                <a:gd name="connsiteY0" fmla="*/ 0 h 257442"/>
                <a:gd name="connsiteX1" fmla="*/ 1959384 w 2014106"/>
                <a:gd name="connsiteY1" fmla="*/ 257442 h 257442"/>
                <a:gd name="connsiteX2" fmla="*/ 0 w 2014106"/>
                <a:gd name="connsiteY2" fmla="*/ 257442 h 257442"/>
                <a:gd name="connsiteX3" fmla="*/ 54721 w 2014106"/>
                <a:gd name="connsiteY3" fmla="*/ 0 h 257442"/>
                <a:gd name="connsiteX0" fmla="*/ 2182420 w 2182420"/>
                <a:gd name="connsiteY0" fmla="*/ 0 h 257442"/>
                <a:gd name="connsiteX1" fmla="*/ 1959384 w 2182420"/>
                <a:gd name="connsiteY1" fmla="*/ 257442 h 257442"/>
                <a:gd name="connsiteX2" fmla="*/ 0 w 2182420"/>
                <a:gd name="connsiteY2" fmla="*/ 257442 h 257442"/>
                <a:gd name="connsiteX3" fmla="*/ 54721 w 2182420"/>
                <a:gd name="connsiteY3" fmla="*/ 0 h 257442"/>
                <a:gd name="connsiteX0" fmla="*/ 2182420 w 2182420"/>
                <a:gd name="connsiteY0" fmla="*/ 0 h 257442"/>
                <a:gd name="connsiteX1" fmla="*/ 2127699 w 2182420"/>
                <a:gd name="connsiteY1" fmla="*/ 257442 h 257442"/>
                <a:gd name="connsiteX2" fmla="*/ 0 w 2182420"/>
                <a:gd name="connsiteY2" fmla="*/ 257442 h 257442"/>
                <a:gd name="connsiteX3" fmla="*/ 54721 w 2182420"/>
                <a:gd name="connsiteY3" fmla="*/ 0 h 257442"/>
                <a:gd name="connsiteX0" fmla="*/ 2182420 w 2182420"/>
                <a:gd name="connsiteY0" fmla="*/ 0 h 257442"/>
                <a:gd name="connsiteX1" fmla="*/ 2127699 w 2182420"/>
                <a:gd name="connsiteY1" fmla="*/ 257442 h 257442"/>
                <a:gd name="connsiteX2" fmla="*/ 0 w 2182420"/>
                <a:gd name="connsiteY2" fmla="*/ 257442 h 257442"/>
                <a:gd name="connsiteX3" fmla="*/ 54721 w 2182420"/>
                <a:gd name="connsiteY3" fmla="*/ 0 h 257442"/>
                <a:gd name="connsiteX0" fmla="*/ 2182420 w 2182420"/>
                <a:gd name="connsiteY0" fmla="*/ 0 h 257442"/>
                <a:gd name="connsiteX1" fmla="*/ 2127699 w 2182420"/>
                <a:gd name="connsiteY1" fmla="*/ 257442 h 257442"/>
                <a:gd name="connsiteX2" fmla="*/ 0 w 2182420"/>
                <a:gd name="connsiteY2" fmla="*/ 257442 h 257442"/>
                <a:gd name="connsiteX3" fmla="*/ 54721 w 2182420"/>
                <a:gd name="connsiteY3" fmla="*/ 0 h 257442"/>
                <a:gd name="connsiteX0" fmla="*/ 2350735 w 2350735"/>
                <a:gd name="connsiteY0" fmla="*/ 0 h 257442"/>
                <a:gd name="connsiteX1" fmla="*/ 2127699 w 2350735"/>
                <a:gd name="connsiteY1" fmla="*/ 257442 h 257442"/>
                <a:gd name="connsiteX2" fmla="*/ 0 w 2350735"/>
                <a:gd name="connsiteY2" fmla="*/ 257442 h 257442"/>
                <a:gd name="connsiteX3" fmla="*/ 54721 w 2350735"/>
                <a:gd name="connsiteY3" fmla="*/ 0 h 257442"/>
                <a:gd name="connsiteX0" fmla="*/ 2350735 w 2350735"/>
                <a:gd name="connsiteY0" fmla="*/ 0 h 257442"/>
                <a:gd name="connsiteX1" fmla="*/ 2296014 w 2350735"/>
                <a:gd name="connsiteY1" fmla="*/ 257442 h 257442"/>
                <a:gd name="connsiteX2" fmla="*/ 0 w 2350735"/>
                <a:gd name="connsiteY2" fmla="*/ 257442 h 257442"/>
                <a:gd name="connsiteX3" fmla="*/ 54721 w 2350735"/>
                <a:gd name="connsiteY3" fmla="*/ 0 h 257442"/>
                <a:gd name="connsiteX0" fmla="*/ 2350735 w 2350735"/>
                <a:gd name="connsiteY0" fmla="*/ 0 h 257442"/>
                <a:gd name="connsiteX1" fmla="*/ 2296014 w 2350735"/>
                <a:gd name="connsiteY1" fmla="*/ 257442 h 257442"/>
                <a:gd name="connsiteX2" fmla="*/ 0 w 2350735"/>
                <a:gd name="connsiteY2" fmla="*/ 257442 h 257442"/>
                <a:gd name="connsiteX3" fmla="*/ 54721 w 2350735"/>
                <a:gd name="connsiteY3" fmla="*/ 0 h 257442"/>
                <a:gd name="connsiteX0" fmla="*/ 2350735 w 2350735"/>
                <a:gd name="connsiteY0" fmla="*/ 0 h 257442"/>
                <a:gd name="connsiteX1" fmla="*/ 2296014 w 2350735"/>
                <a:gd name="connsiteY1" fmla="*/ 257442 h 257442"/>
                <a:gd name="connsiteX2" fmla="*/ 0 w 2350735"/>
                <a:gd name="connsiteY2" fmla="*/ 257442 h 257442"/>
                <a:gd name="connsiteX3" fmla="*/ 54721 w 2350735"/>
                <a:gd name="connsiteY3" fmla="*/ 0 h 257442"/>
                <a:gd name="connsiteX0" fmla="*/ 2612025 w 2612025"/>
                <a:gd name="connsiteY0" fmla="*/ 0 h 257442"/>
                <a:gd name="connsiteX1" fmla="*/ 2296014 w 2612025"/>
                <a:gd name="connsiteY1" fmla="*/ 257442 h 257442"/>
                <a:gd name="connsiteX2" fmla="*/ 0 w 2612025"/>
                <a:gd name="connsiteY2" fmla="*/ 257442 h 257442"/>
                <a:gd name="connsiteX3" fmla="*/ 54721 w 2612025"/>
                <a:gd name="connsiteY3" fmla="*/ 0 h 257442"/>
                <a:gd name="connsiteX0" fmla="*/ 2612025 w 2612025"/>
                <a:gd name="connsiteY0" fmla="*/ 0 h 257442"/>
                <a:gd name="connsiteX1" fmla="*/ 2557304 w 2612025"/>
                <a:gd name="connsiteY1" fmla="*/ 257442 h 257442"/>
                <a:gd name="connsiteX2" fmla="*/ 0 w 2612025"/>
                <a:gd name="connsiteY2" fmla="*/ 257442 h 257442"/>
                <a:gd name="connsiteX3" fmla="*/ 54721 w 2612025"/>
                <a:gd name="connsiteY3" fmla="*/ 0 h 257442"/>
                <a:gd name="connsiteX0" fmla="*/ 2612025 w 2612025"/>
                <a:gd name="connsiteY0" fmla="*/ 0 h 257442"/>
                <a:gd name="connsiteX1" fmla="*/ 2557304 w 2612025"/>
                <a:gd name="connsiteY1" fmla="*/ 257442 h 257442"/>
                <a:gd name="connsiteX2" fmla="*/ 0 w 2612025"/>
                <a:gd name="connsiteY2" fmla="*/ 257442 h 257442"/>
                <a:gd name="connsiteX3" fmla="*/ 54721 w 2612025"/>
                <a:gd name="connsiteY3" fmla="*/ 0 h 257442"/>
                <a:gd name="connsiteX0" fmla="*/ 2612025 w 2612025"/>
                <a:gd name="connsiteY0" fmla="*/ 0 h 257442"/>
                <a:gd name="connsiteX1" fmla="*/ 2557304 w 2612025"/>
                <a:gd name="connsiteY1" fmla="*/ 257442 h 257442"/>
                <a:gd name="connsiteX2" fmla="*/ 0 w 2612025"/>
                <a:gd name="connsiteY2" fmla="*/ 257442 h 257442"/>
                <a:gd name="connsiteX3" fmla="*/ 54721 w 2612025"/>
                <a:gd name="connsiteY3" fmla="*/ 0 h 257442"/>
                <a:gd name="connsiteX0" fmla="*/ 2780340 w 2780340"/>
                <a:gd name="connsiteY0" fmla="*/ 0 h 257442"/>
                <a:gd name="connsiteX1" fmla="*/ 2557304 w 2780340"/>
                <a:gd name="connsiteY1" fmla="*/ 257442 h 257442"/>
                <a:gd name="connsiteX2" fmla="*/ 0 w 2780340"/>
                <a:gd name="connsiteY2" fmla="*/ 257442 h 257442"/>
                <a:gd name="connsiteX3" fmla="*/ 54721 w 2780340"/>
                <a:gd name="connsiteY3" fmla="*/ 0 h 257442"/>
                <a:gd name="connsiteX0" fmla="*/ 2780340 w 2780340"/>
                <a:gd name="connsiteY0" fmla="*/ 0 h 257442"/>
                <a:gd name="connsiteX1" fmla="*/ 2725618 w 2780340"/>
                <a:gd name="connsiteY1" fmla="*/ 257442 h 257442"/>
                <a:gd name="connsiteX2" fmla="*/ 0 w 2780340"/>
                <a:gd name="connsiteY2" fmla="*/ 257442 h 257442"/>
                <a:gd name="connsiteX3" fmla="*/ 54721 w 2780340"/>
                <a:gd name="connsiteY3" fmla="*/ 0 h 257442"/>
                <a:gd name="connsiteX0" fmla="*/ 2780341 w 2780341"/>
                <a:gd name="connsiteY0" fmla="*/ 0 h 257442"/>
                <a:gd name="connsiteX1" fmla="*/ 2725619 w 2780341"/>
                <a:gd name="connsiteY1" fmla="*/ 257442 h 257442"/>
                <a:gd name="connsiteX2" fmla="*/ 0 w 2780341"/>
                <a:gd name="connsiteY2" fmla="*/ 257442 h 257442"/>
                <a:gd name="connsiteX3" fmla="*/ 54722 w 2780341"/>
                <a:gd name="connsiteY3" fmla="*/ 0 h 257442"/>
                <a:gd name="connsiteX0" fmla="*/ 2780341 w 2780341"/>
                <a:gd name="connsiteY0" fmla="*/ 0 h 257442"/>
                <a:gd name="connsiteX1" fmla="*/ 2725619 w 2780341"/>
                <a:gd name="connsiteY1" fmla="*/ 257442 h 257442"/>
                <a:gd name="connsiteX2" fmla="*/ 0 w 2780341"/>
                <a:gd name="connsiteY2" fmla="*/ 257442 h 257442"/>
                <a:gd name="connsiteX3" fmla="*/ 54722 w 2780341"/>
                <a:gd name="connsiteY3" fmla="*/ 0 h 257442"/>
                <a:gd name="connsiteX0" fmla="*/ 2948657 w 2948657"/>
                <a:gd name="connsiteY0" fmla="*/ 0 h 257442"/>
                <a:gd name="connsiteX1" fmla="*/ 2725619 w 2948657"/>
                <a:gd name="connsiteY1" fmla="*/ 257442 h 257442"/>
                <a:gd name="connsiteX2" fmla="*/ 0 w 2948657"/>
                <a:gd name="connsiteY2" fmla="*/ 257442 h 257442"/>
                <a:gd name="connsiteX3" fmla="*/ 54722 w 2948657"/>
                <a:gd name="connsiteY3" fmla="*/ 0 h 257442"/>
                <a:gd name="connsiteX0" fmla="*/ 2948657 w 2948657"/>
                <a:gd name="connsiteY0" fmla="*/ 0 h 257442"/>
                <a:gd name="connsiteX1" fmla="*/ 2893936 w 2948657"/>
                <a:gd name="connsiteY1" fmla="*/ 257442 h 257442"/>
                <a:gd name="connsiteX2" fmla="*/ 0 w 2948657"/>
                <a:gd name="connsiteY2" fmla="*/ 257442 h 257442"/>
                <a:gd name="connsiteX3" fmla="*/ 54722 w 2948657"/>
                <a:gd name="connsiteY3" fmla="*/ 0 h 257442"/>
                <a:gd name="connsiteX0" fmla="*/ 2948656 w 2948656"/>
                <a:gd name="connsiteY0" fmla="*/ 0 h 257442"/>
                <a:gd name="connsiteX1" fmla="*/ 2893935 w 2948656"/>
                <a:gd name="connsiteY1" fmla="*/ 257442 h 257442"/>
                <a:gd name="connsiteX2" fmla="*/ 0 w 2948656"/>
                <a:gd name="connsiteY2" fmla="*/ 257442 h 257442"/>
                <a:gd name="connsiteX3" fmla="*/ 54721 w 2948656"/>
                <a:gd name="connsiteY3" fmla="*/ 0 h 257442"/>
                <a:gd name="connsiteX0" fmla="*/ 2948656 w 2948656"/>
                <a:gd name="connsiteY0" fmla="*/ 0 h 257442"/>
                <a:gd name="connsiteX1" fmla="*/ 2893935 w 2948656"/>
                <a:gd name="connsiteY1" fmla="*/ 257442 h 257442"/>
                <a:gd name="connsiteX2" fmla="*/ 0 w 2948656"/>
                <a:gd name="connsiteY2" fmla="*/ 257442 h 257442"/>
                <a:gd name="connsiteX3" fmla="*/ 54720 w 2948656"/>
                <a:gd name="connsiteY3" fmla="*/ 0 h 257442"/>
                <a:gd name="connsiteX0" fmla="*/ 3108955 w 3108955"/>
                <a:gd name="connsiteY0" fmla="*/ 0 h 257442"/>
                <a:gd name="connsiteX1" fmla="*/ 2893935 w 3108955"/>
                <a:gd name="connsiteY1" fmla="*/ 257442 h 257442"/>
                <a:gd name="connsiteX2" fmla="*/ 0 w 3108955"/>
                <a:gd name="connsiteY2" fmla="*/ 257442 h 257442"/>
                <a:gd name="connsiteX3" fmla="*/ 54720 w 3108955"/>
                <a:gd name="connsiteY3" fmla="*/ 0 h 257442"/>
                <a:gd name="connsiteX0" fmla="*/ 3108955 w 3108955"/>
                <a:gd name="connsiteY0" fmla="*/ 0 h 257442"/>
                <a:gd name="connsiteX1" fmla="*/ 3054234 w 3108955"/>
                <a:gd name="connsiteY1" fmla="*/ 257442 h 257442"/>
                <a:gd name="connsiteX2" fmla="*/ 0 w 3108955"/>
                <a:gd name="connsiteY2" fmla="*/ 257442 h 257442"/>
                <a:gd name="connsiteX3" fmla="*/ 54720 w 3108955"/>
                <a:gd name="connsiteY3" fmla="*/ 0 h 257442"/>
                <a:gd name="connsiteX0" fmla="*/ 3108956 w 3108956"/>
                <a:gd name="connsiteY0" fmla="*/ 0 h 257442"/>
                <a:gd name="connsiteX1" fmla="*/ 3054235 w 3108956"/>
                <a:gd name="connsiteY1" fmla="*/ 257442 h 257442"/>
                <a:gd name="connsiteX2" fmla="*/ 0 w 3108956"/>
                <a:gd name="connsiteY2" fmla="*/ 257442 h 257442"/>
                <a:gd name="connsiteX3" fmla="*/ 54721 w 3108956"/>
                <a:gd name="connsiteY3" fmla="*/ 0 h 257442"/>
                <a:gd name="connsiteX0" fmla="*/ 3108956 w 3108956"/>
                <a:gd name="connsiteY0" fmla="*/ 0 h 257442"/>
                <a:gd name="connsiteX1" fmla="*/ 3054235 w 3108956"/>
                <a:gd name="connsiteY1" fmla="*/ 257442 h 257442"/>
                <a:gd name="connsiteX2" fmla="*/ 0 w 3108956"/>
                <a:gd name="connsiteY2" fmla="*/ 257442 h 257442"/>
                <a:gd name="connsiteX3" fmla="*/ 54721 w 3108956"/>
                <a:gd name="connsiteY3" fmla="*/ 0 h 257442"/>
                <a:gd name="connsiteX0" fmla="*/ 3277271 w 3277271"/>
                <a:gd name="connsiteY0" fmla="*/ 0 h 257442"/>
                <a:gd name="connsiteX1" fmla="*/ 3054235 w 3277271"/>
                <a:gd name="connsiteY1" fmla="*/ 257442 h 257442"/>
                <a:gd name="connsiteX2" fmla="*/ 0 w 3277271"/>
                <a:gd name="connsiteY2" fmla="*/ 257442 h 257442"/>
                <a:gd name="connsiteX3" fmla="*/ 54721 w 3277271"/>
                <a:gd name="connsiteY3" fmla="*/ 0 h 257442"/>
                <a:gd name="connsiteX0" fmla="*/ 3277271 w 3277271"/>
                <a:gd name="connsiteY0" fmla="*/ 0 h 257442"/>
                <a:gd name="connsiteX1" fmla="*/ 3222550 w 3277271"/>
                <a:gd name="connsiteY1" fmla="*/ 257442 h 257442"/>
                <a:gd name="connsiteX2" fmla="*/ 0 w 3277271"/>
                <a:gd name="connsiteY2" fmla="*/ 257442 h 257442"/>
                <a:gd name="connsiteX3" fmla="*/ 54721 w 3277271"/>
                <a:gd name="connsiteY3" fmla="*/ 0 h 257442"/>
                <a:gd name="connsiteX0" fmla="*/ 3277271 w 3277271"/>
                <a:gd name="connsiteY0" fmla="*/ 0 h 257442"/>
                <a:gd name="connsiteX1" fmla="*/ 3222550 w 3277271"/>
                <a:gd name="connsiteY1" fmla="*/ 257442 h 257442"/>
                <a:gd name="connsiteX2" fmla="*/ 0 w 3277271"/>
                <a:gd name="connsiteY2" fmla="*/ 257442 h 257442"/>
                <a:gd name="connsiteX3" fmla="*/ 54721 w 3277271"/>
                <a:gd name="connsiteY3" fmla="*/ 0 h 257442"/>
                <a:gd name="connsiteX0" fmla="*/ 3277271 w 3277271"/>
                <a:gd name="connsiteY0" fmla="*/ 0 h 257442"/>
                <a:gd name="connsiteX1" fmla="*/ 3222550 w 3277271"/>
                <a:gd name="connsiteY1" fmla="*/ 257442 h 257442"/>
                <a:gd name="connsiteX2" fmla="*/ 0 w 3277271"/>
                <a:gd name="connsiteY2" fmla="*/ 257442 h 257442"/>
                <a:gd name="connsiteX3" fmla="*/ 54721 w 3277271"/>
                <a:gd name="connsiteY3" fmla="*/ 0 h 257442"/>
                <a:gd name="connsiteX0" fmla="*/ 3445587 w 3445587"/>
                <a:gd name="connsiteY0" fmla="*/ 0 h 257442"/>
                <a:gd name="connsiteX1" fmla="*/ 3222550 w 3445587"/>
                <a:gd name="connsiteY1" fmla="*/ 257442 h 257442"/>
                <a:gd name="connsiteX2" fmla="*/ 0 w 3445587"/>
                <a:gd name="connsiteY2" fmla="*/ 257442 h 257442"/>
                <a:gd name="connsiteX3" fmla="*/ 54721 w 3445587"/>
                <a:gd name="connsiteY3" fmla="*/ 0 h 257442"/>
                <a:gd name="connsiteX0" fmla="*/ 3445587 w 3445587"/>
                <a:gd name="connsiteY0" fmla="*/ 0 h 257442"/>
                <a:gd name="connsiteX1" fmla="*/ 3390866 w 3445587"/>
                <a:gd name="connsiteY1" fmla="*/ 257442 h 257442"/>
                <a:gd name="connsiteX2" fmla="*/ 0 w 3445587"/>
                <a:gd name="connsiteY2" fmla="*/ 257442 h 257442"/>
                <a:gd name="connsiteX3" fmla="*/ 54721 w 3445587"/>
                <a:gd name="connsiteY3" fmla="*/ 0 h 257442"/>
                <a:gd name="connsiteX0" fmla="*/ 3445587 w 3445587"/>
                <a:gd name="connsiteY0" fmla="*/ 0 h 257442"/>
                <a:gd name="connsiteX1" fmla="*/ 3390866 w 3445587"/>
                <a:gd name="connsiteY1" fmla="*/ 257442 h 257442"/>
                <a:gd name="connsiteX2" fmla="*/ 0 w 3445587"/>
                <a:gd name="connsiteY2" fmla="*/ 257442 h 257442"/>
                <a:gd name="connsiteX3" fmla="*/ 54721 w 3445587"/>
                <a:gd name="connsiteY3" fmla="*/ 0 h 257442"/>
                <a:gd name="connsiteX0" fmla="*/ 3445587 w 3445587"/>
                <a:gd name="connsiteY0" fmla="*/ 0 h 257442"/>
                <a:gd name="connsiteX1" fmla="*/ 3390866 w 3445587"/>
                <a:gd name="connsiteY1" fmla="*/ 257442 h 257442"/>
                <a:gd name="connsiteX2" fmla="*/ 0 w 3445587"/>
                <a:gd name="connsiteY2" fmla="*/ 257442 h 257442"/>
                <a:gd name="connsiteX3" fmla="*/ 54721 w 3445587"/>
                <a:gd name="connsiteY3" fmla="*/ 0 h 257442"/>
                <a:gd name="connsiteX0" fmla="*/ 3613901 w 3613901"/>
                <a:gd name="connsiteY0" fmla="*/ 0 h 257442"/>
                <a:gd name="connsiteX1" fmla="*/ 3390866 w 3613901"/>
                <a:gd name="connsiteY1" fmla="*/ 257442 h 257442"/>
                <a:gd name="connsiteX2" fmla="*/ 0 w 3613901"/>
                <a:gd name="connsiteY2" fmla="*/ 257442 h 257442"/>
                <a:gd name="connsiteX3" fmla="*/ 54721 w 3613901"/>
                <a:gd name="connsiteY3" fmla="*/ 0 h 257442"/>
                <a:gd name="connsiteX0" fmla="*/ 3613901 w 3613901"/>
                <a:gd name="connsiteY0" fmla="*/ 0 h 257442"/>
                <a:gd name="connsiteX1" fmla="*/ 3559180 w 3613901"/>
                <a:gd name="connsiteY1" fmla="*/ 257442 h 257442"/>
                <a:gd name="connsiteX2" fmla="*/ 0 w 3613901"/>
                <a:gd name="connsiteY2" fmla="*/ 257442 h 257442"/>
                <a:gd name="connsiteX3" fmla="*/ 54721 w 3613901"/>
                <a:gd name="connsiteY3" fmla="*/ 0 h 257442"/>
                <a:gd name="connsiteX0" fmla="*/ 3613901 w 3613901"/>
                <a:gd name="connsiteY0" fmla="*/ 0 h 257442"/>
                <a:gd name="connsiteX1" fmla="*/ 3559180 w 3613901"/>
                <a:gd name="connsiteY1" fmla="*/ 257442 h 257442"/>
                <a:gd name="connsiteX2" fmla="*/ 0 w 3613901"/>
                <a:gd name="connsiteY2" fmla="*/ 257442 h 257442"/>
                <a:gd name="connsiteX3" fmla="*/ 54721 w 3613901"/>
                <a:gd name="connsiteY3" fmla="*/ 0 h 257442"/>
                <a:gd name="connsiteX0" fmla="*/ 3613901 w 3613901"/>
                <a:gd name="connsiteY0" fmla="*/ 0 h 257442"/>
                <a:gd name="connsiteX1" fmla="*/ 3559180 w 3613901"/>
                <a:gd name="connsiteY1" fmla="*/ 257442 h 257442"/>
                <a:gd name="connsiteX2" fmla="*/ 0 w 3613901"/>
                <a:gd name="connsiteY2" fmla="*/ 257442 h 257442"/>
                <a:gd name="connsiteX3" fmla="*/ 54721 w 3613901"/>
                <a:gd name="connsiteY3" fmla="*/ 0 h 257442"/>
                <a:gd name="connsiteX0" fmla="*/ 3950531 w 3950531"/>
                <a:gd name="connsiteY0" fmla="*/ 0 h 257442"/>
                <a:gd name="connsiteX1" fmla="*/ 3559180 w 3950531"/>
                <a:gd name="connsiteY1" fmla="*/ 257442 h 257442"/>
                <a:gd name="connsiteX2" fmla="*/ 0 w 3950531"/>
                <a:gd name="connsiteY2" fmla="*/ 257442 h 257442"/>
                <a:gd name="connsiteX3" fmla="*/ 54721 w 3950531"/>
                <a:gd name="connsiteY3" fmla="*/ 0 h 257442"/>
                <a:gd name="connsiteX0" fmla="*/ 3950531 w 3950531"/>
                <a:gd name="connsiteY0" fmla="*/ 0 h 257442"/>
                <a:gd name="connsiteX1" fmla="*/ 3895811 w 3950531"/>
                <a:gd name="connsiteY1" fmla="*/ 257442 h 257442"/>
                <a:gd name="connsiteX2" fmla="*/ 0 w 3950531"/>
                <a:gd name="connsiteY2" fmla="*/ 257442 h 257442"/>
                <a:gd name="connsiteX3" fmla="*/ 54721 w 3950531"/>
                <a:gd name="connsiteY3" fmla="*/ 0 h 257442"/>
                <a:gd name="connsiteX0" fmla="*/ 3950531 w 3950531"/>
                <a:gd name="connsiteY0" fmla="*/ 0 h 257442"/>
                <a:gd name="connsiteX1" fmla="*/ 3895811 w 3950531"/>
                <a:gd name="connsiteY1" fmla="*/ 257442 h 257442"/>
                <a:gd name="connsiteX2" fmla="*/ 0 w 3950531"/>
                <a:gd name="connsiteY2" fmla="*/ 257442 h 257442"/>
                <a:gd name="connsiteX3" fmla="*/ 54721 w 3950531"/>
                <a:gd name="connsiteY3" fmla="*/ 0 h 257442"/>
                <a:gd name="connsiteX0" fmla="*/ 3950531 w 3950531"/>
                <a:gd name="connsiteY0" fmla="*/ 0 h 257442"/>
                <a:gd name="connsiteX1" fmla="*/ 3895811 w 3950531"/>
                <a:gd name="connsiteY1" fmla="*/ 257442 h 257442"/>
                <a:gd name="connsiteX2" fmla="*/ 0 w 3950531"/>
                <a:gd name="connsiteY2" fmla="*/ 257442 h 257442"/>
                <a:gd name="connsiteX3" fmla="*/ 54721 w 3950531"/>
                <a:gd name="connsiteY3" fmla="*/ 0 h 257442"/>
                <a:gd name="connsiteX0" fmla="*/ 3770804 w 3895811"/>
                <a:gd name="connsiteY0" fmla="*/ 0 h 257442"/>
                <a:gd name="connsiteX1" fmla="*/ 3895811 w 3895811"/>
                <a:gd name="connsiteY1" fmla="*/ 257442 h 257442"/>
                <a:gd name="connsiteX2" fmla="*/ 0 w 3895811"/>
                <a:gd name="connsiteY2" fmla="*/ 257442 h 257442"/>
                <a:gd name="connsiteX3" fmla="*/ 54721 w 3895811"/>
                <a:gd name="connsiteY3" fmla="*/ 0 h 257442"/>
                <a:gd name="connsiteX0" fmla="*/ 3770804 w 3770804"/>
                <a:gd name="connsiteY0" fmla="*/ 0 h 257442"/>
                <a:gd name="connsiteX1" fmla="*/ 3716083 w 3770804"/>
                <a:gd name="connsiteY1" fmla="*/ 257442 h 257442"/>
                <a:gd name="connsiteX2" fmla="*/ 0 w 3770804"/>
                <a:gd name="connsiteY2" fmla="*/ 257442 h 257442"/>
                <a:gd name="connsiteX3" fmla="*/ 54721 w 3770804"/>
                <a:gd name="connsiteY3" fmla="*/ 0 h 257442"/>
                <a:gd name="connsiteX0" fmla="*/ 3770804 w 3770804"/>
                <a:gd name="connsiteY0" fmla="*/ 0 h 257442"/>
                <a:gd name="connsiteX1" fmla="*/ 3716083 w 3770804"/>
                <a:gd name="connsiteY1" fmla="*/ 257442 h 257442"/>
                <a:gd name="connsiteX2" fmla="*/ 0 w 3770804"/>
                <a:gd name="connsiteY2" fmla="*/ 257442 h 257442"/>
                <a:gd name="connsiteX3" fmla="*/ 54721 w 3770804"/>
                <a:gd name="connsiteY3" fmla="*/ 0 h 257442"/>
                <a:gd name="connsiteX0" fmla="*/ 3770804 w 3770804"/>
                <a:gd name="connsiteY0" fmla="*/ 0 h 257442"/>
                <a:gd name="connsiteX1" fmla="*/ 3716083 w 3770804"/>
                <a:gd name="connsiteY1" fmla="*/ 257442 h 257442"/>
                <a:gd name="connsiteX2" fmla="*/ 0 w 3770804"/>
                <a:gd name="connsiteY2" fmla="*/ 257442 h 257442"/>
                <a:gd name="connsiteX3" fmla="*/ 54721 w 3770804"/>
                <a:gd name="connsiteY3" fmla="*/ 0 h 257442"/>
                <a:gd name="connsiteX0" fmla="*/ 3613901 w 3716083"/>
                <a:gd name="connsiteY0" fmla="*/ 0 h 257442"/>
                <a:gd name="connsiteX1" fmla="*/ 3716083 w 3716083"/>
                <a:gd name="connsiteY1" fmla="*/ 257442 h 257442"/>
                <a:gd name="connsiteX2" fmla="*/ 0 w 3716083"/>
                <a:gd name="connsiteY2" fmla="*/ 257442 h 257442"/>
                <a:gd name="connsiteX3" fmla="*/ 54721 w 3716083"/>
                <a:gd name="connsiteY3" fmla="*/ 0 h 257442"/>
                <a:gd name="connsiteX0" fmla="*/ 3613901 w 3613901"/>
                <a:gd name="connsiteY0" fmla="*/ 0 h 257442"/>
                <a:gd name="connsiteX1" fmla="*/ 3559181 w 3613901"/>
                <a:gd name="connsiteY1" fmla="*/ 257442 h 257442"/>
                <a:gd name="connsiteX2" fmla="*/ 0 w 3613901"/>
                <a:gd name="connsiteY2" fmla="*/ 257442 h 257442"/>
                <a:gd name="connsiteX3" fmla="*/ 54721 w 3613901"/>
                <a:gd name="connsiteY3" fmla="*/ 0 h 257442"/>
                <a:gd name="connsiteX0" fmla="*/ 3613900 w 3613900"/>
                <a:gd name="connsiteY0" fmla="*/ 0 h 257442"/>
                <a:gd name="connsiteX1" fmla="*/ 3559180 w 3613900"/>
                <a:gd name="connsiteY1" fmla="*/ 257442 h 257442"/>
                <a:gd name="connsiteX2" fmla="*/ 0 w 3613900"/>
                <a:gd name="connsiteY2" fmla="*/ 257442 h 257442"/>
                <a:gd name="connsiteX3" fmla="*/ 54720 w 3613900"/>
                <a:gd name="connsiteY3" fmla="*/ 0 h 257442"/>
                <a:gd name="connsiteX0" fmla="*/ 3613900 w 3613900"/>
                <a:gd name="connsiteY0" fmla="*/ 0 h 257442"/>
                <a:gd name="connsiteX1" fmla="*/ 3559180 w 3613900"/>
                <a:gd name="connsiteY1" fmla="*/ 257442 h 257442"/>
                <a:gd name="connsiteX2" fmla="*/ 0 w 3613900"/>
                <a:gd name="connsiteY2" fmla="*/ 257442 h 257442"/>
                <a:gd name="connsiteX3" fmla="*/ 54720 w 3613900"/>
                <a:gd name="connsiteY3" fmla="*/ 0 h 257442"/>
                <a:gd name="connsiteX0" fmla="*/ 3445586 w 3559180"/>
                <a:gd name="connsiteY0" fmla="*/ 0 h 257442"/>
                <a:gd name="connsiteX1" fmla="*/ 3559180 w 3559180"/>
                <a:gd name="connsiteY1" fmla="*/ 257442 h 257442"/>
                <a:gd name="connsiteX2" fmla="*/ 0 w 3559180"/>
                <a:gd name="connsiteY2" fmla="*/ 257442 h 257442"/>
                <a:gd name="connsiteX3" fmla="*/ 54720 w 3559180"/>
                <a:gd name="connsiteY3" fmla="*/ 0 h 257442"/>
                <a:gd name="connsiteX0" fmla="*/ 3445586 w 3445586"/>
                <a:gd name="connsiteY0" fmla="*/ 0 h 257442"/>
                <a:gd name="connsiteX1" fmla="*/ 3390865 w 3445586"/>
                <a:gd name="connsiteY1" fmla="*/ 257442 h 257442"/>
                <a:gd name="connsiteX2" fmla="*/ 0 w 3445586"/>
                <a:gd name="connsiteY2" fmla="*/ 257442 h 257442"/>
                <a:gd name="connsiteX3" fmla="*/ 54720 w 3445586"/>
                <a:gd name="connsiteY3" fmla="*/ 0 h 257442"/>
                <a:gd name="connsiteX0" fmla="*/ 3445587 w 3445587"/>
                <a:gd name="connsiteY0" fmla="*/ 0 h 257442"/>
                <a:gd name="connsiteX1" fmla="*/ 3390866 w 3445587"/>
                <a:gd name="connsiteY1" fmla="*/ 257442 h 257442"/>
                <a:gd name="connsiteX2" fmla="*/ 0 w 3445587"/>
                <a:gd name="connsiteY2" fmla="*/ 257442 h 257442"/>
                <a:gd name="connsiteX3" fmla="*/ 54721 w 3445587"/>
                <a:gd name="connsiteY3" fmla="*/ 0 h 257442"/>
                <a:gd name="connsiteX0" fmla="*/ 3445587 w 3445587"/>
                <a:gd name="connsiteY0" fmla="*/ 0 h 257442"/>
                <a:gd name="connsiteX1" fmla="*/ 3390866 w 3445587"/>
                <a:gd name="connsiteY1" fmla="*/ 257442 h 257442"/>
                <a:gd name="connsiteX2" fmla="*/ 0 w 3445587"/>
                <a:gd name="connsiteY2" fmla="*/ 257442 h 257442"/>
                <a:gd name="connsiteX3" fmla="*/ 54722 w 3445587"/>
                <a:gd name="connsiteY3" fmla="*/ 0 h 257442"/>
                <a:gd name="connsiteX0" fmla="*/ 3277272 w 3390866"/>
                <a:gd name="connsiteY0" fmla="*/ 0 h 257442"/>
                <a:gd name="connsiteX1" fmla="*/ 3390866 w 3390866"/>
                <a:gd name="connsiteY1" fmla="*/ 257442 h 257442"/>
                <a:gd name="connsiteX2" fmla="*/ 0 w 3390866"/>
                <a:gd name="connsiteY2" fmla="*/ 257442 h 257442"/>
                <a:gd name="connsiteX3" fmla="*/ 54722 w 3390866"/>
                <a:gd name="connsiteY3" fmla="*/ 0 h 257442"/>
                <a:gd name="connsiteX0" fmla="*/ 3277272 w 3277272"/>
                <a:gd name="connsiteY0" fmla="*/ 0 h 257442"/>
                <a:gd name="connsiteX1" fmla="*/ 3222551 w 3277272"/>
                <a:gd name="connsiteY1" fmla="*/ 257442 h 257442"/>
                <a:gd name="connsiteX2" fmla="*/ 0 w 3277272"/>
                <a:gd name="connsiteY2" fmla="*/ 257442 h 257442"/>
                <a:gd name="connsiteX3" fmla="*/ 54722 w 3277272"/>
                <a:gd name="connsiteY3" fmla="*/ 0 h 257442"/>
                <a:gd name="connsiteX0" fmla="*/ 3277271 w 3277271"/>
                <a:gd name="connsiteY0" fmla="*/ 0 h 257442"/>
                <a:gd name="connsiteX1" fmla="*/ 3222550 w 3277271"/>
                <a:gd name="connsiteY1" fmla="*/ 257442 h 257442"/>
                <a:gd name="connsiteX2" fmla="*/ 0 w 3277271"/>
                <a:gd name="connsiteY2" fmla="*/ 257442 h 257442"/>
                <a:gd name="connsiteX3" fmla="*/ 54721 w 3277271"/>
                <a:gd name="connsiteY3" fmla="*/ 0 h 257442"/>
                <a:gd name="connsiteX0" fmla="*/ 3277271 w 3277271"/>
                <a:gd name="connsiteY0" fmla="*/ 0 h 257442"/>
                <a:gd name="connsiteX1" fmla="*/ 3222550 w 3277271"/>
                <a:gd name="connsiteY1" fmla="*/ 257442 h 257442"/>
                <a:gd name="connsiteX2" fmla="*/ 0 w 3277271"/>
                <a:gd name="connsiteY2" fmla="*/ 257442 h 257442"/>
                <a:gd name="connsiteX3" fmla="*/ 54721 w 3277271"/>
                <a:gd name="connsiteY3" fmla="*/ 0 h 257442"/>
                <a:gd name="connsiteX0" fmla="*/ 3445587 w 3445587"/>
                <a:gd name="connsiteY0" fmla="*/ 0 h 257442"/>
                <a:gd name="connsiteX1" fmla="*/ 3222550 w 3445587"/>
                <a:gd name="connsiteY1" fmla="*/ 257442 h 257442"/>
                <a:gd name="connsiteX2" fmla="*/ 0 w 3445587"/>
                <a:gd name="connsiteY2" fmla="*/ 257442 h 257442"/>
                <a:gd name="connsiteX3" fmla="*/ 54721 w 3445587"/>
                <a:gd name="connsiteY3" fmla="*/ 0 h 257442"/>
                <a:gd name="connsiteX0" fmla="*/ 3445587 w 3445587"/>
                <a:gd name="connsiteY0" fmla="*/ 0 h 257442"/>
                <a:gd name="connsiteX1" fmla="*/ 3390866 w 3445587"/>
                <a:gd name="connsiteY1" fmla="*/ 257442 h 257442"/>
                <a:gd name="connsiteX2" fmla="*/ 0 w 3445587"/>
                <a:gd name="connsiteY2" fmla="*/ 257442 h 257442"/>
                <a:gd name="connsiteX3" fmla="*/ 54721 w 3445587"/>
                <a:gd name="connsiteY3" fmla="*/ 0 h 257442"/>
                <a:gd name="connsiteX0" fmla="*/ 3445587 w 3445587"/>
                <a:gd name="connsiteY0" fmla="*/ 0 h 257442"/>
                <a:gd name="connsiteX1" fmla="*/ 3390866 w 3445587"/>
                <a:gd name="connsiteY1" fmla="*/ 257442 h 257442"/>
                <a:gd name="connsiteX2" fmla="*/ 0 w 3445587"/>
                <a:gd name="connsiteY2" fmla="*/ 257442 h 257442"/>
                <a:gd name="connsiteX3" fmla="*/ 54721 w 3445587"/>
                <a:gd name="connsiteY3" fmla="*/ 0 h 257442"/>
                <a:gd name="connsiteX0" fmla="*/ 3445587 w 3445587"/>
                <a:gd name="connsiteY0" fmla="*/ 0 h 257442"/>
                <a:gd name="connsiteX1" fmla="*/ 3390866 w 3445587"/>
                <a:gd name="connsiteY1" fmla="*/ 257442 h 257442"/>
                <a:gd name="connsiteX2" fmla="*/ 0 w 3445587"/>
                <a:gd name="connsiteY2" fmla="*/ 257442 h 257442"/>
                <a:gd name="connsiteX3" fmla="*/ 54721 w 3445587"/>
                <a:gd name="connsiteY3" fmla="*/ 0 h 257442"/>
                <a:gd name="connsiteX0" fmla="*/ 3782217 w 3782217"/>
                <a:gd name="connsiteY0" fmla="*/ 0 h 257442"/>
                <a:gd name="connsiteX1" fmla="*/ 3390866 w 3782217"/>
                <a:gd name="connsiteY1" fmla="*/ 257442 h 257442"/>
                <a:gd name="connsiteX2" fmla="*/ 0 w 3782217"/>
                <a:gd name="connsiteY2" fmla="*/ 257442 h 257442"/>
                <a:gd name="connsiteX3" fmla="*/ 54721 w 3782217"/>
                <a:gd name="connsiteY3" fmla="*/ 0 h 257442"/>
                <a:gd name="connsiteX0" fmla="*/ 3782217 w 3782217"/>
                <a:gd name="connsiteY0" fmla="*/ 0 h 257442"/>
                <a:gd name="connsiteX1" fmla="*/ 3727496 w 3782217"/>
                <a:gd name="connsiteY1" fmla="*/ 257442 h 257442"/>
                <a:gd name="connsiteX2" fmla="*/ 0 w 3782217"/>
                <a:gd name="connsiteY2" fmla="*/ 257442 h 257442"/>
                <a:gd name="connsiteX3" fmla="*/ 54721 w 3782217"/>
                <a:gd name="connsiteY3" fmla="*/ 0 h 257442"/>
                <a:gd name="connsiteX0" fmla="*/ 3782217 w 3782217"/>
                <a:gd name="connsiteY0" fmla="*/ 0 h 257442"/>
                <a:gd name="connsiteX1" fmla="*/ 3727496 w 3782217"/>
                <a:gd name="connsiteY1" fmla="*/ 257442 h 257442"/>
                <a:gd name="connsiteX2" fmla="*/ 0 w 3782217"/>
                <a:gd name="connsiteY2" fmla="*/ 257442 h 257442"/>
                <a:gd name="connsiteX3" fmla="*/ 54721 w 3782217"/>
                <a:gd name="connsiteY3" fmla="*/ 0 h 257442"/>
                <a:gd name="connsiteX0" fmla="*/ 3782217 w 3782217"/>
                <a:gd name="connsiteY0" fmla="*/ 0 h 257442"/>
                <a:gd name="connsiteX1" fmla="*/ 3727496 w 3782217"/>
                <a:gd name="connsiteY1" fmla="*/ 257442 h 257442"/>
                <a:gd name="connsiteX2" fmla="*/ 0 w 3782217"/>
                <a:gd name="connsiteY2" fmla="*/ 257442 h 257442"/>
                <a:gd name="connsiteX3" fmla="*/ 54721 w 3782217"/>
                <a:gd name="connsiteY3" fmla="*/ 0 h 257442"/>
                <a:gd name="connsiteX0" fmla="*/ 3950531 w 3950531"/>
                <a:gd name="connsiteY0" fmla="*/ 0 h 257442"/>
                <a:gd name="connsiteX1" fmla="*/ 3727496 w 3950531"/>
                <a:gd name="connsiteY1" fmla="*/ 257442 h 257442"/>
                <a:gd name="connsiteX2" fmla="*/ 0 w 3950531"/>
                <a:gd name="connsiteY2" fmla="*/ 257442 h 257442"/>
                <a:gd name="connsiteX3" fmla="*/ 54721 w 3950531"/>
                <a:gd name="connsiteY3" fmla="*/ 0 h 257442"/>
                <a:gd name="connsiteX0" fmla="*/ 3950531 w 3950531"/>
                <a:gd name="connsiteY0" fmla="*/ 0 h 257442"/>
                <a:gd name="connsiteX1" fmla="*/ 3895811 w 3950531"/>
                <a:gd name="connsiteY1" fmla="*/ 257442 h 257442"/>
                <a:gd name="connsiteX2" fmla="*/ 0 w 3950531"/>
                <a:gd name="connsiteY2" fmla="*/ 257442 h 257442"/>
                <a:gd name="connsiteX3" fmla="*/ 54721 w 3950531"/>
                <a:gd name="connsiteY3" fmla="*/ 0 h 257442"/>
                <a:gd name="connsiteX0" fmla="*/ 3950531 w 3950531"/>
                <a:gd name="connsiteY0" fmla="*/ 0 h 257442"/>
                <a:gd name="connsiteX1" fmla="*/ 3895811 w 3950531"/>
                <a:gd name="connsiteY1" fmla="*/ 257442 h 257442"/>
                <a:gd name="connsiteX2" fmla="*/ 0 w 3950531"/>
                <a:gd name="connsiteY2" fmla="*/ 257442 h 257442"/>
                <a:gd name="connsiteX3" fmla="*/ 54721 w 3950531"/>
                <a:gd name="connsiteY3" fmla="*/ 0 h 257442"/>
                <a:gd name="connsiteX0" fmla="*/ 3950531 w 3950531"/>
                <a:gd name="connsiteY0" fmla="*/ 0 h 257442"/>
                <a:gd name="connsiteX1" fmla="*/ 3895811 w 3950531"/>
                <a:gd name="connsiteY1" fmla="*/ 257442 h 257442"/>
                <a:gd name="connsiteX2" fmla="*/ 0 w 3950531"/>
                <a:gd name="connsiteY2" fmla="*/ 257442 h 257442"/>
                <a:gd name="connsiteX3" fmla="*/ 54721 w 3950531"/>
                <a:gd name="connsiteY3" fmla="*/ 0 h 257442"/>
                <a:gd name="connsiteX0" fmla="*/ 1893367 w 3895811"/>
                <a:gd name="connsiteY0" fmla="*/ 0 h 257442"/>
                <a:gd name="connsiteX1" fmla="*/ 3895811 w 3895811"/>
                <a:gd name="connsiteY1" fmla="*/ 257442 h 257442"/>
                <a:gd name="connsiteX2" fmla="*/ 0 w 3895811"/>
                <a:gd name="connsiteY2" fmla="*/ 257442 h 257442"/>
                <a:gd name="connsiteX3" fmla="*/ 54721 w 3895811"/>
                <a:gd name="connsiteY3" fmla="*/ 0 h 257442"/>
                <a:gd name="connsiteX0" fmla="*/ 1893367 w 1893367"/>
                <a:gd name="connsiteY0" fmla="*/ 0 h 257442"/>
                <a:gd name="connsiteX1" fmla="*/ 1838646 w 1893367"/>
                <a:gd name="connsiteY1" fmla="*/ 257442 h 257442"/>
                <a:gd name="connsiteX2" fmla="*/ 0 w 1893367"/>
                <a:gd name="connsiteY2" fmla="*/ 257442 h 257442"/>
                <a:gd name="connsiteX3" fmla="*/ 54721 w 1893367"/>
                <a:gd name="connsiteY3" fmla="*/ 0 h 257442"/>
                <a:gd name="connsiteX0" fmla="*/ 1893367 w 1893367"/>
                <a:gd name="connsiteY0" fmla="*/ 0 h 257442"/>
                <a:gd name="connsiteX1" fmla="*/ 1838646 w 1893367"/>
                <a:gd name="connsiteY1" fmla="*/ 257442 h 257442"/>
                <a:gd name="connsiteX2" fmla="*/ 0 w 1893367"/>
                <a:gd name="connsiteY2" fmla="*/ 257442 h 257442"/>
                <a:gd name="connsiteX3" fmla="*/ 54721 w 1893367"/>
                <a:gd name="connsiteY3" fmla="*/ 0 h 257442"/>
                <a:gd name="connsiteX0" fmla="*/ 1893367 w 1893367"/>
                <a:gd name="connsiteY0" fmla="*/ 0 h 257442"/>
                <a:gd name="connsiteX1" fmla="*/ 1838646 w 1893367"/>
                <a:gd name="connsiteY1" fmla="*/ 257442 h 257442"/>
                <a:gd name="connsiteX2" fmla="*/ 0 w 1893367"/>
                <a:gd name="connsiteY2" fmla="*/ 257442 h 257442"/>
                <a:gd name="connsiteX3" fmla="*/ 54721 w 1893367"/>
                <a:gd name="connsiteY3" fmla="*/ 0 h 257442"/>
                <a:gd name="connsiteX0" fmla="*/ 2053667 w 2053667"/>
                <a:gd name="connsiteY0" fmla="*/ 0 h 257442"/>
                <a:gd name="connsiteX1" fmla="*/ 1838646 w 2053667"/>
                <a:gd name="connsiteY1" fmla="*/ 257442 h 257442"/>
                <a:gd name="connsiteX2" fmla="*/ 0 w 2053667"/>
                <a:gd name="connsiteY2" fmla="*/ 257442 h 257442"/>
                <a:gd name="connsiteX3" fmla="*/ 54721 w 2053667"/>
                <a:gd name="connsiteY3" fmla="*/ 0 h 257442"/>
                <a:gd name="connsiteX0" fmla="*/ 2053667 w 2053667"/>
                <a:gd name="connsiteY0" fmla="*/ 0 h 257442"/>
                <a:gd name="connsiteX1" fmla="*/ 1998946 w 2053667"/>
                <a:gd name="connsiteY1" fmla="*/ 257442 h 257442"/>
                <a:gd name="connsiteX2" fmla="*/ 0 w 2053667"/>
                <a:gd name="connsiteY2" fmla="*/ 257442 h 257442"/>
                <a:gd name="connsiteX3" fmla="*/ 54721 w 2053667"/>
                <a:gd name="connsiteY3" fmla="*/ 0 h 257442"/>
                <a:gd name="connsiteX0" fmla="*/ 2053667 w 2053667"/>
                <a:gd name="connsiteY0" fmla="*/ 0 h 257442"/>
                <a:gd name="connsiteX1" fmla="*/ 1998946 w 2053667"/>
                <a:gd name="connsiteY1" fmla="*/ 257442 h 257442"/>
                <a:gd name="connsiteX2" fmla="*/ 0 w 2053667"/>
                <a:gd name="connsiteY2" fmla="*/ 257442 h 257442"/>
                <a:gd name="connsiteX3" fmla="*/ 54721 w 2053667"/>
                <a:gd name="connsiteY3" fmla="*/ 0 h 257442"/>
                <a:gd name="connsiteX0" fmla="*/ 2053667 w 2053667"/>
                <a:gd name="connsiteY0" fmla="*/ 0 h 257442"/>
                <a:gd name="connsiteX1" fmla="*/ 1998946 w 2053667"/>
                <a:gd name="connsiteY1" fmla="*/ 257442 h 257442"/>
                <a:gd name="connsiteX2" fmla="*/ 0 w 2053667"/>
                <a:gd name="connsiteY2" fmla="*/ 257442 h 257442"/>
                <a:gd name="connsiteX3" fmla="*/ 54721 w 2053667"/>
                <a:gd name="connsiteY3" fmla="*/ 0 h 257442"/>
                <a:gd name="connsiteX0" fmla="*/ 2221982 w 2221982"/>
                <a:gd name="connsiteY0" fmla="*/ 0 h 257442"/>
                <a:gd name="connsiteX1" fmla="*/ 1998946 w 2221982"/>
                <a:gd name="connsiteY1" fmla="*/ 257442 h 257442"/>
                <a:gd name="connsiteX2" fmla="*/ 0 w 2221982"/>
                <a:gd name="connsiteY2" fmla="*/ 257442 h 257442"/>
                <a:gd name="connsiteX3" fmla="*/ 54721 w 2221982"/>
                <a:gd name="connsiteY3" fmla="*/ 0 h 257442"/>
                <a:gd name="connsiteX0" fmla="*/ 2221982 w 2221982"/>
                <a:gd name="connsiteY0" fmla="*/ 0 h 257442"/>
                <a:gd name="connsiteX1" fmla="*/ 2167260 w 2221982"/>
                <a:gd name="connsiteY1" fmla="*/ 257442 h 257442"/>
                <a:gd name="connsiteX2" fmla="*/ 0 w 2221982"/>
                <a:gd name="connsiteY2" fmla="*/ 257442 h 257442"/>
                <a:gd name="connsiteX3" fmla="*/ 54721 w 2221982"/>
                <a:gd name="connsiteY3" fmla="*/ 0 h 257442"/>
                <a:gd name="connsiteX0" fmla="*/ 2221983 w 2221983"/>
                <a:gd name="connsiteY0" fmla="*/ 0 h 257442"/>
                <a:gd name="connsiteX1" fmla="*/ 2167261 w 2221983"/>
                <a:gd name="connsiteY1" fmla="*/ 257442 h 257442"/>
                <a:gd name="connsiteX2" fmla="*/ 0 w 2221983"/>
                <a:gd name="connsiteY2" fmla="*/ 257442 h 257442"/>
                <a:gd name="connsiteX3" fmla="*/ 54722 w 2221983"/>
                <a:gd name="connsiteY3" fmla="*/ 0 h 257442"/>
                <a:gd name="connsiteX0" fmla="*/ 2221983 w 2221983"/>
                <a:gd name="connsiteY0" fmla="*/ 0 h 257442"/>
                <a:gd name="connsiteX1" fmla="*/ 2167261 w 2221983"/>
                <a:gd name="connsiteY1" fmla="*/ 257442 h 257442"/>
                <a:gd name="connsiteX2" fmla="*/ 0 w 2221983"/>
                <a:gd name="connsiteY2" fmla="*/ 257442 h 257442"/>
                <a:gd name="connsiteX3" fmla="*/ 54722 w 2221983"/>
                <a:gd name="connsiteY3" fmla="*/ 0 h 257442"/>
                <a:gd name="connsiteX0" fmla="*/ 2475257 w 2475257"/>
                <a:gd name="connsiteY0" fmla="*/ 0 h 257442"/>
                <a:gd name="connsiteX1" fmla="*/ 2167261 w 2475257"/>
                <a:gd name="connsiteY1" fmla="*/ 257442 h 257442"/>
                <a:gd name="connsiteX2" fmla="*/ 0 w 2475257"/>
                <a:gd name="connsiteY2" fmla="*/ 257442 h 257442"/>
                <a:gd name="connsiteX3" fmla="*/ 54722 w 2475257"/>
                <a:gd name="connsiteY3" fmla="*/ 0 h 257442"/>
                <a:gd name="connsiteX0" fmla="*/ 2475257 w 2475257"/>
                <a:gd name="connsiteY0" fmla="*/ 0 h 257442"/>
                <a:gd name="connsiteX1" fmla="*/ 2420536 w 2475257"/>
                <a:gd name="connsiteY1" fmla="*/ 257442 h 257442"/>
                <a:gd name="connsiteX2" fmla="*/ 0 w 2475257"/>
                <a:gd name="connsiteY2" fmla="*/ 257442 h 257442"/>
                <a:gd name="connsiteX3" fmla="*/ 54722 w 2475257"/>
                <a:gd name="connsiteY3" fmla="*/ 0 h 257442"/>
                <a:gd name="connsiteX0" fmla="*/ 2475256 w 2475256"/>
                <a:gd name="connsiteY0" fmla="*/ 0 h 257442"/>
                <a:gd name="connsiteX1" fmla="*/ 2420535 w 2475256"/>
                <a:gd name="connsiteY1" fmla="*/ 257442 h 257442"/>
                <a:gd name="connsiteX2" fmla="*/ 0 w 2475256"/>
                <a:gd name="connsiteY2" fmla="*/ 257442 h 257442"/>
                <a:gd name="connsiteX3" fmla="*/ 54721 w 2475256"/>
                <a:gd name="connsiteY3" fmla="*/ 0 h 257442"/>
                <a:gd name="connsiteX0" fmla="*/ 2475256 w 2475256"/>
                <a:gd name="connsiteY0" fmla="*/ 0 h 257442"/>
                <a:gd name="connsiteX1" fmla="*/ 2420535 w 2475256"/>
                <a:gd name="connsiteY1" fmla="*/ 257442 h 257442"/>
                <a:gd name="connsiteX2" fmla="*/ 0 w 2475256"/>
                <a:gd name="connsiteY2" fmla="*/ 257442 h 257442"/>
                <a:gd name="connsiteX3" fmla="*/ 54720 w 2475256"/>
                <a:gd name="connsiteY3" fmla="*/ 0 h 257442"/>
                <a:gd name="connsiteX0" fmla="*/ 2661204 w 2661204"/>
                <a:gd name="connsiteY0" fmla="*/ 0 h 257442"/>
                <a:gd name="connsiteX1" fmla="*/ 2420535 w 2661204"/>
                <a:gd name="connsiteY1" fmla="*/ 257442 h 257442"/>
                <a:gd name="connsiteX2" fmla="*/ 0 w 2661204"/>
                <a:gd name="connsiteY2" fmla="*/ 257442 h 257442"/>
                <a:gd name="connsiteX3" fmla="*/ 54720 w 2661204"/>
                <a:gd name="connsiteY3" fmla="*/ 0 h 257442"/>
                <a:gd name="connsiteX0" fmla="*/ 2661204 w 2661204"/>
                <a:gd name="connsiteY0" fmla="*/ 0 h 257442"/>
                <a:gd name="connsiteX1" fmla="*/ 2606483 w 2661204"/>
                <a:gd name="connsiteY1" fmla="*/ 257442 h 257442"/>
                <a:gd name="connsiteX2" fmla="*/ 0 w 2661204"/>
                <a:gd name="connsiteY2" fmla="*/ 257442 h 257442"/>
                <a:gd name="connsiteX3" fmla="*/ 54720 w 2661204"/>
                <a:gd name="connsiteY3" fmla="*/ 0 h 257442"/>
                <a:gd name="connsiteX0" fmla="*/ 2661205 w 2661205"/>
                <a:gd name="connsiteY0" fmla="*/ 0 h 257442"/>
                <a:gd name="connsiteX1" fmla="*/ 2606484 w 2661205"/>
                <a:gd name="connsiteY1" fmla="*/ 257442 h 257442"/>
                <a:gd name="connsiteX2" fmla="*/ 0 w 2661205"/>
                <a:gd name="connsiteY2" fmla="*/ 257442 h 257442"/>
                <a:gd name="connsiteX3" fmla="*/ 54721 w 2661205"/>
                <a:gd name="connsiteY3" fmla="*/ 0 h 257442"/>
                <a:gd name="connsiteX0" fmla="*/ 2661205 w 2661205"/>
                <a:gd name="connsiteY0" fmla="*/ 0 h 257442"/>
                <a:gd name="connsiteX1" fmla="*/ 2606484 w 2661205"/>
                <a:gd name="connsiteY1" fmla="*/ 257442 h 257442"/>
                <a:gd name="connsiteX2" fmla="*/ 0 w 2661205"/>
                <a:gd name="connsiteY2" fmla="*/ 257442 h 257442"/>
                <a:gd name="connsiteX3" fmla="*/ 54722 w 2661205"/>
                <a:gd name="connsiteY3" fmla="*/ 0 h 257442"/>
                <a:gd name="connsiteX0" fmla="*/ 2821506 w 2821506"/>
                <a:gd name="connsiteY0" fmla="*/ 0 h 257442"/>
                <a:gd name="connsiteX1" fmla="*/ 2606484 w 2821506"/>
                <a:gd name="connsiteY1" fmla="*/ 257442 h 257442"/>
                <a:gd name="connsiteX2" fmla="*/ 0 w 2821506"/>
                <a:gd name="connsiteY2" fmla="*/ 257442 h 257442"/>
                <a:gd name="connsiteX3" fmla="*/ 54722 w 2821506"/>
                <a:gd name="connsiteY3" fmla="*/ 0 h 257442"/>
                <a:gd name="connsiteX0" fmla="*/ 2821506 w 2821506"/>
                <a:gd name="connsiteY0" fmla="*/ 0 h 257442"/>
                <a:gd name="connsiteX1" fmla="*/ 2766784 w 2821506"/>
                <a:gd name="connsiteY1" fmla="*/ 257442 h 257442"/>
                <a:gd name="connsiteX2" fmla="*/ 0 w 2821506"/>
                <a:gd name="connsiteY2" fmla="*/ 257442 h 257442"/>
                <a:gd name="connsiteX3" fmla="*/ 54722 w 2821506"/>
                <a:gd name="connsiteY3" fmla="*/ 0 h 257442"/>
                <a:gd name="connsiteX0" fmla="*/ 2821506 w 2821506"/>
                <a:gd name="connsiteY0" fmla="*/ 0 h 257442"/>
                <a:gd name="connsiteX1" fmla="*/ 2766784 w 2821506"/>
                <a:gd name="connsiteY1" fmla="*/ 257442 h 257442"/>
                <a:gd name="connsiteX2" fmla="*/ 0 w 2821506"/>
                <a:gd name="connsiteY2" fmla="*/ 257442 h 257442"/>
                <a:gd name="connsiteX3" fmla="*/ 54722 w 2821506"/>
                <a:gd name="connsiteY3" fmla="*/ 0 h 257442"/>
                <a:gd name="connsiteX0" fmla="*/ 2821506 w 2821506"/>
                <a:gd name="connsiteY0" fmla="*/ 0 h 257442"/>
                <a:gd name="connsiteX1" fmla="*/ 2766784 w 2821506"/>
                <a:gd name="connsiteY1" fmla="*/ 257442 h 257442"/>
                <a:gd name="connsiteX2" fmla="*/ 0 w 2821506"/>
                <a:gd name="connsiteY2" fmla="*/ 257442 h 257442"/>
                <a:gd name="connsiteX3" fmla="*/ 54721 w 2821506"/>
                <a:gd name="connsiteY3" fmla="*/ 0 h 257442"/>
                <a:gd name="connsiteX0" fmla="*/ 2989821 w 2989821"/>
                <a:gd name="connsiteY0" fmla="*/ 0 h 257442"/>
                <a:gd name="connsiteX1" fmla="*/ 2766784 w 2989821"/>
                <a:gd name="connsiteY1" fmla="*/ 257442 h 257442"/>
                <a:gd name="connsiteX2" fmla="*/ 0 w 2989821"/>
                <a:gd name="connsiteY2" fmla="*/ 257442 h 257442"/>
                <a:gd name="connsiteX3" fmla="*/ 54721 w 2989821"/>
                <a:gd name="connsiteY3" fmla="*/ 0 h 257442"/>
                <a:gd name="connsiteX0" fmla="*/ 2989821 w 2989821"/>
                <a:gd name="connsiteY0" fmla="*/ 0 h 257442"/>
                <a:gd name="connsiteX1" fmla="*/ 2935100 w 2989821"/>
                <a:gd name="connsiteY1" fmla="*/ 257442 h 257442"/>
                <a:gd name="connsiteX2" fmla="*/ 0 w 2989821"/>
                <a:gd name="connsiteY2" fmla="*/ 257442 h 257442"/>
                <a:gd name="connsiteX3" fmla="*/ 54721 w 2989821"/>
                <a:gd name="connsiteY3" fmla="*/ 0 h 257442"/>
                <a:gd name="connsiteX0" fmla="*/ 2989821 w 2989821"/>
                <a:gd name="connsiteY0" fmla="*/ 0 h 257442"/>
                <a:gd name="connsiteX1" fmla="*/ 2935100 w 2989821"/>
                <a:gd name="connsiteY1" fmla="*/ 257442 h 257442"/>
                <a:gd name="connsiteX2" fmla="*/ 0 w 2989821"/>
                <a:gd name="connsiteY2" fmla="*/ 257442 h 257442"/>
                <a:gd name="connsiteX3" fmla="*/ 54721 w 2989821"/>
                <a:gd name="connsiteY3" fmla="*/ 0 h 257442"/>
                <a:gd name="connsiteX0" fmla="*/ 2989821 w 2989821"/>
                <a:gd name="connsiteY0" fmla="*/ 0 h 257442"/>
                <a:gd name="connsiteX1" fmla="*/ 2935100 w 2989821"/>
                <a:gd name="connsiteY1" fmla="*/ 257442 h 257442"/>
                <a:gd name="connsiteX2" fmla="*/ 0 w 2989821"/>
                <a:gd name="connsiteY2" fmla="*/ 257442 h 257442"/>
                <a:gd name="connsiteX3" fmla="*/ 54721 w 2989821"/>
                <a:gd name="connsiteY3" fmla="*/ 0 h 257442"/>
                <a:gd name="connsiteX0" fmla="*/ 960419 w 2935100"/>
                <a:gd name="connsiteY0" fmla="*/ 0 h 257442"/>
                <a:gd name="connsiteX1" fmla="*/ 2935100 w 2935100"/>
                <a:gd name="connsiteY1" fmla="*/ 257442 h 257442"/>
                <a:gd name="connsiteX2" fmla="*/ 0 w 2935100"/>
                <a:gd name="connsiteY2" fmla="*/ 257442 h 257442"/>
                <a:gd name="connsiteX3" fmla="*/ 54721 w 2935100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960418 w 960418"/>
                <a:gd name="connsiteY0" fmla="*/ 0 h 257442"/>
                <a:gd name="connsiteX1" fmla="*/ 905697 w 960418"/>
                <a:gd name="connsiteY1" fmla="*/ 257442 h 257442"/>
                <a:gd name="connsiteX2" fmla="*/ 0 w 960418"/>
                <a:gd name="connsiteY2" fmla="*/ 257442 h 257442"/>
                <a:gd name="connsiteX3" fmla="*/ 54720 w 960418"/>
                <a:gd name="connsiteY3" fmla="*/ 0 h 257442"/>
                <a:gd name="connsiteX0" fmla="*/ 960418 w 960418"/>
                <a:gd name="connsiteY0" fmla="*/ 0 h 257442"/>
                <a:gd name="connsiteX1" fmla="*/ 905697 w 960418"/>
                <a:gd name="connsiteY1" fmla="*/ 257442 h 257442"/>
                <a:gd name="connsiteX2" fmla="*/ 0 w 960418"/>
                <a:gd name="connsiteY2" fmla="*/ 257442 h 257442"/>
                <a:gd name="connsiteX3" fmla="*/ 54720 w 960418"/>
                <a:gd name="connsiteY3" fmla="*/ 0 h 257442"/>
                <a:gd name="connsiteX0" fmla="*/ 1120718 w 1120718"/>
                <a:gd name="connsiteY0" fmla="*/ 0 h 257442"/>
                <a:gd name="connsiteX1" fmla="*/ 905697 w 1120718"/>
                <a:gd name="connsiteY1" fmla="*/ 257442 h 257442"/>
                <a:gd name="connsiteX2" fmla="*/ 0 w 1120718"/>
                <a:gd name="connsiteY2" fmla="*/ 257442 h 257442"/>
                <a:gd name="connsiteX3" fmla="*/ 54720 w 1120718"/>
                <a:gd name="connsiteY3" fmla="*/ 0 h 257442"/>
                <a:gd name="connsiteX0" fmla="*/ 1120718 w 1120718"/>
                <a:gd name="connsiteY0" fmla="*/ 0 h 257442"/>
                <a:gd name="connsiteX1" fmla="*/ 1065997 w 1120718"/>
                <a:gd name="connsiteY1" fmla="*/ 257442 h 257442"/>
                <a:gd name="connsiteX2" fmla="*/ 0 w 1120718"/>
                <a:gd name="connsiteY2" fmla="*/ 257442 h 257442"/>
                <a:gd name="connsiteX3" fmla="*/ 54720 w 1120718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2 w 1120719"/>
                <a:gd name="connsiteY3" fmla="*/ 0 h 257442"/>
                <a:gd name="connsiteX0" fmla="*/ 1281021 w 1281021"/>
                <a:gd name="connsiteY0" fmla="*/ 0 h 257442"/>
                <a:gd name="connsiteX1" fmla="*/ 1065998 w 1281021"/>
                <a:gd name="connsiteY1" fmla="*/ 257442 h 257442"/>
                <a:gd name="connsiteX2" fmla="*/ 0 w 1281021"/>
                <a:gd name="connsiteY2" fmla="*/ 257442 h 257442"/>
                <a:gd name="connsiteX3" fmla="*/ 54722 w 1281021"/>
                <a:gd name="connsiteY3" fmla="*/ 0 h 257442"/>
                <a:gd name="connsiteX0" fmla="*/ 1281021 w 1281021"/>
                <a:gd name="connsiteY0" fmla="*/ 0 h 257442"/>
                <a:gd name="connsiteX1" fmla="*/ 1226300 w 1281021"/>
                <a:gd name="connsiteY1" fmla="*/ 257442 h 257442"/>
                <a:gd name="connsiteX2" fmla="*/ 0 w 1281021"/>
                <a:gd name="connsiteY2" fmla="*/ 257442 h 257442"/>
                <a:gd name="connsiteX3" fmla="*/ 54722 w 1281021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54721 w 1281020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54720 w 1281020"/>
                <a:gd name="connsiteY3" fmla="*/ 0 h 257442"/>
                <a:gd name="connsiteX0" fmla="*/ 1449334 w 1449334"/>
                <a:gd name="connsiteY0" fmla="*/ 0 h 257442"/>
                <a:gd name="connsiteX1" fmla="*/ 1226299 w 1449334"/>
                <a:gd name="connsiteY1" fmla="*/ 257442 h 257442"/>
                <a:gd name="connsiteX2" fmla="*/ 0 w 1449334"/>
                <a:gd name="connsiteY2" fmla="*/ 257442 h 257442"/>
                <a:gd name="connsiteX3" fmla="*/ 54720 w 1449334"/>
                <a:gd name="connsiteY3" fmla="*/ 0 h 257442"/>
                <a:gd name="connsiteX0" fmla="*/ 1449334 w 1449334"/>
                <a:gd name="connsiteY0" fmla="*/ 0 h 257442"/>
                <a:gd name="connsiteX1" fmla="*/ 1394613 w 1449334"/>
                <a:gd name="connsiteY1" fmla="*/ 257442 h 257442"/>
                <a:gd name="connsiteX2" fmla="*/ 0 w 1449334"/>
                <a:gd name="connsiteY2" fmla="*/ 257442 h 257442"/>
                <a:gd name="connsiteX3" fmla="*/ 54720 w 1449334"/>
                <a:gd name="connsiteY3" fmla="*/ 0 h 257442"/>
                <a:gd name="connsiteX0" fmla="*/ 1449335 w 1449335"/>
                <a:gd name="connsiteY0" fmla="*/ 0 h 257442"/>
                <a:gd name="connsiteX1" fmla="*/ 1394614 w 1449335"/>
                <a:gd name="connsiteY1" fmla="*/ 257442 h 257442"/>
                <a:gd name="connsiteX2" fmla="*/ 0 w 1449335"/>
                <a:gd name="connsiteY2" fmla="*/ 257442 h 257442"/>
                <a:gd name="connsiteX3" fmla="*/ 54721 w 1449335"/>
                <a:gd name="connsiteY3" fmla="*/ 0 h 257442"/>
                <a:gd name="connsiteX0" fmla="*/ 1449335 w 1449335"/>
                <a:gd name="connsiteY0" fmla="*/ 0 h 257442"/>
                <a:gd name="connsiteX1" fmla="*/ 1394614 w 1449335"/>
                <a:gd name="connsiteY1" fmla="*/ 257442 h 257442"/>
                <a:gd name="connsiteX2" fmla="*/ 0 w 1449335"/>
                <a:gd name="connsiteY2" fmla="*/ 257442 h 257442"/>
                <a:gd name="connsiteX3" fmla="*/ 54722 w 1449335"/>
                <a:gd name="connsiteY3" fmla="*/ 0 h 257442"/>
                <a:gd name="connsiteX0" fmla="*/ 1617651 w 1617651"/>
                <a:gd name="connsiteY0" fmla="*/ 0 h 257442"/>
                <a:gd name="connsiteX1" fmla="*/ 1394614 w 1617651"/>
                <a:gd name="connsiteY1" fmla="*/ 257442 h 257442"/>
                <a:gd name="connsiteX2" fmla="*/ 0 w 1617651"/>
                <a:gd name="connsiteY2" fmla="*/ 257442 h 257442"/>
                <a:gd name="connsiteX3" fmla="*/ 54722 w 1617651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0 w 1617651"/>
                <a:gd name="connsiteY2" fmla="*/ 257442 h 257442"/>
                <a:gd name="connsiteX3" fmla="*/ 54722 w 1617651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1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0 w 1617650"/>
                <a:gd name="connsiteY3" fmla="*/ 0 h 257442"/>
                <a:gd name="connsiteX0" fmla="*/ 1922220 w 1922220"/>
                <a:gd name="connsiteY0" fmla="*/ 0 h 257442"/>
                <a:gd name="connsiteX1" fmla="*/ 1562929 w 1922220"/>
                <a:gd name="connsiteY1" fmla="*/ 257442 h 257442"/>
                <a:gd name="connsiteX2" fmla="*/ 0 w 1922220"/>
                <a:gd name="connsiteY2" fmla="*/ 257442 h 257442"/>
                <a:gd name="connsiteX3" fmla="*/ 54720 w 1922220"/>
                <a:gd name="connsiteY3" fmla="*/ 0 h 257442"/>
                <a:gd name="connsiteX0" fmla="*/ 1922220 w 1922220"/>
                <a:gd name="connsiteY0" fmla="*/ 0 h 257442"/>
                <a:gd name="connsiteX1" fmla="*/ 1867499 w 1922220"/>
                <a:gd name="connsiteY1" fmla="*/ 257442 h 257442"/>
                <a:gd name="connsiteX2" fmla="*/ 0 w 1922220"/>
                <a:gd name="connsiteY2" fmla="*/ 257442 h 257442"/>
                <a:gd name="connsiteX3" fmla="*/ 54720 w 1922220"/>
                <a:gd name="connsiteY3" fmla="*/ 0 h 257442"/>
                <a:gd name="connsiteX0" fmla="*/ 1922221 w 1922221"/>
                <a:gd name="connsiteY0" fmla="*/ 0 h 257442"/>
                <a:gd name="connsiteX1" fmla="*/ 1867500 w 1922221"/>
                <a:gd name="connsiteY1" fmla="*/ 257442 h 257442"/>
                <a:gd name="connsiteX2" fmla="*/ 0 w 1922221"/>
                <a:gd name="connsiteY2" fmla="*/ 257442 h 257442"/>
                <a:gd name="connsiteX3" fmla="*/ 54721 w 1922221"/>
                <a:gd name="connsiteY3" fmla="*/ 0 h 257442"/>
                <a:gd name="connsiteX0" fmla="*/ 1922221 w 1922221"/>
                <a:gd name="connsiteY0" fmla="*/ 0 h 257442"/>
                <a:gd name="connsiteX1" fmla="*/ 1867500 w 1922221"/>
                <a:gd name="connsiteY1" fmla="*/ 257442 h 257442"/>
                <a:gd name="connsiteX2" fmla="*/ 0 w 1922221"/>
                <a:gd name="connsiteY2" fmla="*/ 257442 h 257442"/>
                <a:gd name="connsiteX3" fmla="*/ 54722 w 1922221"/>
                <a:gd name="connsiteY3" fmla="*/ 0 h 257442"/>
                <a:gd name="connsiteX0" fmla="*/ 934772 w 1867500"/>
                <a:gd name="connsiteY0" fmla="*/ 0 h 257442"/>
                <a:gd name="connsiteX1" fmla="*/ 1867500 w 1867500"/>
                <a:gd name="connsiteY1" fmla="*/ 257442 h 257442"/>
                <a:gd name="connsiteX2" fmla="*/ 0 w 1867500"/>
                <a:gd name="connsiteY2" fmla="*/ 257442 h 257442"/>
                <a:gd name="connsiteX3" fmla="*/ 54722 w 1867500"/>
                <a:gd name="connsiteY3" fmla="*/ 0 h 257442"/>
                <a:gd name="connsiteX0" fmla="*/ 934772 w 934772"/>
                <a:gd name="connsiteY0" fmla="*/ 0 h 257442"/>
                <a:gd name="connsiteX1" fmla="*/ 880051 w 934772"/>
                <a:gd name="connsiteY1" fmla="*/ 257442 h 257442"/>
                <a:gd name="connsiteX2" fmla="*/ 0 w 934772"/>
                <a:gd name="connsiteY2" fmla="*/ 257442 h 257442"/>
                <a:gd name="connsiteX3" fmla="*/ 54722 w 934772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54721 w 934771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54721 w 934771"/>
                <a:gd name="connsiteY3" fmla="*/ 0 h 257442"/>
                <a:gd name="connsiteX0" fmla="*/ 1103086 w 1103086"/>
                <a:gd name="connsiteY0" fmla="*/ 0 h 257442"/>
                <a:gd name="connsiteX1" fmla="*/ 880050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4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54722 w 1103087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54722 w 1103087"/>
                <a:gd name="connsiteY3" fmla="*/ 0 h 257442"/>
                <a:gd name="connsiteX0" fmla="*/ 1263387 w 1263387"/>
                <a:gd name="connsiteY0" fmla="*/ 0 h 257442"/>
                <a:gd name="connsiteX1" fmla="*/ 1048365 w 1263387"/>
                <a:gd name="connsiteY1" fmla="*/ 257442 h 257442"/>
                <a:gd name="connsiteX2" fmla="*/ 0 w 1263387"/>
                <a:gd name="connsiteY2" fmla="*/ 257442 h 257442"/>
                <a:gd name="connsiteX3" fmla="*/ 54722 w 1263387"/>
                <a:gd name="connsiteY3" fmla="*/ 0 h 257442"/>
                <a:gd name="connsiteX0" fmla="*/ 1263387 w 1263387"/>
                <a:gd name="connsiteY0" fmla="*/ 0 h 257442"/>
                <a:gd name="connsiteX1" fmla="*/ 1208666 w 1263387"/>
                <a:gd name="connsiteY1" fmla="*/ 257442 h 257442"/>
                <a:gd name="connsiteX2" fmla="*/ 0 w 1263387"/>
                <a:gd name="connsiteY2" fmla="*/ 257442 h 257442"/>
                <a:gd name="connsiteX3" fmla="*/ 54722 w 1263387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0 w 1263386"/>
                <a:gd name="connsiteY3" fmla="*/ 0 h 257442"/>
                <a:gd name="connsiteX0" fmla="*/ 1449334 w 1449334"/>
                <a:gd name="connsiteY0" fmla="*/ 0 h 257442"/>
                <a:gd name="connsiteX1" fmla="*/ 1208665 w 1449334"/>
                <a:gd name="connsiteY1" fmla="*/ 257442 h 257442"/>
                <a:gd name="connsiteX2" fmla="*/ 0 w 1449334"/>
                <a:gd name="connsiteY2" fmla="*/ 257442 h 257442"/>
                <a:gd name="connsiteX3" fmla="*/ 54720 w 1449334"/>
                <a:gd name="connsiteY3" fmla="*/ 0 h 257442"/>
                <a:gd name="connsiteX0" fmla="*/ 1449334 w 1449334"/>
                <a:gd name="connsiteY0" fmla="*/ 0 h 257442"/>
                <a:gd name="connsiteX1" fmla="*/ 1394613 w 1449334"/>
                <a:gd name="connsiteY1" fmla="*/ 257442 h 257442"/>
                <a:gd name="connsiteX2" fmla="*/ 0 w 1449334"/>
                <a:gd name="connsiteY2" fmla="*/ 257442 h 257442"/>
                <a:gd name="connsiteX3" fmla="*/ 54720 w 1449334"/>
                <a:gd name="connsiteY3" fmla="*/ 0 h 257442"/>
                <a:gd name="connsiteX0" fmla="*/ 1449335 w 1449335"/>
                <a:gd name="connsiteY0" fmla="*/ 0 h 257442"/>
                <a:gd name="connsiteX1" fmla="*/ 1394614 w 1449335"/>
                <a:gd name="connsiteY1" fmla="*/ 257442 h 257442"/>
                <a:gd name="connsiteX2" fmla="*/ 0 w 1449335"/>
                <a:gd name="connsiteY2" fmla="*/ 257442 h 257442"/>
                <a:gd name="connsiteX3" fmla="*/ 54721 w 1449335"/>
                <a:gd name="connsiteY3" fmla="*/ 0 h 257442"/>
                <a:gd name="connsiteX0" fmla="*/ 1449335 w 1449335"/>
                <a:gd name="connsiteY0" fmla="*/ 0 h 257442"/>
                <a:gd name="connsiteX1" fmla="*/ 1394614 w 1449335"/>
                <a:gd name="connsiteY1" fmla="*/ 257442 h 257442"/>
                <a:gd name="connsiteX2" fmla="*/ 0 w 1449335"/>
                <a:gd name="connsiteY2" fmla="*/ 257442 h 257442"/>
                <a:gd name="connsiteX3" fmla="*/ 54722 w 1449335"/>
                <a:gd name="connsiteY3" fmla="*/ 0 h 257442"/>
                <a:gd name="connsiteX0" fmla="*/ 1609636 w 1609636"/>
                <a:gd name="connsiteY0" fmla="*/ 0 h 257442"/>
                <a:gd name="connsiteX1" fmla="*/ 1394614 w 1609636"/>
                <a:gd name="connsiteY1" fmla="*/ 257442 h 257442"/>
                <a:gd name="connsiteX2" fmla="*/ 0 w 1609636"/>
                <a:gd name="connsiteY2" fmla="*/ 257442 h 257442"/>
                <a:gd name="connsiteX3" fmla="*/ 54722 w 1609636"/>
                <a:gd name="connsiteY3" fmla="*/ 0 h 257442"/>
                <a:gd name="connsiteX0" fmla="*/ 1609636 w 1609636"/>
                <a:gd name="connsiteY0" fmla="*/ 0 h 257442"/>
                <a:gd name="connsiteX1" fmla="*/ 1554914 w 1609636"/>
                <a:gd name="connsiteY1" fmla="*/ 257442 h 257442"/>
                <a:gd name="connsiteX2" fmla="*/ 0 w 1609636"/>
                <a:gd name="connsiteY2" fmla="*/ 257442 h 257442"/>
                <a:gd name="connsiteX3" fmla="*/ 54722 w 1609636"/>
                <a:gd name="connsiteY3" fmla="*/ 0 h 257442"/>
                <a:gd name="connsiteX0" fmla="*/ 1609636 w 1609636"/>
                <a:gd name="connsiteY0" fmla="*/ 0 h 257442"/>
                <a:gd name="connsiteX1" fmla="*/ 1554914 w 1609636"/>
                <a:gd name="connsiteY1" fmla="*/ 257442 h 257442"/>
                <a:gd name="connsiteX2" fmla="*/ 0 w 1609636"/>
                <a:gd name="connsiteY2" fmla="*/ 257442 h 257442"/>
                <a:gd name="connsiteX3" fmla="*/ 54722 w 1609636"/>
                <a:gd name="connsiteY3" fmla="*/ 0 h 257442"/>
                <a:gd name="connsiteX0" fmla="*/ 1609636 w 1609636"/>
                <a:gd name="connsiteY0" fmla="*/ 0 h 257442"/>
                <a:gd name="connsiteX1" fmla="*/ 1554914 w 1609636"/>
                <a:gd name="connsiteY1" fmla="*/ 257442 h 257442"/>
                <a:gd name="connsiteX2" fmla="*/ 0 w 1609636"/>
                <a:gd name="connsiteY2" fmla="*/ 257442 h 257442"/>
                <a:gd name="connsiteX3" fmla="*/ 54721 w 1609636"/>
                <a:gd name="connsiteY3" fmla="*/ 0 h 257442"/>
                <a:gd name="connsiteX0" fmla="*/ 1769935 w 1769935"/>
                <a:gd name="connsiteY0" fmla="*/ 0 h 257442"/>
                <a:gd name="connsiteX1" fmla="*/ 1554914 w 1769935"/>
                <a:gd name="connsiteY1" fmla="*/ 257442 h 257442"/>
                <a:gd name="connsiteX2" fmla="*/ 0 w 1769935"/>
                <a:gd name="connsiteY2" fmla="*/ 257442 h 257442"/>
                <a:gd name="connsiteX3" fmla="*/ 54721 w 1769935"/>
                <a:gd name="connsiteY3" fmla="*/ 0 h 257442"/>
                <a:gd name="connsiteX0" fmla="*/ 1769935 w 1769935"/>
                <a:gd name="connsiteY0" fmla="*/ 0 h 257442"/>
                <a:gd name="connsiteX1" fmla="*/ 1715214 w 1769935"/>
                <a:gd name="connsiteY1" fmla="*/ 257442 h 257442"/>
                <a:gd name="connsiteX2" fmla="*/ 0 w 1769935"/>
                <a:gd name="connsiteY2" fmla="*/ 257442 h 257442"/>
                <a:gd name="connsiteX3" fmla="*/ 54721 w 1769935"/>
                <a:gd name="connsiteY3" fmla="*/ 0 h 257442"/>
                <a:gd name="connsiteX0" fmla="*/ 1769935 w 1769935"/>
                <a:gd name="connsiteY0" fmla="*/ 0 h 257442"/>
                <a:gd name="connsiteX1" fmla="*/ 1715214 w 1769935"/>
                <a:gd name="connsiteY1" fmla="*/ 257442 h 257442"/>
                <a:gd name="connsiteX2" fmla="*/ 0 w 1769935"/>
                <a:gd name="connsiteY2" fmla="*/ 257442 h 257442"/>
                <a:gd name="connsiteX3" fmla="*/ 54721 w 1769935"/>
                <a:gd name="connsiteY3" fmla="*/ 0 h 257442"/>
                <a:gd name="connsiteX0" fmla="*/ 1769935 w 1769935"/>
                <a:gd name="connsiteY0" fmla="*/ 0 h 257442"/>
                <a:gd name="connsiteX1" fmla="*/ 1715214 w 1769935"/>
                <a:gd name="connsiteY1" fmla="*/ 257442 h 257442"/>
                <a:gd name="connsiteX2" fmla="*/ 0 w 1769935"/>
                <a:gd name="connsiteY2" fmla="*/ 257442 h 257442"/>
                <a:gd name="connsiteX3" fmla="*/ 54721 w 1769935"/>
                <a:gd name="connsiteY3" fmla="*/ 0 h 257442"/>
                <a:gd name="connsiteX0" fmla="*/ 950801 w 1715214"/>
                <a:gd name="connsiteY0" fmla="*/ 0 h 257442"/>
                <a:gd name="connsiteX1" fmla="*/ 1715214 w 1715214"/>
                <a:gd name="connsiteY1" fmla="*/ 257442 h 257442"/>
                <a:gd name="connsiteX2" fmla="*/ 0 w 1715214"/>
                <a:gd name="connsiteY2" fmla="*/ 257442 h 257442"/>
                <a:gd name="connsiteX3" fmla="*/ 54721 w 1715214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5472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5472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439717 w 1439717"/>
                <a:gd name="connsiteY0" fmla="*/ 0 h 257442"/>
                <a:gd name="connsiteX1" fmla="*/ 1224695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748904 w 1748904"/>
                <a:gd name="connsiteY0" fmla="*/ 0 h 257442"/>
                <a:gd name="connsiteX1" fmla="*/ 1384996 w 1748904"/>
                <a:gd name="connsiteY1" fmla="*/ 257442 h 257442"/>
                <a:gd name="connsiteX2" fmla="*/ 0 w 1748904"/>
                <a:gd name="connsiteY2" fmla="*/ 257442 h 257442"/>
                <a:gd name="connsiteX3" fmla="*/ 54721 w 1748904"/>
                <a:gd name="connsiteY3" fmla="*/ 0 h 257442"/>
                <a:gd name="connsiteX0" fmla="*/ 1748904 w 1748904"/>
                <a:gd name="connsiteY0" fmla="*/ 0 h 257442"/>
                <a:gd name="connsiteX1" fmla="*/ 1694182 w 1748904"/>
                <a:gd name="connsiteY1" fmla="*/ 257442 h 257442"/>
                <a:gd name="connsiteX2" fmla="*/ 0 w 1748904"/>
                <a:gd name="connsiteY2" fmla="*/ 257442 h 257442"/>
                <a:gd name="connsiteX3" fmla="*/ 54721 w 1748904"/>
                <a:gd name="connsiteY3" fmla="*/ 0 h 257442"/>
                <a:gd name="connsiteX0" fmla="*/ 1748905 w 1748905"/>
                <a:gd name="connsiteY0" fmla="*/ 0 h 257442"/>
                <a:gd name="connsiteX1" fmla="*/ 1694183 w 1748905"/>
                <a:gd name="connsiteY1" fmla="*/ 257442 h 257442"/>
                <a:gd name="connsiteX2" fmla="*/ 0 w 1748905"/>
                <a:gd name="connsiteY2" fmla="*/ 257442 h 257442"/>
                <a:gd name="connsiteX3" fmla="*/ 54722 w 1748905"/>
                <a:gd name="connsiteY3" fmla="*/ 0 h 257442"/>
                <a:gd name="connsiteX0" fmla="*/ 1748905 w 1748905"/>
                <a:gd name="connsiteY0" fmla="*/ 0 h 257442"/>
                <a:gd name="connsiteX1" fmla="*/ 1694183 w 1748905"/>
                <a:gd name="connsiteY1" fmla="*/ 257442 h 257442"/>
                <a:gd name="connsiteX2" fmla="*/ 0 w 1748905"/>
                <a:gd name="connsiteY2" fmla="*/ 257442 h 257442"/>
                <a:gd name="connsiteX3" fmla="*/ 54722 w 1748905"/>
                <a:gd name="connsiteY3" fmla="*/ 0 h 257442"/>
                <a:gd name="connsiteX0" fmla="*/ 1917221 w 1917221"/>
                <a:gd name="connsiteY0" fmla="*/ 0 h 257442"/>
                <a:gd name="connsiteX1" fmla="*/ 1694183 w 1917221"/>
                <a:gd name="connsiteY1" fmla="*/ 257442 h 257442"/>
                <a:gd name="connsiteX2" fmla="*/ 0 w 1917221"/>
                <a:gd name="connsiteY2" fmla="*/ 257442 h 257442"/>
                <a:gd name="connsiteX3" fmla="*/ 54722 w 1917221"/>
                <a:gd name="connsiteY3" fmla="*/ 0 h 257442"/>
                <a:gd name="connsiteX0" fmla="*/ 1917221 w 1917221"/>
                <a:gd name="connsiteY0" fmla="*/ 0 h 257442"/>
                <a:gd name="connsiteX1" fmla="*/ 1862500 w 1917221"/>
                <a:gd name="connsiteY1" fmla="*/ 257442 h 257442"/>
                <a:gd name="connsiteX2" fmla="*/ 0 w 1917221"/>
                <a:gd name="connsiteY2" fmla="*/ 257442 h 257442"/>
                <a:gd name="connsiteX3" fmla="*/ 54722 w 1917221"/>
                <a:gd name="connsiteY3" fmla="*/ 0 h 257442"/>
                <a:gd name="connsiteX0" fmla="*/ 1917220 w 1917220"/>
                <a:gd name="connsiteY0" fmla="*/ 0 h 257442"/>
                <a:gd name="connsiteX1" fmla="*/ 1862499 w 1917220"/>
                <a:gd name="connsiteY1" fmla="*/ 257442 h 257442"/>
                <a:gd name="connsiteX2" fmla="*/ 0 w 1917220"/>
                <a:gd name="connsiteY2" fmla="*/ 257442 h 257442"/>
                <a:gd name="connsiteX3" fmla="*/ 54721 w 1917220"/>
                <a:gd name="connsiteY3" fmla="*/ 0 h 257442"/>
                <a:gd name="connsiteX0" fmla="*/ 1917220 w 1917220"/>
                <a:gd name="connsiteY0" fmla="*/ 0 h 257442"/>
                <a:gd name="connsiteX1" fmla="*/ 1862499 w 1917220"/>
                <a:gd name="connsiteY1" fmla="*/ 257442 h 257442"/>
                <a:gd name="connsiteX2" fmla="*/ 0 w 1917220"/>
                <a:gd name="connsiteY2" fmla="*/ 257442 h 257442"/>
                <a:gd name="connsiteX3" fmla="*/ 54720 w 1917220"/>
                <a:gd name="connsiteY3" fmla="*/ 0 h 257442"/>
                <a:gd name="connsiteX0" fmla="*/ 2196141 w 2196141"/>
                <a:gd name="connsiteY0" fmla="*/ 0 h 257442"/>
                <a:gd name="connsiteX1" fmla="*/ 1862499 w 2196141"/>
                <a:gd name="connsiteY1" fmla="*/ 257442 h 257442"/>
                <a:gd name="connsiteX2" fmla="*/ 0 w 2196141"/>
                <a:gd name="connsiteY2" fmla="*/ 257442 h 257442"/>
                <a:gd name="connsiteX3" fmla="*/ 54720 w 2196141"/>
                <a:gd name="connsiteY3" fmla="*/ 0 h 257442"/>
                <a:gd name="connsiteX0" fmla="*/ 2196141 w 2196141"/>
                <a:gd name="connsiteY0" fmla="*/ 0 h 257442"/>
                <a:gd name="connsiteX1" fmla="*/ 2141420 w 2196141"/>
                <a:gd name="connsiteY1" fmla="*/ 257442 h 257442"/>
                <a:gd name="connsiteX2" fmla="*/ 0 w 2196141"/>
                <a:gd name="connsiteY2" fmla="*/ 257442 h 257442"/>
                <a:gd name="connsiteX3" fmla="*/ 54720 w 2196141"/>
                <a:gd name="connsiteY3" fmla="*/ 0 h 257442"/>
                <a:gd name="connsiteX0" fmla="*/ 2196142 w 2196142"/>
                <a:gd name="connsiteY0" fmla="*/ 0 h 257442"/>
                <a:gd name="connsiteX1" fmla="*/ 2141421 w 2196142"/>
                <a:gd name="connsiteY1" fmla="*/ 257442 h 257442"/>
                <a:gd name="connsiteX2" fmla="*/ 0 w 2196142"/>
                <a:gd name="connsiteY2" fmla="*/ 257442 h 257442"/>
                <a:gd name="connsiteX3" fmla="*/ 54721 w 2196142"/>
                <a:gd name="connsiteY3" fmla="*/ 0 h 257442"/>
                <a:gd name="connsiteX0" fmla="*/ 2196142 w 2196142"/>
                <a:gd name="connsiteY0" fmla="*/ 0 h 257442"/>
                <a:gd name="connsiteX1" fmla="*/ 2141421 w 2196142"/>
                <a:gd name="connsiteY1" fmla="*/ 257442 h 257442"/>
                <a:gd name="connsiteX2" fmla="*/ 0 w 2196142"/>
                <a:gd name="connsiteY2" fmla="*/ 257442 h 257442"/>
                <a:gd name="connsiteX3" fmla="*/ 54721 w 2196142"/>
                <a:gd name="connsiteY3" fmla="*/ 0 h 257442"/>
                <a:gd name="connsiteX0" fmla="*/ 2364457 w 2364457"/>
                <a:gd name="connsiteY0" fmla="*/ 0 h 257442"/>
                <a:gd name="connsiteX1" fmla="*/ 2141421 w 2364457"/>
                <a:gd name="connsiteY1" fmla="*/ 257442 h 257442"/>
                <a:gd name="connsiteX2" fmla="*/ 0 w 2364457"/>
                <a:gd name="connsiteY2" fmla="*/ 257442 h 257442"/>
                <a:gd name="connsiteX3" fmla="*/ 54721 w 2364457"/>
                <a:gd name="connsiteY3" fmla="*/ 0 h 257442"/>
                <a:gd name="connsiteX0" fmla="*/ 2364457 w 2364457"/>
                <a:gd name="connsiteY0" fmla="*/ 0 h 257442"/>
                <a:gd name="connsiteX1" fmla="*/ 2309736 w 2364457"/>
                <a:gd name="connsiteY1" fmla="*/ 257442 h 257442"/>
                <a:gd name="connsiteX2" fmla="*/ 0 w 2364457"/>
                <a:gd name="connsiteY2" fmla="*/ 257442 h 257442"/>
                <a:gd name="connsiteX3" fmla="*/ 54721 w 2364457"/>
                <a:gd name="connsiteY3" fmla="*/ 0 h 257442"/>
                <a:gd name="connsiteX0" fmla="*/ 2364457 w 2364457"/>
                <a:gd name="connsiteY0" fmla="*/ 0 h 257442"/>
                <a:gd name="connsiteX1" fmla="*/ 2309736 w 2364457"/>
                <a:gd name="connsiteY1" fmla="*/ 257442 h 257442"/>
                <a:gd name="connsiteX2" fmla="*/ 0 w 2364457"/>
                <a:gd name="connsiteY2" fmla="*/ 257442 h 257442"/>
                <a:gd name="connsiteX3" fmla="*/ 54721 w 2364457"/>
                <a:gd name="connsiteY3" fmla="*/ 0 h 257442"/>
                <a:gd name="connsiteX0" fmla="*/ 2364457 w 2364457"/>
                <a:gd name="connsiteY0" fmla="*/ 0 h 257442"/>
                <a:gd name="connsiteX1" fmla="*/ 2309736 w 2364457"/>
                <a:gd name="connsiteY1" fmla="*/ 257442 h 257442"/>
                <a:gd name="connsiteX2" fmla="*/ 0 w 2364457"/>
                <a:gd name="connsiteY2" fmla="*/ 257442 h 257442"/>
                <a:gd name="connsiteX3" fmla="*/ 54721 w 2364457"/>
                <a:gd name="connsiteY3" fmla="*/ 0 h 257442"/>
                <a:gd name="connsiteX0" fmla="*/ 2662937 w 2662937"/>
                <a:gd name="connsiteY0" fmla="*/ 0 h 257442"/>
                <a:gd name="connsiteX1" fmla="*/ 2309736 w 2662937"/>
                <a:gd name="connsiteY1" fmla="*/ 257442 h 257442"/>
                <a:gd name="connsiteX2" fmla="*/ 0 w 2662937"/>
                <a:gd name="connsiteY2" fmla="*/ 257442 h 257442"/>
                <a:gd name="connsiteX3" fmla="*/ 54721 w 2662937"/>
                <a:gd name="connsiteY3" fmla="*/ 0 h 257442"/>
                <a:gd name="connsiteX0" fmla="*/ 2662937 w 2662937"/>
                <a:gd name="connsiteY0" fmla="*/ 0 h 257442"/>
                <a:gd name="connsiteX1" fmla="*/ 2608216 w 2662937"/>
                <a:gd name="connsiteY1" fmla="*/ 257442 h 257442"/>
                <a:gd name="connsiteX2" fmla="*/ 0 w 2662937"/>
                <a:gd name="connsiteY2" fmla="*/ 257442 h 257442"/>
                <a:gd name="connsiteX3" fmla="*/ 54721 w 2662937"/>
                <a:gd name="connsiteY3" fmla="*/ 0 h 257442"/>
                <a:gd name="connsiteX0" fmla="*/ 2662937 w 2662937"/>
                <a:gd name="connsiteY0" fmla="*/ 0 h 257442"/>
                <a:gd name="connsiteX1" fmla="*/ 2608216 w 2662937"/>
                <a:gd name="connsiteY1" fmla="*/ 257442 h 257442"/>
                <a:gd name="connsiteX2" fmla="*/ 0 w 2662937"/>
                <a:gd name="connsiteY2" fmla="*/ 257442 h 257442"/>
                <a:gd name="connsiteX3" fmla="*/ 54721 w 2662937"/>
                <a:gd name="connsiteY3" fmla="*/ 0 h 257442"/>
                <a:gd name="connsiteX0" fmla="*/ 2662937 w 2662937"/>
                <a:gd name="connsiteY0" fmla="*/ 0 h 257442"/>
                <a:gd name="connsiteX1" fmla="*/ 2608216 w 2662937"/>
                <a:gd name="connsiteY1" fmla="*/ 257442 h 257442"/>
                <a:gd name="connsiteX2" fmla="*/ 0 w 2662937"/>
                <a:gd name="connsiteY2" fmla="*/ 257442 h 257442"/>
                <a:gd name="connsiteX3" fmla="*/ 54721 w 2662937"/>
                <a:gd name="connsiteY3" fmla="*/ 0 h 257442"/>
                <a:gd name="connsiteX0" fmla="*/ 1696518 w 2608216"/>
                <a:gd name="connsiteY0" fmla="*/ 0 h 257442"/>
                <a:gd name="connsiteX1" fmla="*/ 2608216 w 2608216"/>
                <a:gd name="connsiteY1" fmla="*/ 257442 h 257442"/>
                <a:gd name="connsiteX2" fmla="*/ 0 w 2608216"/>
                <a:gd name="connsiteY2" fmla="*/ 257442 h 257442"/>
                <a:gd name="connsiteX3" fmla="*/ 54721 w 2608216"/>
                <a:gd name="connsiteY3" fmla="*/ 0 h 257442"/>
                <a:gd name="connsiteX0" fmla="*/ 1696518 w 1696518"/>
                <a:gd name="connsiteY0" fmla="*/ 0 h 257442"/>
                <a:gd name="connsiteX1" fmla="*/ 1641797 w 1696518"/>
                <a:gd name="connsiteY1" fmla="*/ 257442 h 257442"/>
                <a:gd name="connsiteX2" fmla="*/ 0 w 1696518"/>
                <a:gd name="connsiteY2" fmla="*/ 257442 h 257442"/>
                <a:gd name="connsiteX3" fmla="*/ 54721 w 1696518"/>
                <a:gd name="connsiteY3" fmla="*/ 0 h 257442"/>
                <a:gd name="connsiteX0" fmla="*/ 1696518 w 1696518"/>
                <a:gd name="connsiteY0" fmla="*/ 0 h 257442"/>
                <a:gd name="connsiteX1" fmla="*/ 1641797 w 1696518"/>
                <a:gd name="connsiteY1" fmla="*/ 257442 h 257442"/>
                <a:gd name="connsiteX2" fmla="*/ 0 w 1696518"/>
                <a:gd name="connsiteY2" fmla="*/ 257442 h 257442"/>
                <a:gd name="connsiteX3" fmla="*/ 54721 w 1696518"/>
                <a:gd name="connsiteY3" fmla="*/ 0 h 257442"/>
                <a:gd name="connsiteX0" fmla="*/ 1696518 w 1696518"/>
                <a:gd name="connsiteY0" fmla="*/ 0 h 257442"/>
                <a:gd name="connsiteX1" fmla="*/ 1641797 w 1696518"/>
                <a:gd name="connsiteY1" fmla="*/ 257442 h 257442"/>
                <a:gd name="connsiteX2" fmla="*/ 0 w 1696518"/>
                <a:gd name="connsiteY2" fmla="*/ 257442 h 257442"/>
                <a:gd name="connsiteX3" fmla="*/ 54721 w 1696518"/>
                <a:gd name="connsiteY3" fmla="*/ 0 h 257442"/>
                <a:gd name="connsiteX0" fmla="*/ 1856818 w 1856818"/>
                <a:gd name="connsiteY0" fmla="*/ 0 h 257442"/>
                <a:gd name="connsiteX1" fmla="*/ 1641797 w 1856818"/>
                <a:gd name="connsiteY1" fmla="*/ 257442 h 257442"/>
                <a:gd name="connsiteX2" fmla="*/ 0 w 1856818"/>
                <a:gd name="connsiteY2" fmla="*/ 257442 h 257442"/>
                <a:gd name="connsiteX3" fmla="*/ 54721 w 1856818"/>
                <a:gd name="connsiteY3" fmla="*/ 0 h 257442"/>
                <a:gd name="connsiteX0" fmla="*/ 1856818 w 1856818"/>
                <a:gd name="connsiteY0" fmla="*/ 0 h 257442"/>
                <a:gd name="connsiteX1" fmla="*/ 1802097 w 1856818"/>
                <a:gd name="connsiteY1" fmla="*/ 257442 h 257442"/>
                <a:gd name="connsiteX2" fmla="*/ 0 w 1856818"/>
                <a:gd name="connsiteY2" fmla="*/ 257442 h 257442"/>
                <a:gd name="connsiteX3" fmla="*/ 54721 w 1856818"/>
                <a:gd name="connsiteY3" fmla="*/ 0 h 257442"/>
                <a:gd name="connsiteX0" fmla="*/ 1856818 w 1856818"/>
                <a:gd name="connsiteY0" fmla="*/ 0 h 257442"/>
                <a:gd name="connsiteX1" fmla="*/ 1802097 w 1856818"/>
                <a:gd name="connsiteY1" fmla="*/ 257442 h 257442"/>
                <a:gd name="connsiteX2" fmla="*/ 0 w 1856818"/>
                <a:gd name="connsiteY2" fmla="*/ 257442 h 257442"/>
                <a:gd name="connsiteX3" fmla="*/ 54721 w 1856818"/>
                <a:gd name="connsiteY3" fmla="*/ 0 h 257442"/>
                <a:gd name="connsiteX0" fmla="*/ 1856818 w 1856818"/>
                <a:gd name="connsiteY0" fmla="*/ 0 h 257442"/>
                <a:gd name="connsiteX1" fmla="*/ 1802097 w 1856818"/>
                <a:gd name="connsiteY1" fmla="*/ 257442 h 257442"/>
                <a:gd name="connsiteX2" fmla="*/ 0 w 1856818"/>
                <a:gd name="connsiteY2" fmla="*/ 257442 h 257442"/>
                <a:gd name="connsiteX3" fmla="*/ 54721 w 1856818"/>
                <a:gd name="connsiteY3" fmla="*/ 0 h 257442"/>
                <a:gd name="connsiteX0" fmla="*/ 2017119 w 2017119"/>
                <a:gd name="connsiteY0" fmla="*/ 0 h 257442"/>
                <a:gd name="connsiteX1" fmla="*/ 1802097 w 2017119"/>
                <a:gd name="connsiteY1" fmla="*/ 257442 h 257442"/>
                <a:gd name="connsiteX2" fmla="*/ 0 w 2017119"/>
                <a:gd name="connsiteY2" fmla="*/ 257442 h 257442"/>
                <a:gd name="connsiteX3" fmla="*/ 54721 w 2017119"/>
                <a:gd name="connsiteY3" fmla="*/ 0 h 257442"/>
                <a:gd name="connsiteX0" fmla="*/ 2017119 w 2017119"/>
                <a:gd name="connsiteY0" fmla="*/ 0 h 257442"/>
                <a:gd name="connsiteX1" fmla="*/ 1962398 w 2017119"/>
                <a:gd name="connsiteY1" fmla="*/ 257442 h 257442"/>
                <a:gd name="connsiteX2" fmla="*/ 0 w 2017119"/>
                <a:gd name="connsiteY2" fmla="*/ 257442 h 257442"/>
                <a:gd name="connsiteX3" fmla="*/ 54721 w 2017119"/>
                <a:gd name="connsiteY3" fmla="*/ 0 h 257442"/>
                <a:gd name="connsiteX0" fmla="*/ 2017119 w 2017119"/>
                <a:gd name="connsiteY0" fmla="*/ 0 h 257442"/>
                <a:gd name="connsiteX1" fmla="*/ 1962398 w 2017119"/>
                <a:gd name="connsiteY1" fmla="*/ 257442 h 257442"/>
                <a:gd name="connsiteX2" fmla="*/ 0 w 2017119"/>
                <a:gd name="connsiteY2" fmla="*/ 257442 h 257442"/>
                <a:gd name="connsiteX3" fmla="*/ 54721 w 2017119"/>
                <a:gd name="connsiteY3" fmla="*/ 0 h 257442"/>
                <a:gd name="connsiteX0" fmla="*/ 2017119 w 2017119"/>
                <a:gd name="connsiteY0" fmla="*/ 0 h 257442"/>
                <a:gd name="connsiteX1" fmla="*/ 1962398 w 2017119"/>
                <a:gd name="connsiteY1" fmla="*/ 257442 h 257442"/>
                <a:gd name="connsiteX2" fmla="*/ 0 w 2017119"/>
                <a:gd name="connsiteY2" fmla="*/ 257442 h 257442"/>
                <a:gd name="connsiteX3" fmla="*/ 54721 w 2017119"/>
                <a:gd name="connsiteY3" fmla="*/ 0 h 257442"/>
                <a:gd name="connsiteX0" fmla="*/ 2296041 w 2296041"/>
                <a:gd name="connsiteY0" fmla="*/ 0 h 257442"/>
                <a:gd name="connsiteX1" fmla="*/ 1962398 w 2296041"/>
                <a:gd name="connsiteY1" fmla="*/ 257442 h 257442"/>
                <a:gd name="connsiteX2" fmla="*/ 0 w 2296041"/>
                <a:gd name="connsiteY2" fmla="*/ 257442 h 257442"/>
                <a:gd name="connsiteX3" fmla="*/ 54721 w 2296041"/>
                <a:gd name="connsiteY3" fmla="*/ 0 h 257442"/>
                <a:gd name="connsiteX0" fmla="*/ 2296041 w 2296041"/>
                <a:gd name="connsiteY0" fmla="*/ 0 h 257442"/>
                <a:gd name="connsiteX1" fmla="*/ 2241320 w 2296041"/>
                <a:gd name="connsiteY1" fmla="*/ 257442 h 257442"/>
                <a:gd name="connsiteX2" fmla="*/ 0 w 2296041"/>
                <a:gd name="connsiteY2" fmla="*/ 257442 h 257442"/>
                <a:gd name="connsiteX3" fmla="*/ 54721 w 2296041"/>
                <a:gd name="connsiteY3" fmla="*/ 0 h 257442"/>
                <a:gd name="connsiteX0" fmla="*/ 2296041 w 2296041"/>
                <a:gd name="connsiteY0" fmla="*/ 0 h 257442"/>
                <a:gd name="connsiteX1" fmla="*/ 2241320 w 2296041"/>
                <a:gd name="connsiteY1" fmla="*/ 257442 h 257442"/>
                <a:gd name="connsiteX2" fmla="*/ 0 w 2296041"/>
                <a:gd name="connsiteY2" fmla="*/ 257442 h 257442"/>
                <a:gd name="connsiteX3" fmla="*/ 54721 w 2296041"/>
                <a:gd name="connsiteY3" fmla="*/ 0 h 257442"/>
                <a:gd name="connsiteX0" fmla="*/ 2296041 w 2296041"/>
                <a:gd name="connsiteY0" fmla="*/ 0 h 257442"/>
                <a:gd name="connsiteX1" fmla="*/ 2241320 w 2296041"/>
                <a:gd name="connsiteY1" fmla="*/ 257442 h 257442"/>
                <a:gd name="connsiteX2" fmla="*/ 0 w 2296041"/>
                <a:gd name="connsiteY2" fmla="*/ 257442 h 257442"/>
                <a:gd name="connsiteX3" fmla="*/ 54721 w 2296041"/>
                <a:gd name="connsiteY3" fmla="*/ 0 h 257442"/>
                <a:gd name="connsiteX0" fmla="*/ 2464356 w 2464356"/>
                <a:gd name="connsiteY0" fmla="*/ 0 h 257442"/>
                <a:gd name="connsiteX1" fmla="*/ 2241320 w 2464356"/>
                <a:gd name="connsiteY1" fmla="*/ 257442 h 257442"/>
                <a:gd name="connsiteX2" fmla="*/ 0 w 2464356"/>
                <a:gd name="connsiteY2" fmla="*/ 257442 h 257442"/>
                <a:gd name="connsiteX3" fmla="*/ 54721 w 2464356"/>
                <a:gd name="connsiteY3" fmla="*/ 0 h 257442"/>
                <a:gd name="connsiteX0" fmla="*/ 2464356 w 2464356"/>
                <a:gd name="connsiteY0" fmla="*/ 0 h 257442"/>
                <a:gd name="connsiteX1" fmla="*/ 2409634 w 2464356"/>
                <a:gd name="connsiteY1" fmla="*/ 257442 h 257442"/>
                <a:gd name="connsiteX2" fmla="*/ 0 w 2464356"/>
                <a:gd name="connsiteY2" fmla="*/ 257442 h 257442"/>
                <a:gd name="connsiteX3" fmla="*/ 54721 w 2464356"/>
                <a:gd name="connsiteY3" fmla="*/ 0 h 257442"/>
                <a:gd name="connsiteX0" fmla="*/ 2464357 w 2464357"/>
                <a:gd name="connsiteY0" fmla="*/ 0 h 257442"/>
                <a:gd name="connsiteX1" fmla="*/ 2409635 w 2464357"/>
                <a:gd name="connsiteY1" fmla="*/ 257442 h 257442"/>
                <a:gd name="connsiteX2" fmla="*/ 0 w 2464357"/>
                <a:gd name="connsiteY2" fmla="*/ 257442 h 257442"/>
                <a:gd name="connsiteX3" fmla="*/ 54722 w 2464357"/>
                <a:gd name="connsiteY3" fmla="*/ 0 h 257442"/>
                <a:gd name="connsiteX0" fmla="*/ 2464357 w 2464357"/>
                <a:gd name="connsiteY0" fmla="*/ 0 h 257442"/>
                <a:gd name="connsiteX1" fmla="*/ 2409635 w 2464357"/>
                <a:gd name="connsiteY1" fmla="*/ 257442 h 257442"/>
                <a:gd name="connsiteX2" fmla="*/ 0 w 2464357"/>
                <a:gd name="connsiteY2" fmla="*/ 257442 h 257442"/>
                <a:gd name="connsiteX3" fmla="*/ 54722 w 2464357"/>
                <a:gd name="connsiteY3" fmla="*/ 0 h 257442"/>
                <a:gd name="connsiteX0" fmla="*/ 2642291 w 2642291"/>
                <a:gd name="connsiteY0" fmla="*/ 0 h 257442"/>
                <a:gd name="connsiteX1" fmla="*/ 2409635 w 2642291"/>
                <a:gd name="connsiteY1" fmla="*/ 257442 h 257442"/>
                <a:gd name="connsiteX2" fmla="*/ 0 w 2642291"/>
                <a:gd name="connsiteY2" fmla="*/ 257442 h 257442"/>
                <a:gd name="connsiteX3" fmla="*/ 54722 w 2642291"/>
                <a:gd name="connsiteY3" fmla="*/ 0 h 257442"/>
                <a:gd name="connsiteX0" fmla="*/ 2642291 w 2642291"/>
                <a:gd name="connsiteY0" fmla="*/ 0 h 257442"/>
                <a:gd name="connsiteX1" fmla="*/ 2587570 w 2642291"/>
                <a:gd name="connsiteY1" fmla="*/ 257442 h 257442"/>
                <a:gd name="connsiteX2" fmla="*/ 0 w 2642291"/>
                <a:gd name="connsiteY2" fmla="*/ 257442 h 257442"/>
                <a:gd name="connsiteX3" fmla="*/ 54722 w 2642291"/>
                <a:gd name="connsiteY3" fmla="*/ 0 h 257442"/>
                <a:gd name="connsiteX0" fmla="*/ 2642290 w 2642290"/>
                <a:gd name="connsiteY0" fmla="*/ 0 h 257442"/>
                <a:gd name="connsiteX1" fmla="*/ 2587569 w 2642290"/>
                <a:gd name="connsiteY1" fmla="*/ 257442 h 257442"/>
                <a:gd name="connsiteX2" fmla="*/ 0 w 2642290"/>
                <a:gd name="connsiteY2" fmla="*/ 257442 h 257442"/>
                <a:gd name="connsiteX3" fmla="*/ 54721 w 2642290"/>
                <a:gd name="connsiteY3" fmla="*/ 0 h 257442"/>
                <a:gd name="connsiteX0" fmla="*/ 2642290 w 2642290"/>
                <a:gd name="connsiteY0" fmla="*/ 0 h 257442"/>
                <a:gd name="connsiteX1" fmla="*/ 2587569 w 2642290"/>
                <a:gd name="connsiteY1" fmla="*/ 257442 h 257442"/>
                <a:gd name="connsiteX2" fmla="*/ 0 w 2642290"/>
                <a:gd name="connsiteY2" fmla="*/ 257442 h 257442"/>
                <a:gd name="connsiteX3" fmla="*/ 54720 w 2642290"/>
                <a:gd name="connsiteY3" fmla="*/ 0 h 257442"/>
                <a:gd name="connsiteX0" fmla="*/ 2810604 w 2810604"/>
                <a:gd name="connsiteY0" fmla="*/ 0 h 257442"/>
                <a:gd name="connsiteX1" fmla="*/ 2587569 w 2810604"/>
                <a:gd name="connsiteY1" fmla="*/ 257442 h 257442"/>
                <a:gd name="connsiteX2" fmla="*/ 0 w 2810604"/>
                <a:gd name="connsiteY2" fmla="*/ 257442 h 257442"/>
                <a:gd name="connsiteX3" fmla="*/ 54720 w 2810604"/>
                <a:gd name="connsiteY3" fmla="*/ 0 h 257442"/>
                <a:gd name="connsiteX0" fmla="*/ 2810604 w 2810604"/>
                <a:gd name="connsiteY0" fmla="*/ 0 h 257442"/>
                <a:gd name="connsiteX1" fmla="*/ 2755883 w 2810604"/>
                <a:gd name="connsiteY1" fmla="*/ 257442 h 257442"/>
                <a:gd name="connsiteX2" fmla="*/ 0 w 2810604"/>
                <a:gd name="connsiteY2" fmla="*/ 257442 h 257442"/>
                <a:gd name="connsiteX3" fmla="*/ 54720 w 2810604"/>
                <a:gd name="connsiteY3" fmla="*/ 0 h 257442"/>
                <a:gd name="connsiteX0" fmla="*/ 2810605 w 2810605"/>
                <a:gd name="connsiteY0" fmla="*/ 0 h 257442"/>
                <a:gd name="connsiteX1" fmla="*/ 2755884 w 2810605"/>
                <a:gd name="connsiteY1" fmla="*/ 257442 h 257442"/>
                <a:gd name="connsiteX2" fmla="*/ 0 w 2810605"/>
                <a:gd name="connsiteY2" fmla="*/ 257442 h 257442"/>
                <a:gd name="connsiteX3" fmla="*/ 54721 w 2810605"/>
                <a:gd name="connsiteY3" fmla="*/ 0 h 257442"/>
                <a:gd name="connsiteX0" fmla="*/ 2810605 w 2810605"/>
                <a:gd name="connsiteY0" fmla="*/ 0 h 257442"/>
                <a:gd name="connsiteX1" fmla="*/ 2755884 w 2810605"/>
                <a:gd name="connsiteY1" fmla="*/ 257442 h 257442"/>
                <a:gd name="connsiteX2" fmla="*/ 0 w 2810605"/>
                <a:gd name="connsiteY2" fmla="*/ 257442 h 257442"/>
                <a:gd name="connsiteX3" fmla="*/ 54722 w 2810605"/>
                <a:gd name="connsiteY3" fmla="*/ 0 h 257442"/>
                <a:gd name="connsiteX0" fmla="*/ 1587515 w 2755884"/>
                <a:gd name="connsiteY0" fmla="*/ 0 h 257442"/>
                <a:gd name="connsiteX1" fmla="*/ 2755884 w 2755884"/>
                <a:gd name="connsiteY1" fmla="*/ 257442 h 257442"/>
                <a:gd name="connsiteX2" fmla="*/ 0 w 2755884"/>
                <a:gd name="connsiteY2" fmla="*/ 257442 h 257442"/>
                <a:gd name="connsiteX3" fmla="*/ 54722 w 2755884"/>
                <a:gd name="connsiteY3" fmla="*/ 0 h 257442"/>
                <a:gd name="connsiteX0" fmla="*/ 1587515 w 1587515"/>
                <a:gd name="connsiteY0" fmla="*/ 0 h 257442"/>
                <a:gd name="connsiteX1" fmla="*/ 1532794 w 1587515"/>
                <a:gd name="connsiteY1" fmla="*/ 257442 h 257442"/>
                <a:gd name="connsiteX2" fmla="*/ 0 w 1587515"/>
                <a:gd name="connsiteY2" fmla="*/ 257442 h 257442"/>
                <a:gd name="connsiteX3" fmla="*/ 54722 w 1587515"/>
                <a:gd name="connsiteY3" fmla="*/ 0 h 257442"/>
                <a:gd name="connsiteX0" fmla="*/ 1587513 w 1587513"/>
                <a:gd name="connsiteY0" fmla="*/ 0 h 257442"/>
                <a:gd name="connsiteX1" fmla="*/ 1532792 w 1587513"/>
                <a:gd name="connsiteY1" fmla="*/ 257442 h 257442"/>
                <a:gd name="connsiteX2" fmla="*/ 0 w 1587513"/>
                <a:gd name="connsiteY2" fmla="*/ 257442 h 257442"/>
                <a:gd name="connsiteX3" fmla="*/ 54720 w 1587513"/>
                <a:gd name="connsiteY3" fmla="*/ 0 h 257442"/>
                <a:gd name="connsiteX0" fmla="*/ 1587513 w 1587513"/>
                <a:gd name="connsiteY0" fmla="*/ 0 h 257442"/>
                <a:gd name="connsiteX1" fmla="*/ 1532792 w 1587513"/>
                <a:gd name="connsiteY1" fmla="*/ 257442 h 257442"/>
                <a:gd name="connsiteX2" fmla="*/ 0 w 1587513"/>
                <a:gd name="connsiteY2" fmla="*/ 257442 h 257442"/>
                <a:gd name="connsiteX3" fmla="*/ 54721 w 1587513"/>
                <a:gd name="connsiteY3" fmla="*/ 0 h 257442"/>
                <a:gd name="connsiteX0" fmla="*/ 1747814 w 1747814"/>
                <a:gd name="connsiteY0" fmla="*/ 0 h 257442"/>
                <a:gd name="connsiteX1" fmla="*/ 1532792 w 1747814"/>
                <a:gd name="connsiteY1" fmla="*/ 257442 h 257442"/>
                <a:gd name="connsiteX2" fmla="*/ 0 w 1747814"/>
                <a:gd name="connsiteY2" fmla="*/ 257442 h 257442"/>
                <a:gd name="connsiteX3" fmla="*/ 54721 w 1747814"/>
                <a:gd name="connsiteY3" fmla="*/ 0 h 257442"/>
                <a:gd name="connsiteX0" fmla="*/ 1747814 w 1747814"/>
                <a:gd name="connsiteY0" fmla="*/ 0 h 257442"/>
                <a:gd name="connsiteX1" fmla="*/ 1693092 w 1747814"/>
                <a:gd name="connsiteY1" fmla="*/ 257442 h 257442"/>
                <a:gd name="connsiteX2" fmla="*/ 0 w 1747814"/>
                <a:gd name="connsiteY2" fmla="*/ 257442 h 257442"/>
                <a:gd name="connsiteX3" fmla="*/ 54721 w 1747814"/>
                <a:gd name="connsiteY3" fmla="*/ 0 h 257442"/>
                <a:gd name="connsiteX0" fmla="*/ 1747815 w 1747815"/>
                <a:gd name="connsiteY0" fmla="*/ 0 h 257442"/>
                <a:gd name="connsiteX1" fmla="*/ 1693093 w 1747815"/>
                <a:gd name="connsiteY1" fmla="*/ 257442 h 257442"/>
                <a:gd name="connsiteX2" fmla="*/ 0 w 1747815"/>
                <a:gd name="connsiteY2" fmla="*/ 257442 h 257442"/>
                <a:gd name="connsiteX3" fmla="*/ 54722 w 1747815"/>
                <a:gd name="connsiteY3" fmla="*/ 0 h 257442"/>
                <a:gd name="connsiteX0" fmla="*/ 1747815 w 1747815"/>
                <a:gd name="connsiteY0" fmla="*/ 0 h 257442"/>
                <a:gd name="connsiteX1" fmla="*/ 1693093 w 1747815"/>
                <a:gd name="connsiteY1" fmla="*/ 257442 h 257442"/>
                <a:gd name="connsiteX2" fmla="*/ 0 w 1747815"/>
                <a:gd name="connsiteY2" fmla="*/ 257442 h 257442"/>
                <a:gd name="connsiteX3" fmla="*/ 54722 w 1747815"/>
                <a:gd name="connsiteY3" fmla="*/ 0 h 257442"/>
                <a:gd name="connsiteX0" fmla="*/ 2001090 w 2001090"/>
                <a:gd name="connsiteY0" fmla="*/ 0 h 257442"/>
                <a:gd name="connsiteX1" fmla="*/ 1693093 w 2001090"/>
                <a:gd name="connsiteY1" fmla="*/ 257442 h 257442"/>
                <a:gd name="connsiteX2" fmla="*/ 0 w 2001090"/>
                <a:gd name="connsiteY2" fmla="*/ 257442 h 257442"/>
                <a:gd name="connsiteX3" fmla="*/ 54722 w 2001090"/>
                <a:gd name="connsiteY3" fmla="*/ 0 h 257442"/>
                <a:gd name="connsiteX0" fmla="*/ 2001090 w 2001090"/>
                <a:gd name="connsiteY0" fmla="*/ 0 h 257442"/>
                <a:gd name="connsiteX1" fmla="*/ 1946368 w 2001090"/>
                <a:gd name="connsiteY1" fmla="*/ 257442 h 257442"/>
                <a:gd name="connsiteX2" fmla="*/ 0 w 2001090"/>
                <a:gd name="connsiteY2" fmla="*/ 257442 h 257442"/>
                <a:gd name="connsiteX3" fmla="*/ 54722 w 2001090"/>
                <a:gd name="connsiteY3" fmla="*/ 0 h 257442"/>
                <a:gd name="connsiteX0" fmla="*/ 2001090 w 2001090"/>
                <a:gd name="connsiteY0" fmla="*/ 0 h 257442"/>
                <a:gd name="connsiteX1" fmla="*/ 1946368 w 2001090"/>
                <a:gd name="connsiteY1" fmla="*/ 257442 h 257442"/>
                <a:gd name="connsiteX2" fmla="*/ 0 w 2001090"/>
                <a:gd name="connsiteY2" fmla="*/ 257442 h 257442"/>
                <a:gd name="connsiteX3" fmla="*/ 54722 w 2001090"/>
                <a:gd name="connsiteY3" fmla="*/ 0 h 257442"/>
                <a:gd name="connsiteX0" fmla="*/ 2001090 w 2001090"/>
                <a:gd name="connsiteY0" fmla="*/ 0 h 257442"/>
                <a:gd name="connsiteX1" fmla="*/ 1946368 w 2001090"/>
                <a:gd name="connsiteY1" fmla="*/ 257442 h 257442"/>
                <a:gd name="connsiteX2" fmla="*/ 0 w 2001090"/>
                <a:gd name="connsiteY2" fmla="*/ 257442 h 257442"/>
                <a:gd name="connsiteX3" fmla="*/ 54721 w 2001090"/>
                <a:gd name="connsiteY3" fmla="*/ 0 h 257442"/>
                <a:gd name="connsiteX0" fmla="*/ 2161389 w 2161389"/>
                <a:gd name="connsiteY0" fmla="*/ 0 h 257442"/>
                <a:gd name="connsiteX1" fmla="*/ 1946368 w 2161389"/>
                <a:gd name="connsiteY1" fmla="*/ 257442 h 257442"/>
                <a:gd name="connsiteX2" fmla="*/ 0 w 2161389"/>
                <a:gd name="connsiteY2" fmla="*/ 257442 h 257442"/>
                <a:gd name="connsiteX3" fmla="*/ 54721 w 2161389"/>
                <a:gd name="connsiteY3" fmla="*/ 0 h 257442"/>
                <a:gd name="connsiteX0" fmla="*/ 2161389 w 2161389"/>
                <a:gd name="connsiteY0" fmla="*/ 0 h 257442"/>
                <a:gd name="connsiteX1" fmla="*/ 2106668 w 2161389"/>
                <a:gd name="connsiteY1" fmla="*/ 257442 h 257442"/>
                <a:gd name="connsiteX2" fmla="*/ 0 w 2161389"/>
                <a:gd name="connsiteY2" fmla="*/ 257442 h 257442"/>
                <a:gd name="connsiteX3" fmla="*/ 54721 w 2161389"/>
                <a:gd name="connsiteY3" fmla="*/ 0 h 257442"/>
                <a:gd name="connsiteX0" fmla="*/ 2161389 w 2161389"/>
                <a:gd name="connsiteY0" fmla="*/ 0 h 257442"/>
                <a:gd name="connsiteX1" fmla="*/ 2106668 w 2161389"/>
                <a:gd name="connsiteY1" fmla="*/ 257442 h 257442"/>
                <a:gd name="connsiteX2" fmla="*/ 0 w 2161389"/>
                <a:gd name="connsiteY2" fmla="*/ 257442 h 257442"/>
                <a:gd name="connsiteX3" fmla="*/ 54721 w 2161389"/>
                <a:gd name="connsiteY3" fmla="*/ 0 h 257442"/>
                <a:gd name="connsiteX0" fmla="*/ 2161389 w 2161389"/>
                <a:gd name="connsiteY0" fmla="*/ 0 h 257442"/>
                <a:gd name="connsiteX1" fmla="*/ 2106668 w 2161389"/>
                <a:gd name="connsiteY1" fmla="*/ 257442 h 257442"/>
                <a:gd name="connsiteX2" fmla="*/ 0 w 2161389"/>
                <a:gd name="connsiteY2" fmla="*/ 257442 h 257442"/>
                <a:gd name="connsiteX3" fmla="*/ 54721 w 2161389"/>
                <a:gd name="connsiteY3" fmla="*/ 0 h 257442"/>
                <a:gd name="connsiteX0" fmla="*/ 2486606 w 2486606"/>
                <a:gd name="connsiteY0" fmla="*/ 0 h 257442"/>
                <a:gd name="connsiteX1" fmla="*/ 2106668 w 2486606"/>
                <a:gd name="connsiteY1" fmla="*/ 257442 h 257442"/>
                <a:gd name="connsiteX2" fmla="*/ 0 w 2486606"/>
                <a:gd name="connsiteY2" fmla="*/ 257442 h 257442"/>
                <a:gd name="connsiteX3" fmla="*/ 54721 w 2486606"/>
                <a:gd name="connsiteY3" fmla="*/ 0 h 257442"/>
                <a:gd name="connsiteX0" fmla="*/ 2486606 w 2486606"/>
                <a:gd name="connsiteY0" fmla="*/ 0 h 257442"/>
                <a:gd name="connsiteX1" fmla="*/ 2431884 w 2486606"/>
                <a:gd name="connsiteY1" fmla="*/ 257442 h 257442"/>
                <a:gd name="connsiteX2" fmla="*/ 0 w 2486606"/>
                <a:gd name="connsiteY2" fmla="*/ 257442 h 257442"/>
                <a:gd name="connsiteX3" fmla="*/ 54721 w 2486606"/>
                <a:gd name="connsiteY3" fmla="*/ 0 h 257442"/>
                <a:gd name="connsiteX0" fmla="*/ 2486607 w 2486607"/>
                <a:gd name="connsiteY0" fmla="*/ 0 h 257442"/>
                <a:gd name="connsiteX1" fmla="*/ 2431885 w 2486607"/>
                <a:gd name="connsiteY1" fmla="*/ 257442 h 257442"/>
                <a:gd name="connsiteX2" fmla="*/ 0 w 2486607"/>
                <a:gd name="connsiteY2" fmla="*/ 257442 h 257442"/>
                <a:gd name="connsiteX3" fmla="*/ 54722 w 2486607"/>
                <a:gd name="connsiteY3" fmla="*/ 0 h 257442"/>
                <a:gd name="connsiteX0" fmla="*/ 2486607 w 2486607"/>
                <a:gd name="connsiteY0" fmla="*/ 0 h 257442"/>
                <a:gd name="connsiteX1" fmla="*/ 2431885 w 2486607"/>
                <a:gd name="connsiteY1" fmla="*/ 257442 h 257442"/>
                <a:gd name="connsiteX2" fmla="*/ 0 w 2486607"/>
                <a:gd name="connsiteY2" fmla="*/ 257442 h 257442"/>
                <a:gd name="connsiteX3" fmla="*/ 54722 w 2486607"/>
                <a:gd name="connsiteY3" fmla="*/ 0 h 257442"/>
                <a:gd name="connsiteX0" fmla="*/ 2807208 w 2807208"/>
                <a:gd name="connsiteY0" fmla="*/ 0 h 257442"/>
                <a:gd name="connsiteX1" fmla="*/ 2431885 w 2807208"/>
                <a:gd name="connsiteY1" fmla="*/ 257442 h 257442"/>
                <a:gd name="connsiteX2" fmla="*/ 0 w 2807208"/>
                <a:gd name="connsiteY2" fmla="*/ 257442 h 257442"/>
                <a:gd name="connsiteX3" fmla="*/ 54722 w 2807208"/>
                <a:gd name="connsiteY3" fmla="*/ 0 h 257442"/>
                <a:gd name="connsiteX0" fmla="*/ 2807208 w 2807208"/>
                <a:gd name="connsiteY0" fmla="*/ 0 h 257442"/>
                <a:gd name="connsiteX1" fmla="*/ 2752486 w 2807208"/>
                <a:gd name="connsiteY1" fmla="*/ 257442 h 257442"/>
                <a:gd name="connsiteX2" fmla="*/ 0 w 2807208"/>
                <a:gd name="connsiteY2" fmla="*/ 257442 h 257442"/>
                <a:gd name="connsiteX3" fmla="*/ 54722 w 2807208"/>
                <a:gd name="connsiteY3" fmla="*/ 0 h 257442"/>
                <a:gd name="connsiteX0" fmla="*/ 2807208 w 2807208"/>
                <a:gd name="connsiteY0" fmla="*/ 0 h 257442"/>
                <a:gd name="connsiteX1" fmla="*/ 2752486 w 2807208"/>
                <a:gd name="connsiteY1" fmla="*/ 257442 h 257442"/>
                <a:gd name="connsiteX2" fmla="*/ 0 w 2807208"/>
                <a:gd name="connsiteY2" fmla="*/ 257442 h 257442"/>
                <a:gd name="connsiteX3" fmla="*/ 54722 w 2807208"/>
                <a:gd name="connsiteY3" fmla="*/ 0 h 257442"/>
                <a:gd name="connsiteX0" fmla="*/ 2807208 w 2807208"/>
                <a:gd name="connsiteY0" fmla="*/ 0 h 257442"/>
                <a:gd name="connsiteX1" fmla="*/ 2752486 w 2807208"/>
                <a:gd name="connsiteY1" fmla="*/ 257442 h 257442"/>
                <a:gd name="connsiteX2" fmla="*/ 0 w 2807208"/>
                <a:gd name="connsiteY2" fmla="*/ 257442 h 257442"/>
                <a:gd name="connsiteX3" fmla="*/ 54721 w 2807208"/>
                <a:gd name="connsiteY3" fmla="*/ 0 h 257442"/>
                <a:gd name="connsiteX0" fmla="*/ 2967507 w 2967507"/>
                <a:gd name="connsiteY0" fmla="*/ 0 h 257442"/>
                <a:gd name="connsiteX1" fmla="*/ 2752486 w 2967507"/>
                <a:gd name="connsiteY1" fmla="*/ 257442 h 257442"/>
                <a:gd name="connsiteX2" fmla="*/ 0 w 2967507"/>
                <a:gd name="connsiteY2" fmla="*/ 257442 h 257442"/>
                <a:gd name="connsiteX3" fmla="*/ 54721 w 2967507"/>
                <a:gd name="connsiteY3" fmla="*/ 0 h 257442"/>
                <a:gd name="connsiteX0" fmla="*/ 2967507 w 2967507"/>
                <a:gd name="connsiteY0" fmla="*/ 0 h 257442"/>
                <a:gd name="connsiteX1" fmla="*/ 2912786 w 2967507"/>
                <a:gd name="connsiteY1" fmla="*/ 257442 h 257442"/>
                <a:gd name="connsiteX2" fmla="*/ 0 w 2967507"/>
                <a:gd name="connsiteY2" fmla="*/ 257442 h 257442"/>
                <a:gd name="connsiteX3" fmla="*/ 54721 w 2967507"/>
                <a:gd name="connsiteY3" fmla="*/ 0 h 257442"/>
                <a:gd name="connsiteX0" fmla="*/ 2967507 w 2967507"/>
                <a:gd name="connsiteY0" fmla="*/ 0 h 257442"/>
                <a:gd name="connsiteX1" fmla="*/ 2912786 w 2967507"/>
                <a:gd name="connsiteY1" fmla="*/ 257442 h 257442"/>
                <a:gd name="connsiteX2" fmla="*/ 0 w 2967507"/>
                <a:gd name="connsiteY2" fmla="*/ 257442 h 257442"/>
                <a:gd name="connsiteX3" fmla="*/ 54721 w 2967507"/>
                <a:gd name="connsiteY3" fmla="*/ 0 h 257442"/>
                <a:gd name="connsiteX0" fmla="*/ 2967507 w 2967507"/>
                <a:gd name="connsiteY0" fmla="*/ 0 h 257442"/>
                <a:gd name="connsiteX1" fmla="*/ 2912786 w 2967507"/>
                <a:gd name="connsiteY1" fmla="*/ 257442 h 257442"/>
                <a:gd name="connsiteX2" fmla="*/ 0 w 2967507"/>
                <a:gd name="connsiteY2" fmla="*/ 257442 h 257442"/>
                <a:gd name="connsiteX3" fmla="*/ 54721 w 2967507"/>
                <a:gd name="connsiteY3" fmla="*/ 0 h 257442"/>
                <a:gd name="connsiteX0" fmla="*/ 3135821 w 3135821"/>
                <a:gd name="connsiteY0" fmla="*/ 0 h 257442"/>
                <a:gd name="connsiteX1" fmla="*/ 2912786 w 3135821"/>
                <a:gd name="connsiteY1" fmla="*/ 257442 h 257442"/>
                <a:gd name="connsiteX2" fmla="*/ 0 w 3135821"/>
                <a:gd name="connsiteY2" fmla="*/ 257442 h 257442"/>
                <a:gd name="connsiteX3" fmla="*/ 54721 w 3135821"/>
                <a:gd name="connsiteY3" fmla="*/ 0 h 257442"/>
                <a:gd name="connsiteX0" fmla="*/ 3135821 w 3135821"/>
                <a:gd name="connsiteY0" fmla="*/ 0 h 257442"/>
                <a:gd name="connsiteX1" fmla="*/ 3081101 w 3135821"/>
                <a:gd name="connsiteY1" fmla="*/ 257442 h 257442"/>
                <a:gd name="connsiteX2" fmla="*/ 0 w 3135821"/>
                <a:gd name="connsiteY2" fmla="*/ 257442 h 257442"/>
                <a:gd name="connsiteX3" fmla="*/ 54721 w 3135821"/>
                <a:gd name="connsiteY3" fmla="*/ 0 h 257442"/>
                <a:gd name="connsiteX0" fmla="*/ 3135821 w 3135821"/>
                <a:gd name="connsiteY0" fmla="*/ 0 h 257442"/>
                <a:gd name="connsiteX1" fmla="*/ 3081101 w 3135821"/>
                <a:gd name="connsiteY1" fmla="*/ 257442 h 257442"/>
                <a:gd name="connsiteX2" fmla="*/ 0 w 3135821"/>
                <a:gd name="connsiteY2" fmla="*/ 257442 h 257442"/>
                <a:gd name="connsiteX3" fmla="*/ 54721 w 3135821"/>
                <a:gd name="connsiteY3" fmla="*/ 0 h 257442"/>
                <a:gd name="connsiteX0" fmla="*/ 3135821 w 3135821"/>
                <a:gd name="connsiteY0" fmla="*/ 0 h 257442"/>
                <a:gd name="connsiteX1" fmla="*/ 3081101 w 3135821"/>
                <a:gd name="connsiteY1" fmla="*/ 257442 h 257442"/>
                <a:gd name="connsiteX2" fmla="*/ 0 w 3135821"/>
                <a:gd name="connsiteY2" fmla="*/ 257442 h 257442"/>
                <a:gd name="connsiteX3" fmla="*/ 54721 w 3135821"/>
                <a:gd name="connsiteY3" fmla="*/ 0 h 257442"/>
                <a:gd name="connsiteX0" fmla="*/ 3296122 w 3296122"/>
                <a:gd name="connsiteY0" fmla="*/ 0 h 257442"/>
                <a:gd name="connsiteX1" fmla="*/ 3081101 w 3296122"/>
                <a:gd name="connsiteY1" fmla="*/ 257442 h 257442"/>
                <a:gd name="connsiteX2" fmla="*/ 0 w 3296122"/>
                <a:gd name="connsiteY2" fmla="*/ 257442 h 257442"/>
                <a:gd name="connsiteX3" fmla="*/ 54721 w 3296122"/>
                <a:gd name="connsiteY3" fmla="*/ 0 h 257442"/>
                <a:gd name="connsiteX0" fmla="*/ 3296122 w 3296122"/>
                <a:gd name="connsiteY0" fmla="*/ 0 h 257442"/>
                <a:gd name="connsiteX1" fmla="*/ 3241400 w 3296122"/>
                <a:gd name="connsiteY1" fmla="*/ 257442 h 257442"/>
                <a:gd name="connsiteX2" fmla="*/ 0 w 3296122"/>
                <a:gd name="connsiteY2" fmla="*/ 257442 h 257442"/>
                <a:gd name="connsiteX3" fmla="*/ 54721 w 3296122"/>
                <a:gd name="connsiteY3" fmla="*/ 0 h 257442"/>
                <a:gd name="connsiteX0" fmla="*/ 3296123 w 3296123"/>
                <a:gd name="connsiteY0" fmla="*/ 0 h 257442"/>
                <a:gd name="connsiteX1" fmla="*/ 3241401 w 3296123"/>
                <a:gd name="connsiteY1" fmla="*/ 257442 h 257442"/>
                <a:gd name="connsiteX2" fmla="*/ 0 w 3296123"/>
                <a:gd name="connsiteY2" fmla="*/ 257442 h 257442"/>
                <a:gd name="connsiteX3" fmla="*/ 54722 w 3296123"/>
                <a:gd name="connsiteY3" fmla="*/ 0 h 257442"/>
                <a:gd name="connsiteX0" fmla="*/ 3296123 w 3296123"/>
                <a:gd name="connsiteY0" fmla="*/ 0 h 257442"/>
                <a:gd name="connsiteX1" fmla="*/ 3241401 w 3296123"/>
                <a:gd name="connsiteY1" fmla="*/ 257442 h 257442"/>
                <a:gd name="connsiteX2" fmla="*/ 0 w 3296123"/>
                <a:gd name="connsiteY2" fmla="*/ 257442 h 257442"/>
                <a:gd name="connsiteX3" fmla="*/ 54722 w 3296123"/>
                <a:gd name="connsiteY3" fmla="*/ 0 h 257442"/>
                <a:gd name="connsiteX0" fmla="*/ 2651396 w 3241401"/>
                <a:gd name="connsiteY0" fmla="*/ 0 h 257442"/>
                <a:gd name="connsiteX1" fmla="*/ 3241401 w 3241401"/>
                <a:gd name="connsiteY1" fmla="*/ 257442 h 257442"/>
                <a:gd name="connsiteX2" fmla="*/ 0 w 3241401"/>
                <a:gd name="connsiteY2" fmla="*/ 257442 h 257442"/>
                <a:gd name="connsiteX3" fmla="*/ 54722 w 3241401"/>
                <a:gd name="connsiteY3" fmla="*/ 0 h 257442"/>
                <a:gd name="connsiteX0" fmla="*/ 2651396 w 2651396"/>
                <a:gd name="connsiteY0" fmla="*/ 0 h 257442"/>
                <a:gd name="connsiteX1" fmla="*/ 2596675 w 2651396"/>
                <a:gd name="connsiteY1" fmla="*/ 257442 h 257442"/>
                <a:gd name="connsiteX2" fmla="*/ 0 w 2651396"/>
                <a:gd name="connsiteY2" fmla="*/ 257442 h 257442"/>
                <a:gd name="connsiteX3" fmla="*/ 54722 w 2651396"/>
                <a:gd name="connsiteY3" fmla="*/ 0 h 257442"/>
                <a:gd name="connsiteX0" fmla="*/ 2651395 w 2651395"/>
                <a:gd name="connsiteY0" fmla="*/ 0 h 257442"/>
                <a:gd name="connsiteX1" fmla="*/ 2596674 w 2651395"/>
                <a:gd name="connsiteY1" fmla="*/ 257442 h 257442"/>
                <a:gd name="connsiteX2" fmla="*/ 0 w 2651395"/>
                <a:gd name="connsiteY2" fmla="*/ 257442 h 257442"/>
                <a:gd name="connsiteX3" fmla="*/ 54721 w 2651395"/>
                <a:gd name="connsiteY3" fmla="*/ 0 h 257442"/>
                <a:gd name="connsiteX0" fmla="*/ 2651395 w 2651395"/>
                <a:gd name="connsiteY0" fmla="*/ 0 h 257442"/>
                <a:gd name="connsiteX1" fmla="*/ 2596674 w 2651395"/>
                <a:gd name="connsiteY1" fmla="*/ 257442 h 257442"/>
                <a:gd name="connsiteX2" fmla="*/ 0 w 2651395"/>
                <a:gd name="connsiteY2" fmla="*/ 257442 h 257442"/>
                <a:gd name="connsiteX3" fmla="*/ 54721 w 2651395"/>
                <a:gd name="connsiteY3" fmla="*/ 0 h 257442"/>
                <a:gd name="connsiteX0" fmla="*/ 782550 w 2596674"/>
                <a:gd name="connsiteY0" fmla="*/ 0 h 257442"/>
                <a:gd name="connsiteX1" fmla="*/ 2596674 w 2596674"/>
                <a:gd name="connsiteY1" fmla="*/ 257442 h 257442"/>
                <a:gd name="connsiteX2" fmla="*/ 0 w 2596674"/>
                <a:gd name="connsiteY2" fmla="*/ 257442 h 257442"/>
                <a:gd name="connsiteX3" fmla="*/ 54721 w 2596674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2039240 w 2039240"/>
                <a:gd name="connsiteY0" fmla="*/ 0 h 257442"/>
                <a:gd name="connsiteX1" fmla="*/ 727829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0 w 2039240"/>
                <a:gd name="connsiteY0" fmla="*/ 0 h 257442"/>
                <a:gd name="connsiteX1" fmla="*/ 1984519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0 w 2039240"/>
                <a:gd name="connsiteY0" fmla="*/ 0 h 257442"/>
                <a:gd name="connsiteX1" fmla="*/ 1984519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0 w 2039240"/>
                <a:gd name="connsiteY0" fmla="*/ 0 h 257442"/>
                <a:gd name="connsiteX1" fmla="*/ 1984519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1878939 w 1984519"/>
                <a:gd name="connsiteY0" fmla="*/ 0 h 257442"/>
                <a:gd name="connsiteX1" fmla="*/ 1984519 w 1984519"/>
                <a:gd name="connsiteY1" fmla="*/ 257442 h 257442"/>
                <a:gd name="connsiteX2" fmla="*/ 0 w 1984519"/>
                <a:gd name="connsiteY2" fmla="*/ 257442 h 257442"/>
                <a:gd name="connsiteX3" fmla="*/ 54721 w 1984519"/>
                <a:gd name="connsiteY3" fmla="*/ 0 h 257442"/>
                <a:gd name="connsiteX0" fmla="*/ 1878939 w 1878939"/>
                <a:gd name="connsiteY0" fmla="*/ 0 h 257442"/>
                <a:gd name="connsiteX1" fmla="*/ 1824219 w 1878939"/>
                <a:gd name="connsiteY1" fmla="*/ 257442 h 257442"/>
                <a:gd name="connsiteX2" fmla="*/ 0 w 1878939"/>
                <a:gd name="connsiteY2" fmla="*/ 257442 h 257442"/>
                <a:gd name="connsiteX3" fmla="*/ 54721 w 1878939"/>
                <a:gd name="connsiteY3" fmla="*/ 0 h 257442"/>
                <a:gd name="connsiteX0" fmla="*/ 1878938 w 1878938"/>
                <a:gd name="connsiteY0" fmla="*/ 0 h 257442"/>
                <a:gd name="connsiteX1" fmla="*/ 1824218 w 1878938"/>
                <a:gd name="connsiteY1" fmla="*/ 257442 h 257442"/>
                <a:gd name="connsiteX2" fmla="*/ 0 w 1878938"/>
                <a:gd name="connsiteY2" fmla="*/ 257442 h 257442"/>
                <a:gd name="connsiteX3" fmla="*/ 54720 w 1878938"/>
                <a:gd name="connsiteY3" fmla="*/ 0 h 257442"/>
                <a:gd name="connsiteX0" fmla="*/ 1878938 w 1878938"/>
                <a:gd name="connsiteY0" fmla="*/ 0 h 257442"/>
                <a:gd name="connsiteX1" fmla="*/ 1824218 w 1878938"/>
                <a:gd name="connsiteY1" fmla="*/ 257442 h 257442"/>
                <a:gd name="connsiteX2" fmla="*/ 0 w 1878938"/>
                <a:gd name="connsiteY2" fmla="*/ 257442 h 257442"/>
                <a:gd name="connsiteX3" fmla="*/ 54720 w 1878938"/>
                <a:gd name="connsiteY3" fmla="*/ 0 h 257442"/>
                <a:gd name="connsiteX0" fmla="*/ 1710624 w 1824218"/>
                <a:gd name="connsiteY0" fmla="*/ 0 h 257442"/>
                <a:gd name="connsiteX1" fmla="*/ 1824218 w 1824218"/>
                <a:gd name="connsiteY1" fmla="*/ 257442 h 257442"/>
                <a:gd name="connsiteX2" fmla="*/ 0 w 1824218"/>
                <a:gd name="connsiteY2" fmla="*/ 257442 h 257442"/>
                <a:gd name="connsiteX3" fmla="*/ 54720 w 1824218"/>
                <a:gd name="connsiteY3" fmla="*/ 0 h 257442"/>
                <a:gd name="connsiteX0" fmla="*/ 1710624 w 1710624"/>
                <a:gd name="connsiteY0" fmla="*/ 0 h 257442"/>
                <a:gd name="connsiteX1" fmla="*/ 1655903 w 1710624"/>
                <a:gd name="connsiteY1" fmla="*/ 257442 h 257442"/>
                <a:gd name="connsiteX2" fmla="*/ 0 w 1710624"/>
                <a:gd name="connsiteY2" fmla="*/ 257442 h 257442"/>
                <a:gd name="connsiteX3" fmla="*/ 54720 w 1710624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2 w 1710625"/>
                <a:gd name="connsiteY3" fmla="*/ 0 h 257442"/>
                <a:gd name="connsiteX0" fmla="*/ 1609636 w 1655904"/>
                <a:gd name="connsiteY0" fmla="*/ 0 h 257442"/>
                <a:gd name="connsiteX1" fmla="*/ 1655904 w 1655904"/>
                <a:gd name="connsiteY1" fmla="*/ 257442 h 257442"/>
                <a:gd name="connsiteX2" fmla="*/ 0 w 1655904"/>
                <a:gd name="connsiteY2" fmla="*/ 257442 h 257442"/>
                <a:gd name="connsiteX3" fmla="*/ 54722 w 1655904"/>
                <a:gd name="connsiteY3" fmla="*/ 0 h 257442"/>
                <a:gd name="connsiteX0" fmla="*/ 1609636 w 1609636"/>
                <a:gd name="connsiteY0" fmla="*/ 0 h 257442"/>
                <a:gd name="connsiteX1" fmla="*/ 1554915 w 1609636"/>
                <a:gd name="connsiteY1" fmla="*/ 257442 h 257442"/>
                <a:gd name="connsiteX2" fmla="*/ 0 w 1609636"/>
                <a:gd name="connsiteY2" fmla="*/ 257442 h 257442"/>
                <a:gd name="connsiteX3" fmla="*/ 54722 w 1609636"/>
                <a:gd name="connsiteY3" fmla="*/ 0 h 257442"/>
                <a:gd name="connsiteX0" fmla="*/ 1609635 w 1609635"/>
                <a:gd name="connsiteY0" fmla="*/ 0 h 257442"/>
                <a:gd name="connsiteX1" fmla="*/ 1554914 w 1609635"/>
                <a:gd name="connsiteY1" fmla="*/ 257442 h 257442"/>
                <a:gd name="connsiteX2" fmla="*/ 0 w 1609635"/>
                <a:gd name="connsiteY2" fmla="*/ 257442 h 257442"/>
                <a:gd name="connsiteX3" fmla="*/ 54721 w 1609635"/>
                <a:gd name="connsiteY3" fmla="*/ 0 h 257442"/>
                <a:gd name="connsiteX0" fmla="*/ 1609635 w 1609635"/>
                <a:gd name="connsiteY0" fmla="*/ 0 h 257442"/>
                <a:gd name="connsiteX1" fmla="*/ 1554914 w 1609635"/>
                <a:gd name="connsiteY1" fmla="*/ 257442 h 257442"/>
                <a:gd name="connsiteX2" fmla="*/ 0 w 1609635"/>
                <a:gd name="connsiteY2" fmla="*/ 257442 h 257442"/>
                <a:gd name="connsiteX3" fmla="*/ 54721 w 1609635"/>
                <a:gd name="connsiteY3" fmla="*/ 0 h 257442"/>
                <a:gd name="connsiteX0" fmla="*/ 1441320 w 1554914"/>
                <a:gd name="connsiteY0" fmla="*/ 0 h 257442"/>
                <a:gd name="connsiteX1" fmla="*/ 1554914 w 1554914"/>
                <a:gd name="connsiteY1" fmla="*/ 257442 h 257442"/>
                <a:gd name="connsiteX2" fmla="*/ 0 w 1554914"/>
                <a:gd name="connsiteY2" fmla="*/ 257442 h 257442"/>
                <a:gd name="connsiteX3" fmla="*/ 54721 w 1554914"/>
                <a:gd name="connsiteY3" fmla="*/ 0 h 257442"/>
                <a:gd name="connsiteX0" fmla="*/ 1441320 w 1441320"/>
                <a:gd name="connsiteY0" fmla="*/ 0 h 257442"/>
                <a:gd name="connsiteX1" fmla="*/ 1386599 w 1441320"/>
                <a:gd name="connsiteY1" fmla="*/ 257442 h 257442"/>
                <a:gd name="connsiteX2" fmla="*/ 0 w 1441320"/>
                <a:gd name="connsiteY2" fmla="*/ 257442 h 257442"/>
                <a:gd name="connsiteX3" fmla="*/ 54721 w 1441320"/>
                <a:gd name="connsiteY3" fmla="*/ 0 h 257442"/>
                <a:gd name="connsiteX0" fmla="*/ 1441320 w 1441320"/>
                <a:gd name="connsiteY0" fmla="*/ 0 h 257442"/>
                <a:gd name="connsiteX1" fmla="*/ 1386599 w 1441320"/>
                <a:gd name="connsiteY1" fmla="*/ 257442 h 257442"/>
                <a:gd name="connsiteX2" fmla="*/ 0 w 1441320"/>
                <a:gd name="connsiteY2" fmla="*/ 257442 h 257442"/>
                <a:gd name="connsiteX3" fmla="*/ 54721 w 1441320"/>
                <a:gd name="connsiteY3" fmla="*/ 0 h 257442"/>
                <a:gd name="connsiteX0" fmla="*/ 1441320 w 1441320"/>
                <a:gd name="connsiteY0" fmla="*/ 0 h 257442"/>
                <a:gd name="connsiteX1" fmla="*/ 1386599 w 1441320"/>
                <a:gd name="connsiteY1" fmla="*/ 257442 h 257442"/>
                <a:gd name="connsiteX2" fmla="*/ 0 w 1441320"/>
                <a:gd name="connsiteY2" fmla="*/ 257442 h 257442"/>
                <a:gd name="connsiteX3" fmla="*/ 54721 w 1441320"/>
                <a:gd name="connsiteY3" fmla="*/ 0 h 257442"/>
                <a:gd name="connsiteX0" fmla="*/ 1281020 w 1386599"/>
                <a:gd name="connsiteY0" fmla="*/ 0 h 257442"/>
                <a:gd name="connsiteX1" fmla="*/ 1386599 w 1386599"/>
                <a:gd name="connsiteY1" fmla="*/ 257442 h 257442"/>
                <a:gd name="connsiteX2" fmla="*/ 0 w 1386599"/>
                <a:gd name="connsiteY2" fmla="*/ 257442 h 257442"/>
                <a:gd name="connsiteX3" fmla="*/ 54721 w 1386599"/>
                <a:gd name="connsiteY3" fmla="*/ 0 h 257442"/>
                <a:gd name="connsiteX0" fmla="*/ 1281020 w 1281020"/>
                <a:gd name="connsiteY0" fmla="*/ 0 h 257442"/>
                <a:gd name="connsiteX1" fmla="*/ 1226300 w 1281020"/>
                <a:gd name="connsiteY1" fmla="*/ 257442 h 257442"/>
                <a:gd name="connsiteX2" fmla="*/ 0 w 1281020"/>
                <a:gd name="connsiteY2" fmla="*/ 257442 h 257442"/>
                <a:gd name="connsiteX3" fmla="*/ 54721 w 1281020"/>
                <a:gd name="connsiteY3" fmla="*/ 0 h 257442"/>
                <a:gd name="connsiteX0" fmla="*/ 1281019 w 1281019"/>
                <a:gd name="connsiteY0" fmla="*/ 0 h 257442"/>
                <a:gd name="connsiteX1" fmla="*/ 1226299 w 1281019"/>
                <a:gd name="connsiteY1" fmla="*/ 257442 h 257442"/>
                <a:gd name="connsiteX2" fmla="*/ 0 w 1281019"/>
                <a:gd name="connsiteY2" fmla="*/ 257442 h 257442"/>
                <a:gd name="connsiteX3" fmla="*/ 54720 w 1281019"/>
                <a:gd name="connsiteY3" fmla="*/ 0 h 257442"/>
                <a:gd name="connsiteX0" fmla="*/ 1281019 w 1281019"/>
                <a:gd name="connsiteY0" fmla="*/ 0 h 257442"/>
                <a:gd name="connsiteX1" fmla="*/ 1226299 w 1281019"/>
                <a:gd name="connsiteY1" fmla="*/ 257442 h 257442"/>
                <a:gd name="connsiteX2" fmla="*/ 0 w 1281019"/>
                <a:gd name="connsiteY2" fmla="*/ 257442 h 257442"/>
                <a:gd name="connsiteX3" fmla="*/ 54721 w 1281019"/>
                <a:gd name="connsiteY3" fmla="*/ 0 h 257442"/>
                <a:gd name="connsiteX0" fmla="*/ 1128734 w 1226299"/>
                <a:gd name="connsiteY0" fmla="*/ 0 h 257442"/>
                <a:gd name="connsiteX1" fmla="*/ 1226299 w 1226299"/>
                <a:gd name="connsiteY1" fmla="*/ 257442 h 257442"/>
                <a:gd name="connsiteX2" fmla="*/ 0 w 1226299"/>
                <a:gd name="connsiteY2" fmla="*/ 257442 h 257442"/>
                <a:gd name="connsiteX3" fmla="*/ 54721 w 1226299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960419 w 1074013"/>
                <a:gd name="connsiteY0" fmla="*/ 0 h 257442"/>
                <a:gd name="connsiteX1" fmla="*/ 1074013 w 1074013"/>
                <a:gd name="connsiteY1" fmla="*/ 257442 h 257442"/>
                <a:gd name="connsiteX2" fmla="*/ 0 w 1074013"/>
                <a:gd name="connsiteY2" fmla="*/ 257442 h 257442"/>
                <a:gd name="connsiteX3" fmla="*/ 54721 w 1074013"/>
                <a:gd name="connsiteY3" fmla="*/ 0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54720 w 960418"/>
                <a:gd name="connsiteY3" fmla="*/ 0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54720 w 960418"/>
                <a:gd name="connsiteY3" fmla="*/ 0 h 257442"/>
                <a:gd name="connsiteX0" fmla="*/ 782549 w 905698"/>
                <a:gd name="connsiteY0" fmla="*/ 0 h 257442"/>
                <a:gd name="connsiteX1" fmla="*/ 905698 w 905698"/>
                <a:gd name="connsiteY1" fmla="*/ 257442 h 257442"/>
                <a:gd name="connsiteX2" fmla="*/ 0 w 905698"/>
                <a:gd name="connsiteY2" fmla="*/ 257442 h 257442"/>
                <a:gd name="connsiteX3" fmla="*/ 54720 w 905698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54721 w 782549"/>
                <a:gd name="connsiteY3" fmla="*/ 0 h 257442"/>
                <a:gd name="connsiteX0" fmla="*/ 1103086 w 1103086"/>
                <a:gd name="connsiteY0" fmla="*/ 0 h 257442"/>
                <a:gd name="connsiteX1" fmla="*/ 727828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4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54722 w 1103087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54722 w 1103087"/>
                <a:gd name="connsiteY3" fmla="*/ 0 h 257442"/>
                <a:gd name="connsiteX0" fmla="*/ 1263387 w 1263387"/>
                <a:gd name="connsiteY0" fmla="*/ 0 h 257442"/>
                <a:gd name="connsiteX1" fmla="*/ 1048365 w 1263387"/>
                <a:gd name="connsiteY1" fmla="*/ 257442 h 257442"/>
                <a:gd name="connsiteX2" fmla="*/ 0 w 1263387"/>
                <a:gd name="connsiteY2" fmla="*/ 257442 h 257442"/>
                <a:gd name="connsiteX3" fmla="*/ 54722 w 1263387"/>
                <a:gd name="connsiteY3" fmla="*/ 0 h 257442"/>
                <a:gd name="connsiteX0" fmla="*/ 1263387 w 1263387"/>
                <a:gd name="connsiteY0" fmla="*/ 0 h 257442"/>
                <a:gd name="connsiteX1" fmla="*/ 1208666 w 1263387"/>
                <a:gd name="connsiteY1" fmla="*/ 257442 h 257442"/>
                <a:gd name="connsiteX2" fmla="*/ 0 w 1263387"/>
                <a:gd name="connsiteY2" fmla="*/ 257442 h 257442"/>
                <a:gd name="connsiteX3" fmla="*/ 54722 w 1263387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0 w 1263386"/>
                <a:gd name="connsiteY3" fmla="*/ 0 h 257442"/>
                <a:gd name="connsiteX0" fmla="*/ 1431701 w 1431701"/>
                <a:gd name="connsiteY0" fmla="*/ 0 h 257442"/>
                <a:gd name="connsiteX1" fmla="*/ 1208665 w 1431701"/>
                <a:gd name="connsiteY1" fmla="*/ 257442 h 257442"/>
                <a:gd name="connsiteX2" fmla="*/ 0 w 1431701"/>
                <a:gd name="connsiteY2" fmla="*/ 257442 h 257442"/>
                <a:gd name="connsiteX3" fmla="*/ 54720 w 1431701"/>
                <a:gd name="connsiteY3" fmla="*/ 0 h 257442"/>
                <a:gd name="connsiteX0" fmla="*/ 1431701 w 1431701"/>
                <a:gd name="connsiteY0" fmla="*/ 0 h 257442"/>
                <a:gd name="connsiteX1" fmla="*/ 1376980 w 1431701"/>
                <a:gd name="connsiteY1" fmla="*/ 257442 h 257442"/>
                <a:gd name="connsiteX2" fmla="*/ 0 w 1431701"/>
                <a:gd name="connsiteY2" fmla="*/ 257442 h 257442"/>
                <a:gd name="connsiteX3" fmla="*/ 54720 w 1431701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684976 w 1684976"/>
                <a:gd name="connsiteY0" fmla="*/ 0 h 257442"/>
                <a:gd name="connsiteX1" fmla="*/ 1376981 w 1684976"/>
                <a:gd name="connsiteY1" fmla="*/ 257442 h 257442"/>
                <a:gd name="connsiteX2" fmla="*/ 0 w 1684976"/>
                <a:gd name="connsiteY2" fmla="*/ 257442 h 257442"/>
                <a:gd name="connsiteX3" fmla="*/ 54721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54721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54721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54721 w 1684976"/>
                <a:gd name="connsiteY3" fmla="*/ 0 h 257442"/>
                <a:gd name="connsiteX0" fmla="*/ 1870925 w 1870925"/>
                <a:gd name="connsiteY0" fmla="*/ 0 h 257442"/>
                <a:gd name="connsiteX1" fmla="*/ 1630255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684976 w 1816204"/>
                <a:gd name="connsiteY0" fmla="*/ 0 h 257442"/>
                <a:gd name="connsiteX1" fmla="*/ 1816204 w 1816204"/>
                <a:gd name="connsiteY1" fmla="*/ 257442 h 257442"/>
                <a:gd name="connsiteX2" fmla="*/ 0 w 1816204"/>
                <a:gd name="connsiteY2" fmla="*/ 257442 h 257442"/>
                <a:gd name="connsiteX3" fmla="*/ 54721 w 1816204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54721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54721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54721 w 1684976"/>
                <a:gd name="connsiteY3" fmla="*/ 0 h 257442"/>
                <a:gd name="connsiteX0" fmla="*/ 1583987 w 1630255"/>
                <a:gd name="connsiteY0" fmla="*/ 0 h 257442"/>
                <a:gd name="connsiteX1" fmla="*/ 1630255 w 1630255"/>
                <a:gd name="connsiteY1" fmla="*/ 257442 h 257442"/>
                <a:gd name="connsiteX2" fmla="*/ 0 w 1630255"/>
                <a:gd name="connsiteY2" fmla="*/ 257442 h 257442"/>
                <a:gd name="connsiteX3" fmla="*/ 54721 w 1630255"/>
                <a:gd name="connsiteY3" fmla="*/ 0 h 257442"/>
                <a:gd name="connsiteX0" fmla="*/ 1583987 w 1583987"/>
                <a:gd name="connsiteY0" fmla="*/ 0 h 257442"/>
                <a:gd name="connsiteX1" fmla="*/ 1529267 w 1583987"/>
                <a:gd name="connsiteY1" fmla="*/ 257442 h 257442"/>
                <a:gd name="connsiteX2" fmla="*/ 0 w 1583987"/>
                <a:gd name="connsiteY2" fmla="*/ 257442 h 257442"/>
                <a:gd name="connsiteX3" fmla="*/ 54721 w 1583987"/>
                <a:gd name="connsiteY3" fmla="*/ 0 h 257442"/>
                <a:gd name="connsiteX0" fmla="*/ 1583986 w 1583986"/>
                <a:gd name="connsiteY0" fmla="*/ 0 h 257442"/>
                <a:gd name="connsiteX1" fmla="*/ 1529266 w 1583986"/>
                <a:gd name="connsiteY1" fmla="*/ 257442 h 257442"/>
                <a:gd name="connsiteX2" fmla="*/ 0 w 1583986"/>
                <a:gd name="connsiteY2" fmla="*/ 257442 h 257442"/>
                <a:gd name="connsiteX3" fmla="*/ 54720 w 1583986"/>
                <a:gd name="connsiteY3" fmla="*/ 0 h 257442"/>
                <a:gd name="connsiteX0" fmla="*/ 1583986 w 1583986"/>
                <a:gd name="connsiteY0" fmla="*/ 0 h 257442"/>
                <a:gd name="connsiteX1" fmla="*/ 1529266 w 1583986"/>
                <a:gd name="connsiteY1" fmla="*/ 257442 h 257442"/>
                <a:gd name="connsiteX2" fmla="*/ 0 w 1583986"/>
                <a:gd name="connsiteY2" fmla="*/ 257442 h 257442"/>
                <a:gd name="connsiteX3" fmla="*/ 54720 w 1583986"/>
                <a:gd name="connsiteY3" fmla="*/ 0 h 257442"/>
                <a:gd name="connsiteX0" fmla="*/ 1431701 w 1529266"/>
                <a:gd name="connsiteY0" fmla="*/ 0 h 257442"/>
                <a:gd name="connsiteX1" fmla="*/ 1529266 w 1529266"/>
                <a:gd name="connsiteY1" fmla="*/ 257442 h 257442"/>
                <a:gd name="connsiteX2" fmla="*/ 0 w 1529266"/>
                <a:gd name="connsiteY2" fmla="*/ 257442 h 257442"/>
                <a:gd name="connsiteX3" fmla="*/ 54720 w 1529266"/>
                <a:gd name="connsiteY3" fmla="*/ 0 h 257442"/>
                <a:gd name="connsiteX0" fmla="*/ 1431701 w 1431701"/>
                <a:gd name="connsiteY0" fmla="*/ 0 h 257442"/>
                <a:gd name="connsiteX1" fmla="*/ 1376980 w 1431701"/>
                <a:gd name="connsiteY1" fmla="*/ 257442 h 257442"/>
                <a:gd name="connsiteX2" fmla="*/ 0 w 1431701"/>
                <a:gd name="connsiteY2" fmla="*/ 257442 h 257442"/>
                <a:gd name="connsiteX3" fmla="*/ 54720 w 1431701"/>
                <a:gd name="connsiteY3" fmla="*/ 0 h 257442"/>
                <a:gd name="connsiteX0" fmla="*/ 1431701 w 1431701"/>
                <a:gd name="connsiteY0" fmla="*/ 0 h 257442"/>
                <a:gd name="connsiteX1" fmla="*/ 1376980 w 1431701"/>
                <a:gd name="connsiteY1" fmla="*/ 257442 h 257442"/>
                <a:gd name="connsiteX2" fmla="*/ 0 w 1431701"/>
                <a:gd name="connsiteY2" fmla="*/ 257442 h 257442"/>
                <a:gd name="connsiteX3" fmla="*/ 54720 w 1431701"/>
                <a:gd name="connsiteY3" fmla="*/ 0 h 257442"/>
                <a:gd name="connsiteX0" fmla="*/ 1431701 w 1431701"/>
                <a:gd name="connsiteY0" fmla="*/ 0 h 257442"/>
                <a:gd name="connsiteX1" fmla="*/ 1376980 w 1431701"/>
                <a:gd name="connsiteY1" fmla="*/ 257442 h 257442"/>
                <a:gd name="connsiteX2" fmla="*/ 0 w 1431701"/>
                <a:gd name="connsiteY2" fmla="*/ 257442 h 257442"/>
                <a:gd name="connsiteX3" fmla="*/ 54721 w 1431701"/>
                <a:gd name="connsiteY3" fmla="*/ 0 h 257442"/>
                <a:gd name="connsiteX0" fmla="*/ 1263386 w 1376980"/>
                <a:gd name="connsiteY0" fmla="*/ 0 h 257442"/>
                <a:gd name="connsiteX1" fmla="*/ 1376980 w 1376980"/>
                <a:gd name="connsiteY1" fmla="*/ 257442 h 257442"/>
                <a:gd name="connsiteX2" fmla="*/ 0 w 1376980"/>
                <a:gd name="connsiteY2" fmla="*/ 257442 h 257442"/>
                <a:gd name="connsiteX3" fmla="*/ 54721 w 1376980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103086 w 1208665"/>
                <a:gd name="connsiteY0" fmla="*/ 0 h 257442"/>
                <a:gd name="connsiteX1" fmla="*/ 1208665 w 1208665"/>
                <a:gd name="connsiteY1" fmla="*/ 257442 h 257442"/>
                <a:gd name="connsiteX2" fmla="*/ 0 w 1208665"/>
                <a:gd name="connsiteY2" fmla="*/ 257442 h 257442"/>
                <a:gd name="connsiteX3" fmla="*/ 54721 w 1208665"/>
                <a:gd name="connsiteY3" fmla="*/ 0 h 257442"/>
                <a:gd name="connsiteX0" fmla="*/ 1103086 w 1103086"/>
                <a:gd name="connsiteY0" fmla="*/ 0 h 257442"/>
                <a:gd name="connsiteX1" fmla="*/ 1048366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5 w 1103085"/>
                <a:gd name="connsiteY0" fmla="*/ 0 h 257442"/>
                <a:gd name="connsiteX1" fmla="*/ 1048365 w 1103085"/>
                <a:gd name="connsiteY1" fmla="*/ 257442 h 257442"/>
                <a:gd name="connsiteX2" fmla="*/ 0 w 1103085"/>
                <a:gd name="connsiteY2" fmla="*/ 257442 h 257442"/>
                <a:gd name="connsiteX3" fmla="*/ 54720 w 1103085"/>
                <a:gd name="connsiteY3" fmla="*/ 0 h 257442"/>
                <a:gd name="connsiteX0" fmla="*/ 1103085 w 1103085"/>
                <a:gd name="connsiteY0" fmla="*/ 0 h 257442"/>
                <a:gd name="connsiteX1" fmla="*/ 1048365 w 1103085"/>
                <a:gd name="connsiteY1" fmla="*/ 257442 h 257442"/>
                <a:gd name="connsiteX2" fmla="*/ 0 w 1103085"/>
                <a:gd name="connsiteY2" fmla="*/ 257442 h 257442"/>
                <a:gd name="connsiteX3" fmla="*/ 54721 w 1103085"/>
                <a:gd name="connsiteY3" fmla="*/ 0 h 257442"/>
                <a:gd name="connsiteX0" fmla="*/ 942786 w 1048365"/>
                <a:gd name="connsiteY0" fmla="*/ 0 h 257442"/>
                <a:gd name="connsiteX1" fmla="*/ 1048365 w 1048365"/>
                <a:gd name="connsiteY1" fmla="*/ 257442 h 257442"/>
                <a:gd name="connsiteX2" fmla="*/ 0 w 1048365"/>
                <a:gd name="connsiteY2" fmla="*/ 257442 h 257442"/>
                <a:gd name="connsiteX3" fmla="*/ 54721 w 1048365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782550 w 888065"/>
                <a:gd name="connsiteY0" fmla="*/ 0 h 257442"/>
                <a:gd name="connsiteX1" fmla="*/ 888065 w 888065"/>
                <a:gd name="connsiteY1" fmla="*/ 257442 h 257442"/>
                <a:gd name="connsiteX2" fmla="*/ 0 w 888065"/>
                <a:gd name="connsiteY2" fmla="*/ 257442 h 257442"/>
                <a:gd name="connsiteX3" fmla="*/ 54721 w 888065"/>
                <a:gd name="connsiteY3" fmla="*/ 0 h 257442"/>
                <a:gd name="connsiteX0" fmla="*/ 782550 w 782550"/>
                <a:gd name="connsiteY0" fmla="*/ 0 h 257442"/>
                <a:gd name="connsiteX1" fmla="*/ 727830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54721 w 782549"/>
                <a:gd name="connsiteY3" fmla="*/ 0 h 257442"/>
                <a:gd name="connsiteX0" fmla="*/ 950801 w 950801"/>
                <a:gd name="connsiteY0" fmla="*/ 0 h 257442"/>
                <a:gd name="connsiteX1" fmla="*/ 727829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1402 w 1271402"/>
                <a:gd name="connsiteY0" fmla="*/ 0 h 257442"/>
                <a:gd name="connsiteX1" fmla="*/ 1056380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0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3 w 1271403"/>
                <a:gd name="connsiteY0" fmla="*/ 0 h 257442"/>
                <a:gd name="connsiteX1" fmla="*/ 1216681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3 w 1271403"/>
                <a:gd name="connsiteY0" fmla="*/ 0 h 257442"/>
                <a:gd name="connsiteX1" fmla="*/ 1216681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431703 w 1431703"/>
                <a:gd name="connsiteY0" fmla="*/ 0 h 257442"/>
                <a:gd name="connsiteX1" fmla="*/ 1216681 w 1431703"/>
                <a:gd name="connsiteY1" fmla="*/ 257442 h 257442"/>
                <a:gd name="connsiteX2" fmla="*/ 0 w 1431703"/>
                <a:gd name="connsiteY2" fmla="*/ 257442 h 257442"/>
                <a:gd name="connsiteX3" fmla="*/ 54722 w 1431703"/>
                <a:gd name="connsiteY3" fmla="*/ 0 h 257442"/>
                <a:gd name="connsiteX0" fmla="*/ 1431703 w 1431703"/>
                <a:gd name="connsiteY0" fmla="*/ 0 h 257442"/>
                <a:gd name="connsiteX1" fmla="*/ 1376982 w 1431703"/>
                <a:gd name="connsiteY1" fmla="*/ 257442 h 257442"/>
                <a:gd name="connsiteX2" fmla="*/ 0 w 1431703"/>
                <a:gd name="connsiteY2" fmla="*/ 257442 h 257442"/>
                <a:gd name="connsiteX3" fmla="*/ 54722 w 1431703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0 w 1431702"/>
                <a:gd name="connsiteY3" fmla="*/ 0 h 257442"/>
                <a:gd name="connsiteX0" fmla="*/ 1709020 w 1709020"/>
                <a:gd name="connsiteY0" fmla="*/ 0 h 257442"/>
                <a:gd name="connsiteX1" fmla="*/ 1376981 w 1709020"/>
                <a:gd name="connsiteY1" fmla="*/ 257442 h 257442"/>
                <a:gd name="connsiteX2" fmla="*/ 0 w 1709020"/>
                <a:gd name="connsiteY2" fmla="*/ 257442 h 257442"/>
                <a:gd name="connsiteX3" fmla="*/ 54720 w 1709020"/>
                <a:gd name="connsiteY3" fmla="*/ 0 h 257442"/>
                <a:gd name="connsiteX0" fmla="*/ 1709020 w 1709020"/>
                <a:gd name="connsiteY0" fmla="*/ 0 h 257442"/>
                <a:gd name="connsiteX1" fmla="*/ 1654299 w 1709020"/>
                <a:gd name="connsiteY1" fmla="*/ 257442 h 257442"/>
                <a:gd name="connsiteX2" fmla="*/ 0 w 1709020"/>
                <a:gd name="connsiteY2" fmla="*/ 257442 h 257442"/>
                <a:gd name="connsiteX3" fmla="*/ 54720 w 1709020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54721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54722 w 1709021"/>
                <a:gd name="connsiteY3" fmla="*/ 0 h 257442"/>
                <a:gd name="connsiteX0" fmla="*/ 1970312 w 1970312"/>
                <a:gd name="connsiteY0" fmla="*/ 0 h 257442"/>
                <a:gd name="connsiteX1" fmla="*/ 1654300 w 1970312"/>
                <a:gd name="connsiteY1" fmla="*/ 257442 h 257442"/>
                <a:gd name="connsiteX2" fmla="*/ 0 w 1970312"/>
                <a:gd name="connsiteY2" fmla="*/ 257442 h 257442"/>
                <a:gd name="connsiteX3" fmla="*/ 54722 w 1970312"/>
                <a:gd name="connsiteY3" fmla="*/ 0 h 257442"/>
                <a:gd name="connsiteX0" fmla="*/ 1970312 w 1970312"/>
                <a:gd name="connsiteY0" fmla="*/ 0 h 257442"/>
                <a:gd name="connsiteX1" fmla="*/ 1915590 w 1970312"/>
                <a:gd name="connsiteY1" fmla="*/ 257442 h 257442"/>
                <a:gd name="connsiteX2" fmla="*/ 0 w 1970312"/>
                <a:gd name="connsiteY2" fmla="*/ 257442 h 257442"/>
                <a:gd name="connsiteX3" fmla="*/ 54722 w 1970312"/>
                <a:gd name="connsiteY3" fmla="*/ 0 h 257442"/>
                <a:gd name="connsiteX0" fmla="*/ 1970312 w 1970312"/>
                <a:gd name="connsiteY0" fmla="*/ 0 h 257442"/>
                <a:gd name="connsiteX1" fmla="*/ 1915590 w 1970312"/>
                <a:gd name="connsiteY1" fmla="*/ 257442 h 257442"/>
                <a:gd name="connsiteX2" fmla="*/ 0 w 1970312"/>
                <a:gd name="connsiteY2" fmla="*/ 257442 h 257442"/>
                <a:gd name="connsiteX3" fmla="*/ 54722 w 1970312"/>
                <a:gd name="connsiteY3" fmla="*/ 0 h 257442"/>
                <a:gd name="connsiteX0" fmla="*/ 1970312 w 1970312"/>
                <a:gd name="connsiteY0" fmla="*/ 0 h 257442"/>
                <a:gd name="connsiteX1" fmla="*/ 1915590 w 1970312"/>
                <a:gd name="connsiteY1" fmla="*/ 257442 h 257442"/>
                <a:gd name="connsiteX2" fmla="*/ 0 w 1970312"/>
                <a:gd name="connsiteY2" fmla="*/ 257442 h 257442"/>
                <a:gd name="connsiteX3" fmla="*/ 54721 w 1970312"/>
                <a:gd name="connsiteY3" fmla="*/ 0 h 257442"/>
                <a:gd name="connsiteX0" fmla="*/ 2130611 w 2130611"/>
                <a:gd name="connsiteY0" fmla="*/ 0 h 257442"/>
                <a:gd name="connsiteX1" fmla="*/ 1915590 w 2130611"/>
                <a:gd name="connsiteY1" fmla="*/ 257442 h 257442"/>
                <a:gd name="connsiteX2" fmla="*/ 0 w 2130611"/>
                <a:gd name="connsiteY2" fmla="*/ 257442 h 257442"/>
                <a:gd name="connsiteX3" fmla="*/ 54721 w 2130611"/>
                <a:gd name="connsiteY3" fmla="*/ 0 h 257442"/>
                <a:gd name="connsiteX0" fmla="*/ 2130611 w 2130611"/>
                <a:gd name="connsiteY0" fmla="*/ 0 h 257442"/>
                <a:gd name="connsiteX1" fmla="*/ 2075890 w 2130611"/>
                <a:gd name="connsiteY1" fmla="*/ 257442 h 257442"/>
                <a:gd name="connsiteX2" fmla="*/ 0 w 2130611"/>
                <a:gd name="connsiteY2" fmla="*/ 257442 h 257442"/>
                <a:gd name="connsiteX3" fmla="*/ 54721 w 2130611"/>
                <a:gd name="connsiteY3" fmla="*/ 0 h 257442"/>
                <a:gd name="connsiteX0" fmla="*/ 2130611 w 2130611"/>
                <a:gd name="connsiteY0" fmla="*/ 0 h 257442"/>
                <a:gd name="connsiteX1" fmla="*/ 2075890 w 2130611"/>
                <a:gd name="connsiteY1" fmla="*/ 257442 h 257442"/>
                <a:gd name="connsiteX2" fmla="*/ 0 w 2130611"/>
                <a:gd name="connsiteY2" fmla="*/ 257442 h 257442"/>
                <a:gd name="connsiteX3" fmla="*/ 54721 w 2130611"/>
                <a:gd name="connsiteY3" fmla="*/ 0 h 257442"/>
                <a:gd name="connsiteX0" fmla="*/ 2130611 w 2130611"/>
                <a:gd name="connsiteY0" fmla="*/ 0 h 257442"/>
                <a:gd name="connsiteX1" fmla="*/ 2075890 w 2130611"/>
                <a:gd name="connsiteY1" fmla="*/ 257442 h 257442"/>
                <a:gd name="connsiteX2" fmla="*/ 0 w 2130611"/>
                <a:gd name="connsiteY2" fmla="*/ 257442 h 257442"/>
                <a:gd name="connsiteX3" fmla="*/ 54721 w 2130611"/>
                <a:gd name="connsiteY3" fmla="*/ 0 h 257442"/>
                <a:gd name="connsiteX0" fmla="*/ 950801 w 2075890"/>
                <a:gd name="connsiteY0" fmla="*/ 0 h 257442"/>
                <a:gd name="connsiteX1" fmla="*/ 2075890 w 2075890"/>
                <a:gd name="connsiteY1" fmla="*/ 257442 h 257442"/>
                <a:gd name="connsiteX2" fmla="*/ 0 w 2075890"/>
                <a:gd name="connsiteY2" fmla="*/ 257442 h 257442"/>
                <a:gd name="connsiteX3" fmla="*/ 54721 w 2075890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0 w 1271402"/>
                <a:gd name="connsiteY3" fmla="*/ 0 h 257442"/>
                <a:gd name="connsiteX0" fmla="*/ 1111100 w 1216681"/>
                <a:gd name="connsiteY0" fmla="*/ 0 h 257442"/>
                <a:gd name="connsiteX1" fmla="*/ 1216681 w 1216681"/>
                <a:gd name="connsiteY1" fmla="*/ 257442 h 257442"/>
                <a:gd name="connsiteX2" fmla="*/ 0 w 1216681"/>
                <a:gd name="connsiteY2" fmla="*/ 257442 h 257442"/>
                <a:gd name="connsiteX3" fmla="*/ 54720 w 1216681"/>
                <a:gd name="connsiteY3" fmla="*/ 0 h 257442"/>
                <a:gd name="connsiteX0" fmla="*/ 1111100 w 1111100"/>
                <a:gd name="connsiteY0" fmla="*/ 0 h 257442"/>
                <a:gd name="connsiteX1" fmla="*/ 1056380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0 w 1111100"/>
                <a:gd name="connsiteY0" fmla="*/ 0 h 257442"/>
                <a:gd name="connsiteX1" fmla="*/ 1056380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0 w 1111100"/>
                <a:gd name="connsiteY0" fmla="*/ 0 h 257442"/>
                <a:gd name="connsiteX1" fmla="*/ 1056380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950801 w 1056380"/>
                <a:gd name="connsiteY0" fmla="*/ 0 h 257442"/>
                <a:gd name="connsiteX1" fmla="*/ 1056380 w 1056380"/>
                <a:gd name="connsiteY1" fmla="*/ 257442 h 257442"/>
                <a:gd name="connsiteX2" fmla="*/ 0 w 1056380"/>
                <a:gd name="connsiteY2" fmla="*/ 257442 h 257442"/>
                <a:gd name="connsiteX3" fmla="*/ 54721 w 1056380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782549 w 896079"/>
                <a:gd name="connsiteY0" fmla="*/ 0 h 257442"/>
                <a:gd name="connsiteX1" fmla="*/ 896079 w 896079"/>
                <a:gd name="connsiteY1" fmla="*/ 257442 h 257442"/>
                <a:gd name="connsiteX2" fmla="*/ 0 w 896079"/>
                <a:gd name="connsiteY2" fmla="*/ 257442 h 257442"/>
                <a:gd name="connsiteX3" fmla="*/ 54720 w 89607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54721 w 782549"/>
                <a:gd name="connsiteY3" fmla="*/ 0 h 257442"/>
                <a:gd name="connsiteX0" fmla="*/ 950801 w 950801"/>
                <a:gd name="connsiteY0" fmla="*/ 0 h 257442"/>
                <a:gd name="connsiteX1" fmla="*/ 727829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1402 w 1271402"/>
                <a:gd name="connsiteY0" fmla="*/ 0 h 257442"/>
                <a:gd name="connsiteX1" fmla="*/ 1056380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0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3 w 1271403"/>
                <a:gd name="connsiteY0" fmla="*/ 0 h 257442"/>
                <a:gd name="connsiteX1" fmla="*/ 1216681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3 w 1271403"/>
                <a:gd name="connsiteY0" fmla="*/ 0 h 257442"/>
                <a:gd name="connsiteX1" fmla="*/ 1216681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431703 w 1431703"/>
                <a:gd name="connsiteY0" fmla="*/ 0 h 257442"/>
                <a:gd name="connsiteX1" fmla="*/ 1216681 w 1431703"/>
                <a:gd name="connsiteY1" fmla="*/ 257442 h 257442"/>
                <a:gd name="connsiteX2" fmla="*/ 0 w 1431703"/>
                <a:gd name="connsiteY2" fmla="*/ 257442 h 257442"/>
                <a:gd name="connsiteX3" fmla="*/ 54722 w 1431703"/>
                <a:gd name="connsiteY3" fmla="*/ 0 h 257442"/>
                <a:gd name="connsiteX0" fmla="*/ 1431703 w 1431703"/>
                <a:gd name="connsiteY0" fmla="*/ 0 h 257442"/>
                <a:gd name="connsiteX1" fmla="*/ 1376982 w 1431703"/>
                <a:gd name="connsiteY1" fmla="*/ 257442 h 257442"/>
                <a:gd name="connsiteX2" fmla="*/ 0 w 1431703"/>
                <a:gd name="connsiteY2" fmla="*/ 257442 h 257442"/>
                <a:gd name="connsiteX3" fmla="*/ 54722 w 1431703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0 w 1431702"/>
                <a:gd name="connsiteY3" fmla="*/ 0 h 257442"/>
                <a:gd name="connsiteX0" fmla="*/ 1698248 w 1698248"/>
                <a:gd name="connsiteY0" fmla="*/ 0 h 257442"/>
                <a:gd name="connsiteX1" fmla="*/ 1376981 w 1698248"/>
                <a:gd name="connsiteY1" fmla="*/ 257442 h 257442"/>
                <a:gd name="connsiteX2" fmla="*/ 0 w 1698248"/>
                <a:gd name="connsiteY2" fmla="*/ 257442 h 257442"/>
                <a:gd name="connsiteX3" fmla="*/ 54720 w 1698248"/>
                <a:gd name="connsiteY3" fmla="*/ 0 h 257442"/>
                <a:gd name="connsiteX0" fmla="*/ 1698248 w 1698248"/>
                <a:gd name="connsiteY0" fmla="*/ 0 h 257442"/>
                <a:gd name="connsiteX1" fmla="*/ 1643527 w 1698248"/>
                <a:gd name="connsiteY1" fmla="*/ 257442 h 257442"/>
                <a:gd name="connsiteX2" fmla="*/ 0 w 1698248"/>
                <a:gd name="connsiteY2" fmla="*/ 257442 h 257442"/>
                <a:gd name="connsiteX3" fmla="*/ 54720 w 1698248"/>
                <a:gd name="connsiteY3" fmla="*/ 0 h 257442"/>
                <a:gd name="connsiteX0" fmla="*/ 1698249 w 1698249"/>
                <a:gd name="connsiteY0" fmla="*/ 0 h 257442"/>
                <a:gd name="connsiteX1" fmla="*/ 1643528 w 1698249"/>
                <a:gd name="connsiteY1" fmla="*/ 257442 h 257442"/>
                <a:gd name="connsiteX2" fmla="*/ 0 w 1698249"/>
                <a:gd name="connsiteY2" fmla="*/ 257442 h 257442"/>
                <a:gd name="connsiteX3" fmla="*/ 54721 w 1698249"/>
                <a:gd name="connsiteY3" fmla="*/ 0 h 257442"/>
                <a:gd name="connsiteX0" fmla="*/ 1698249 w 1698249"/>
                <a:gd name="connsiteY0" fmla="*/ 0 h 257442"/>
                <a:gd name="connsiteX1" fmla="*/ 1643528 w 1698249"/>
                <a:gd name="connsiteY1" fmla="*/ 257442 h 257442"/>
                <a:gd name="connsiteX2" fmla="*/ 0 w 1698249"/>
                <a:gd name="connsiteY2" fmla="*/ 257442 h 257442"/>
                <a:gd name="connsiteX3" fmla="*/ 54722 w 1698249"/>
                <a:gd name="connsiteY3" fmla="*/ 0 h 257442"/>
                <a:gd name="connsiteX0" fmla="*/ 1959540 w 1959540"/>
                <a:gd name="connsiteY0" fmla="*/ 0 h 257442"/>
                <a:gd name="connsiteX1" fmla="*/ 1643528 w 1959540"/>
                <a:gd name="connsiteY1" fmla="*/ 257442 h 257442"/>
                <a:gd name="connsiteX2" fmla="*/ 0 w 1959540"/>
                <a:gd name="connsiteY2" fmla="*/ 257442 h 257442"/>
                <a:gd name="connsiteX3" fmla="*/ 54722 w 1959540"/>
                <a:gd name="connsiteY3" fmla="*/ 0 h 257442"/>
                <a:gd name="connsiteX0" fmla="*/ 1959540 w 1959540"/>
                <a:gd name="connsiteY0" fmla="*/ 0 h 257442"/>
                <a:gd name="connsiteX1" fmla="*/ 1904818 w 1959540"/>
                <a:gd name="connsiteY1" fmla="*/ 257442 h 257442"/>
                <a:gd name="connsiteX2" fmla="*/ 0 w 1959540"/>
                <a:gd name="connsiteY2" fmla="*/ 257442 h 257442"/>
                <a:gd name="connsiteX3" fmla="*/ 54722 w 1959540"/>
                <a:gd name="connsiteY3" fmla="*/ 0 h 257442"/>
                <a:gd name="connsiteX0" fmla="*/ 1959540 w 1959540"/>
                <a:gd name="connsiteY0" fmla="*/ 0 h 257442"/>
                <a:gd name="connsiteX1" fmla="*/ 1904818 w 1959540"/>
                <a:gd name="connsiteY1" fmla="*/ 257442 h 257442"/>
                <a:gd name="connsiteX2" fmla="*/ 0 w 1959540"/>
                <a:gd name="connsiteY2" fmla="*/ 257442 h 257442"/>
                <a:gd name="connsiteX3" fmla="*/ 54722 w 1959540"/>
                <a:gd name="connsiteY3" fmla="*/ 0 h 257442"/>
                <a:gd name="connsiteX0" fmla="*/ 1959540 w 1959540"/>
                <a:gd name="connsiteY0" fmla="*/ 0 h 257442"/>
                <a:gd name="connsiteX1" fmla="*/ 1904818 w 1959540"/>
                <a:gd name="connsiteY1" fmla="*/ 257442 h 257442"/>
                <a:gd name="connsiteX2" fmla="*/ 0 w 1959540"/>
                <a:gd name="connsiteY2" fmla="*/ 257442 h 257442"/>
                <a:gd name="connsiteX3" fmla="*/ 54721 w 1959540"/>
                <a:gd name="connsiteY3" fmla="*/ 0 h 257442"/>
                <a:gd name="connsiteX0" fmla="*/ 2119839 w 2119839"/>
                <a:gd name="connsiteY0" fmla="*/ 0 h 257442"/>
                <a:gd name="connsiteX1" fmla="*/ 1904818 w 2119839"/>
                <a:gd name="connsiteY1" fmla="*/ 257442 h 257442"/>
                <a:gd name="connsiteX2" fmla="*/ 0 w 2119839"/>
                <a:gd name="connsiteY2" fmla="*/ 257442 h 257442"/>
                <a:gd name="connsiteX3" fmla="*/ 54721 w 2119839"/>
                <a:gd name="connsiteY3" fmla="*/ 0 h 257442"/>
                <a:gd name="connsiteX0" fmla="*/ 2119839 w 2119839"/>
                <a:gd name="connsiteY0" fmla="*/ 0 h 257442"/>
                <a:gd name="connsiteX1" fmla="*/ 2065118 w 2119839"/>
                <a:gd name="connsiteY1" fmla="*/ 257442 h 257442"/>
                <a:gd name="connsiteX2" fmla="*/ 0 w 2119839"/>
                <a:gd name="connsiteY2" fmla="*/ 257442 h 257442"/>
                <a:gd name="connsiteX3" fmla="*/ 54721 w 2119839"/>
                <a:gd name="connsiteY3" fmla="*/ 0 h 257442"/>
                <a:gd name="connsiteX0" fmla="*/ 2119839 w 2119839"/>
                <a:gd name="connsiteY0" fmla="*/ 0 h 257442"/>
                <a:gd name="connsiteX1" fmla="*/ 2065118 w 2119839"/>
                <a:gd name="connsiteY1" fmla="*/ 257442 h 257442"/>
                <a:gd name="connsiteX2" fmla="*/ 0 w 2119839"/>
                <a:gd name="connsiteY2" fmla="*/ 257442 h 257442"/>
                <a:gd name="connsiteX3" fmla="*/ 54721 w 2119839"/>
                <a:gd name="connsiteY3" fmla="*/ 0 h 257442"/>
                <a:gd name="connsiteX0" fmla="*/ 2119839 w 2119839"/>
                <a:gd name="connsiteY0" fmla="*/ 0 h 257442"/>
                <a:gd name="connsiteX1" fmla="*/ 2065118 w 2119839"/>
                <a:gd name="connsiteY1" fmla="*/ 257442 h 257442"/>
                <a:gd name="connsiteX2" fmla="*/ 0 w 2119839"/>
                <a:gd name="connsiteY2" fmla="*/ 257442 h 257442"/>
                <a:gd name="connsiteX3" fmla="*/ 54721 w 2119839"/>
                <a:gd name="connsiteY3" fmla="*/ 0 h 257442"/>
                <a:gd name="connsiteX0" fmla="*/ 950801 w 2065118"/>
                <a:gd name="connsiteY0" fmla="*/ 0 h 257442"/>
                <a:gd name="connsiteX1" fmla="*/ 2065118 w 2065118"/>
                <a:gd name="connsiteY1" fmla="*/ 257442 h 257442"/>
                <a:gd name="connsiteX2" fmla="*/ 0 w 2065118"/>
                <a:gd name="connsiteY2" fmla="*/ 257442 h 257442"/>
                <a:gd name="connsiteX3" fmla="*/ 54721 w 2065118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0 w 1271402"/>
                <a:gd name="connsiteY3" fmla="*/ 0 h 257442"/>
                <a:gd name="connsiteX0" fmla="*/ 1540705 w 1540705"/>
                <a:gd name="connsiteY0" fmla="*/ 0 h 257442"/>
                <a:gd name="connsiteX1" fmla="*/ 1216681 w 1540705"/>
                <a:gd name="connsiteY1" fmla="*/ 257442 h 257442"/>
                <a:gd name="connsiteX2" fmla="*/ 0 w 1540705"/>
                <a:gd name="connsiteY2" fmla="*/ 257442 h 257442"/>
                <a:gd name="connsiteX3" fmla="*/ 54720 w 1540705"/>
                <a:gd name="connsiteY3" fmla="*/ 0 h 257442"/>
                <a:gd name="connsiteX0" fmla="*/ 1540705 w 1540705"/>
                <a:gd name="connsiteY0" fmla="*/ 0 h 257442"/>
                <a:gd name="connsiteX1" fmla="*/ 1485984 w 1540705"/>
                <a:gd name="connsiteY1" fmla="*/ 257442 h 257442"/>
                <a:gd name="connsiteX2" fmla="*/ 0 w 1540705"/>
                <a:gd name="connsiteY2" fmla="*/ 257442 h 257442"/>
                <a:gd name="connsiteX3" fmla="*/ 54720 w 1540705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54721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54721 w 1540706"/>
                <a:gd name="connsiteY3" fmla="*/ 0 h 257442"/>
                <a:gd name="connsiteX0" fmla="*/ 1709021 w 1709021"/>
                <a:gd name="connsiteY0" fmla="*/ 0 h 257442"/>
                <a:gd name="connsiteX1" fmla="*/ 1485985 w 1709021"/>
                <a:gd name="connsiteY1" fmla="*/ 257442 h 257442"/>
                <a:gd name="connsiteX2" fmla="*/ 0 w 1709021"/>
                <a:gd name="connsiteY2" fmla="*/ 257442 h 257442"/>
                <a:gd name="connsiteX3" fmla="*/ 54721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54721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54721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54721 w 1709021"/>
                <a:gd name="connsiteY3" fmla="*/ 0 h 257442"/>
                <a:gd name="connsiteX0" fmla="*/ 1869321 w 1869321"/>
                <a:gd name="connsiteY0" fmla="*/ 0 h 257442"/>
                <a:gd name="connsiteX1" fmla="*/ 1654300 w 1869321"/>
                <a:gd name="connsiteY1" fmla="*/ 257442 h 257442"/>
                <a:gd name="connsiteX2" fmla="*/ 0 w 1869321"/>
                <a:gd name="connsiteY2" fmla="*/ 257442 h 257442"/>
                <a:gd name="connsiteX3" fmla="*/ 54721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54721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54721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54721 w 1869321"/>
                <a:gd name="connsiteY3" fmla="*/ 0 h 257442"/>
                <a:gd name="connsiteX0" fmla="*/ 2029622 w 2029622"/>
                <a:gd name="connsiteY0" fmla="*/ 0 h 257442"/>
                <a:gd name="connsiteX1" fmla="*/ 1814600 w 2029622"/>
                <a:gd name="connsiteY1" fmla="*/ 257442 h 257442"/>
                <a:gd name="connsiteX2" fmla="*/ 0 w 2029622"/>
                <a:gd name="connsiteY2" fmla="*/ 257442 h 257442"/>
                <a:gd name="connsiteX3" fmla="*/ 54721 w 2029622"/>
                <a:gd name="connsiteY3" fmla="*/ 0 h 257442"/>
                <a:gd name="connsiteX0" fmla="*/ 2029622 w 2029622"/>
                <a:gd name="connsiteY0" fmla="*/ 0 h 257442"/>
                <a:gd name="connsiteX1" fmla="*/ 1974900 w 2029622"/>
                <a:gd name="connsiteY1" fmla="*/ 257442 h 257442"/>
                <a:gd name="connsiteX2" fmla="*/ 0 w 2029622"/>
                <a:gd name="connsiteY2" fmla="*/ 257442 h 257442"/>
                <a:gd name="connsiteX3" fmla="*/ 54721 w 2029622"/>
                <a:gd name="connsiteY3" fmla="*/ 0 h 257442"/>
                <a:gd name="connsiteX0" fmla="*/ 2029623 w 2029623"/>
                <a:gd name="connsiteY0" fmla="*/ 0 h 257442"/>
                <a:gd name="connsiteX1" fmla="*/ 1974901 w 2029623"/>
                <a:gd name="connsiteY1" fmla="*/ 257442 h 257442"/>
                <a:gd name="connsiteX2" fmla="*/ 0 w 2029623"/>
                <a:gd name="connsiteY2" fmla="*/ 257442 h 257442"/>
                <a:gd name="connsiteX3" fmla="*/ 54722 w 2029623"/>
                <a:gd name="connsiteY3" fmla="*/ 0 h 257442"/>
                <a:gd name="connsiteX0" fmla="*/ 2029623 w 2029623"/>
                <a:gd name="connsiteY0" fmla="*/ 0 h 257442"/>
                <a:gd name="connsiteX1" fmla="*/ 1974901 w 2029623"/>
                <a:gd name="connsiteY1" fmla="*/ 257442 h 257442"/>
                <a:gd name="connsiteX2" fmla="*/ 0 w 2029623"/>
                <a:gd name="connsiteY2" fmla="*/ 257442 h 257442"/>
                <a:gd name="connsiteX3" fmla="*/ 54722 w 2029623"/>
                <a:gd name="connsiteY3" fmla="*/ 0 h 257442"/>
                <a:gd name="connsiteX0" fmla="*/ 2189923 w 2189923"/>
                <a:gd name="connsiteY0" fmla="*/ 0 h 257442"/>
                <a:gd name="connsiteX1" fmla="*/ 1974901 w 2189923"/>
                <a:gd name="connsiteY1" fmla="*/ 257442 h 257442"/>
                <a:gd name="connsiteX2" fmla="*/ 0 w 2189923"/>
                <a:gd name="connsiteY2" fmla="*/ 257442 h 257442"/>
                <a:gd name="connsiteX3" fmla="*/ 54722 w 2189923"/>
                <a:gd name="connsiteY3" fmla="*/ 0 h 257442"/>
                <a:gd name="connsiteX0" fmla="*/ 2189923 w 2189923"/>
                <a:gd name="connsiteY0" fmla="*/ 0 h 257442"/>
                <a:gd name="connsiteX1" fmla="*/ 2135202 w 2189923"/>
                <a:gd name="connsiteY1" fmla="*/ 257442 h 257442"/>
                <a:gd name="connsiteX2" fmla="*/ 0 w 2189923"/>
                <a:gd name="connsiteY2" fmla="*/ 257442 h 257442"/>
                <a:gd name="connsiteX3" fmla="*/ 54722 w 2189923"/>
                <a:gd name="connsiteY3" fmla="*/ 0 h 257442"/>
                <a:gd name="connsiteX0" fmla="*/ 2189922 w 2189922"/>
                <a:gd name="connsiteY0" fmla="*/ 0 h 257442"/>
                <a:gd name="connsiteX1" fmla="*/ 2135201 w 2189922"/>
                <a:gd name="connsiteY1" fmla="*/ 257442 h 257442"/>
                <a:gd name="connsiteX2" fmla="*/ 0 w 2189922"/>
                <a:gd name="connsiteY2" fmla="*/ 257442 h 257442"/>
                <a:gd name="connsiteX3" fmla="*/ 54721 w 2189922"/>
                <a:gd name="connsiteY3" fmla="*/ 0 h 257442"/>
                <a:gd name="connsiteX0" fmla="*/ 2189922 w 2189922"/>
                <a:gd name="connsiteY0" fmla="*/ 0 h 257442"/>
                <a:gd name="connsiteX1" fmla="*/ 2135201 w 2189922"/>
                <a:gd name="connsiteY1" fmla="*/ 257442 h 257442"/>
                <a:gd name="connsiteX2" fmla="*/ 0 w 2189922"/>
                <a:gd name="connsiteY2" fmla="*/ 257442 h 257442"/>
                <a:gd name="connsiteX3" fmla="*/ 54720 w 2189922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9922" h="257442">
                  <a:moveTo>
                    <a:pt x="2189922" y="0"/>
                  </a:moveTo>
                  <a:lnTo>
                    <a:pt x="2135201" y="257442"/>
                  </a:lnTo>
                  <a:lnTo>
                    <a:pt x="0" y="257442"/>
                  </a:lnTo>
                  <a:lnTo>
                    <a:pt x="54720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5" name="btfpRunningAgenda2LevelTextRight118082">
              <a:extLst>
                <a:ext uri="{FF2B5EF4-FFF2-40B4-BE49-F238E27FC236}">
                  <a16:creationId xmlns:a16="http://schemas.microsoft.com/office/drawing/2014/main" id="{2F3DC0A4-9889-4C6F-8A04-E98642311079}"/>
                </a:ext>
              </a:extLst>
            </p:cNvPr>
            <p:cNvSpPr txBox="1"/>
            <p:nvPr/>
          </p:nvSpPr>
          <p:spPr bwMode="gray">
            <a:xfrm>
              <a:off x="3496628" y="876300"/>
              <a:ext cx="213520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Use cases</a:t>
              </a:r>
            </a:p>
          </p:txBody>
        </p:sp>
      </p:grpSp>
      <p:sp>
        <p:nvSpPr>
          <p:cNvPr id="103" name="btfpQuoteBox701730">
            <a:extLst>
              <a:ext uri="{FF2B5EF4-FFF2-40B4-BE49-F238E27FC236}">
                <a16:creationId xmlns:a16="http://schemas.microsoft.com/office/drawing/2014/main" id="{1886C426-E96F-4486-9759-9342BF5220D0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3359628" y="2244193"/>
            <a:ext cx="8138160" cy="218970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950" i="1"/>
              <a:t> “I trusted the brand name of TARGET. I </a:t>
            </a:r>
            <a:r>
              <a:rPr lang="en-US" sz="950" b="1" i="1"/>
              <a:t>felt confident in taking this as it is the “#1 cardiologist recommended form </a:t>
            </a:r>
            <a:r>
              <a:rPr lang="en-US" sz="950" i="1"/>
              <a:t>of COQ10”. Glad I switched!”</a:t>
            </a:r>
            <a:endParaRPr lang="en-GB" sz="950" i="1"/>
          </a:p>
        </p:txBody>
      </p:sp>
      <p:sp>
        <p:nvSpPr>
          <p:cNvPr id="85" name="btfpQuoteBox701730">
            <a:extLst>
              <a:ext uri="{FF2B5EF4-FFF2-40B4-BE49-F238E27FC236}">
                <a16:creationId xmlns:a16="http://schemas.microsoft.com/office/drawing/2014/main" id="{ED29E05E-D270-42AB-9BFC-BA85C995344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3359628" y="1873770"/>
            <a:ext cx="8138160" cy="365164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950" i="1"/>
              <a:t> “ </a:t>
            </a:r>
            <a:r>
              <a:rPr lang="en-US" sz="950" b="1" i="1"/>
              <a:t>Following Doctor's Orders </a:t>
            </a:r>
            <a:r>
              <a:rPr lang="en-US" sz="950" i="1"/>
              <a:t>This product is great. My Dr. wanted me to take it &amp; I was </a:t>
            </a:r>
            <a:r>
              <a:rPr lang="en-US" sz="950" b="1" i="1"/>
              <a:t>very impressed with the quality </a:t>
            </a:r>
            <a:r>
              <a:rPr lang="en-US" sz="950" i="1"/>
              <a:t>of the product </a:t>
            </a:r>
            <a:r>
              <a:rPr lang="en-US" sz="950" b="1" i="1"/>
              <a:t>when she told me”</a:t>
            </a:r>
            <a:endParaRPr lang="en-GB" sz="950" b="1" i="1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851A832-B9FF-39E6-67F0-4EFEBFEE3AB3}"/>
              </a:ext>
            </a:extLst>
          </p:cNvPr>
          <p:cNvGrpSpPr/>
          <p:nvPr/>
        </p:nvGrpSpPr>
        <p:grpSpPr>
          <a:xfrm>
            <a:off x="409331" y="1277467"/>
            <a:ext cx="2562470" cy="257445"/>
            <a:chOff x="409331" y="1277467"/>
            <a:chExt cx="2562469" cy="257445"/>
          </a:xfrm>
        </p:grpSpPr>
        <p:sp>
          <p:nvSpPr>
            <p:cNvPr id="114" name="btfpColumnHeaderBoxText198768">
              <a:extLst>
                <a:ext uri="{FF2B5EF4-FFF2-40B4-BE49-F238E27FC236}">
                  <a16:creationId xmlns:a16="http://schemas.microsoft.com/office/drawing/2014/main" id="{C380362C-7EEC-49AF-8932-DBFE944F3A95}"/>
                </a:ext>
              </a:extLst>
            </p:cNvPr>
            <p:cNvSpPr txBox="1"/>
            <p:nvPr/>
          </p:nvSpPr>
          <p:spPr bwMode="gray">
            <a:xfrm>
              <a:off x="409331" y="1277467"/>
              <a:ext cx="2562469" cy="25744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>
                  <a:solidFill>
                    <a:srgbClr val="C00000"/>
                  </a:solidFill>
                </a:rPr>
                <a:t>Target brand</a:t>
              </a:r>
              <a:endParaRPr lang="en-GB" sz="1200" b="1">
                <a:solidFill>
                  <a:srgbClr val="000000"/>
                </a:solidFill>
              </a:endParaRPr>
            </a:p>
          </p:txBody>
        </p:sp>
        <p:cxnSp>
          <p:nvCxnSpPr>
            <p:cNvPr id="123" name="btfpColumnHeaderBoxLine198768">
              <a:extLst>
                <a:ext uri="{FF2B5EF4-FFF2-40B4-BE49-F238E27FC236}">
                  <a16:creationId xmlns:a16="http://schemas.microsoft.com/office/drawing/2014/main" id="{70D8C897-25A9-4516-BD4B-CD1D9DADF637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409331" y="1534909"/>
              <a:ext cx="2429119" cy="3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btfpStatusSticker829316">
            <a:extLst>
              <a:ext uri="{FF2B5EF4-FFF2-40B4-BE49-F238E27FC236}">
                <a16:creationId xmlns:a16="http://schemas.microsoft.com/office/drawing/2014/main" id="{CBD00D42-EBC6-2F50-6A4A-6B5003C244F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10097903" y="945401"/>
            <a:ext cx="1759136" cy="235611"/>
            <a:chOff x="-5029262" y="876300"/>
            <a:chExt cx="1759136" cy="235611"/>
          </a:xfrm>
        </p:grpSpPr>
        <p:sp>
          <p:nvSpPr>
            <p:cNvPr id="42" name="btfpStatusStickerText829316">
              <a:extLst>
                <a:ext uri="{FF2B5EF4-FFF2-40B4-BE49-F238E27FC236}">
                  <a16:creationId xmlns:a16="http://schemas.microsoft.com/office/drawing/2014/main" id="{DABDA1F3-1A89-8AE6-AFAC-3B1C161786C7}"/>
                </a:ext>
              </a:extLst>
            </p:cNvPr>
            <p:cNvSpPr txBox="1"/>
            <p:nvPr/>
          </p:nvSpPr>
          <p:spPr bwMode="gray">
            <a:xfrm>
              <a:off x="-5029262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44" name="btfpStatusStickerLine829316">
              <a:extLst>
                <a:ext uri="{FF2B5EF4-FFF2-40B4-BE49-F238E27FC236}">
                  <a16:creationId xmlns:a16="http://schemas.microsoft.com/office/drawing/2014/main" id="{24767438-6650-4DA7-C215-E76AAD7F0915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5029262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btfpQuoteBox701730">
            <a:extLst>
              <a:ext uri="{FF2B5EF4-FFF2-40B4-BE49-F238E27FC236}">
                <a16:creationId xmlns:a16="http://schemas.microsoft.com/office/drawing/2014/main" id="{F7DDB8D6-8947-AED2-0D7A-855F89E90365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3359628" y="2745233"/>
            <a:ext cx="8138160" cy="232092"/>
          </a:xfrm>
          <a:prstGeom prst="rect">
            <a:avLst/>
          </a:prstGeom>
          <a:solidFill>
            <a:srgbClr val="D6D6D6"/>
          </a:solidFill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1050" b="1" i="1"/>
              <a:t>Balancing side effects of Statin</a:t>
            </a:r>
          </a:p>
        </p:txBody>
      </p:sp>
      <p:sp>
        <p:nvSpPr>
          <p:cNvPr id="90" name="Rectangle 8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qMECtm4bt7VYQCJtHMhj37iNv5g/lAF+vcQ3i8Jl8g7y+tFlXFvVUDrhVc7w74sTUwi2vlizSOCJe1lHsLsU7E8edfagjdPoYhKEOJL9lhCFHPCci94cKFOJsl/5s0NQt5ej7h0ka/1Vx+IAaJRbniIZpNyFAXwvzSh4s/Emin07rIlUXoBo2FuceJkM1J6JfusKRfedoIyO67u962C1OTqVLzkAyY6P+f8uxOaI1MmtWXuMuN+jb6Wilq1ZEVHtcpX9Utp+3IBehvZo4pWvxfyGw7DGvAJPZgkB6Ztjj0Od1YTpW8cz0qbeKwx/TqjnG6tCcEA2XFTDCdWfZehjrzgwR9G2DZ6ExZszz1WqkISDgdq+v0jh2dIZuS3CpeS0Lpv5JcgN+Ch7sywBEOKaWK/ZERhyjNXZkkFsodEXoEpXU+SmBY4FyZPPyBdLsQfQZPkfVbm5nfODejRx5ZG437+xXi3UL7KnkQ0RKspZbJNmVkt7EasT4YY+EJxmjRECtcl+x0GS20W+wHjqZoqCfuziGrJ6OiHlGPUznEUSGdQomAzwX+ZuIlWWuJ3xRuQZWT227LIipfqxIKTQkdESWDaAJvtHLuQwRazeqOH2c2cBwvqVYZ3nnc9xeshO6tgDVjBxK+eFTLA8UqtYIJTnrCuts2qNp7IRKGjSBDHqfCj2s02KBigr3NaQ9sjc9swZqgknl73UTndYkbQJmPrdgYHS5mtMBLr9I7nYdENL6Rz7FRiuaid6H5VI9GvgBT1sZ4syzL6CHEHvos2IJ/9OUNs/NOQPkw+cKPMZjfdvIkuTJ62KgboH1ziT+bD2Twy4npooY+QmFIBKex8wvrKDx4OFDjT0mkWvnurQvH+01WAJ1MpX8booaGiK9VYdgIoMqc/5oGyJRlBIsoXp+f9kUwWRe9EfJgmQmikp+aYFmEywmplA55CZIkZ4I0oLHZ35TeZBqWx9dTfmKCArbs49XHzvC68KcxX78RC8RBUTQSWNc85lgZC4EFIZpYb6f6TnbWXbsMjQbbzcvWBFk5d0M/Nyz31JpgfQW788JdJvcT/MTsr47+xG2/Vj09z6BS3lWxJifK0rF/YF6Ljx59UOtAveTeqedPORufE9hf4S9eoZQxxflK/nlHM/oETRh9aqkPoLeBHN2m9E1e95kaN06QOrkAjF0PmKlInlKPyq9QcbO40A81uRd0gNlzef6V/bgvBkpuBue1RCobbeWy4xzCoohMqI5ppTIY9XDIkHl2hpnr+eG5nhH4sNlAfRAUmrzkvcZA9jaiI58gxXfQZQlODuJA8hLucpQYBV19w2jYCCZWAuwlKxCUZ7W/Yj0PiIyKD/cuYbUKLTrFQPnogpq4KGezYJ2EnS9pQS4YEhxv8MfJoIiqqwQV6K6JZ+iw+lThe73bQ1t+2B9vnQ1++v4RNhzrl/etH9kOrjr8W+9a/iGMXXz//6PgbJwPC7NB41fwrNoHO/usX52u4Z1qMHEe/hr0M75uOk/zLWKrVgnf1rbY7j3iW+sWqv4qrAR2EW4B1BmYCSd9ebg+VHEwiy0LG8GgbVW1UkGdLAdxVsclbXJy0FCljp1SSs5ubhnMU2S+l2tOSDQnxk0xxkwDe7H+InAh5x67Vu6YaD7ocWgrGKwovqbqfggZfwrQ3Wtg6457Lia/Xv78ZJ0ErSxRTSoX6HzFI0eyjKQlEKN8wncrLwnP0hwdyvKnfSYKPD/dMPZBj/O+6b44l11/2EcS1DcxGABp9DDT3JTW10UxUqcSNmdd/+iNcl/zj0WdHArCqTa+t8c8KlGJV65SKKwal9kVpNO+jDzHoHoZp2vqhMvW93mCsuHS2zoJkMPRA5HPibeftV++lggduebDBUJFrFsofzLsjPqIjjq8c22f0xRP2NslUzw2+E/qfbHRmWVBhd5Ty/blBDLxFgDVF9biYm5AYTSVgq5SuylkrYA6D0WtxZfMgjjc01m2ByhPcpqql2qUDmmQ8QzHDMAxGrzyUgfGh5r88isSd/rNszbu/hgvOfLOSY41DpYlb8CrgIgYIwOvwPzdKuqxWZYNR3e0NtTP3Kl8WgMBvdG66GLZFHpI1f8/weIyRObCjZuuJKZVe3LfFDup23ghZtrUpA5qNQwvu7eR1ljMrXPpQ8PLsom5HitO9r4GBFH/9evJLGA/9nbFLXI59xeNOgWIDU1PDbSksh8Zzt6AtdWVA1chmFb26f6oiWxYA+GfQR6fNeOElgU0Aoz5FONcGWS2pY+/UBV82WdWD/SdhBNlURpT3wZSi+Kg+gfswDt3ODZ6L3gxB0vUh9kR9rvwelshRUO3eegwL4hlxl0L8ExVGXRe0xXmy96hd3/LYyQ1AaO6uG9EoThafP08z7Kh7KbVZc7RwYgWieT12yz/LFtjZWLF/KmDu9CMWkV6whqmpz+YdfthddCDrlL7FfPOcxVPcZfpFQXO7j1cKmTHQxJBW+sxubs8S90InK6M0WF0YHvvb20eQkccgtJv94xxvP/HcAhZXZFeWRiXB59y7cKV407pT0TqwX5h6H/V4KoL1zf5mkzlnG0z0mdXZ7KLVdnWpuZsSOx3VeSGbjwbyRjgOMcvT71zPdw2tRIbOHDVGMfx4Px+w0mAUEcwJFumeeRiHWfEXAb8XEIZMkzHYMMux6y2gfjwKaMTElnWlhz57ctLVoz224Q1sZZkRzBciC8UtibF//tkee1EIf5vfWipP1lQ5T/Bjdzr/Bg9kpDSd9/dbiz4sZEKk66sBWaZfXxzWdTucCzTIBVexyjfdgauicH24pag0i8Kgg/PxXs6HVHK4UwHU9ail5bRqQZbxCPRGWgA16dUXPC4bunb3LR75rlI1JDZH0wngsIqJl0zllwTI7z1nwQOLFt6wjTsMBnCMvwkM754qViwN60CfPcEwz6QX6yJGj1XUGpWnQ9++1+ketA5kBmz3hMKHnOZ+ldMYQKk9zOg5b0mI/Xah9seteODv7Kw8dm1FlFJQjHo6SKc7VScHPvSxAFE24qTSut7Pz32tL0dm8CirlSZr7Gn1uOrU/X+1y7CoiyWGBy6XH32xlf06s/6GphCkRa32HIqy/OUfriUVu1B1z07xg97hwkJLDJBqeyx61A/WVzQfpCBCa8f3OiU/KorvXIgE2Sc5yL6GMrOar/IXvA51nhB1woZHYTI6LBfWBCedpVyZuqo5MkM+rjsb7qsH/Odh7FKPU6khan2gvUdTGrh/0xb35TKjk58GdtdJm8rZMsX3Nf5wmD8D2X1MaE4KRmQNCJ+7mf8aX8jYT9BO3BrnbNudugEf9grh+LsUoNW3Z58sGdir9fkVshbZy60R2l/03ApFcvwZmv2oLzGMaGMzmV9TjFlx6yD1fLk6L57iGBZaSRn9Ys719Qan9Yyj0V4bLVMe64TedFPjAubMHsunAwc0XzOJwpaSoGbakKdUO4quTgKl//c+U/Z4pkX9G7Axq2Eow19zi5sE4eswaYtwwpKSDTcytLAQ5NnWcCHQbL1dRh6u4hbZ8a8wp9Vb9xYC3jYSh7TfoMQ/s/6G7NwItPqYH9wAkNMyv6afRbocB3VFsLpU8yxP+f4eBjwod2J9Zev1M3kLOzmqiBXs/mBuWIzkbsi8QPPf2wfz9ifQWgDUoFmZEqTkMqYQztEa9J5bp56dsdkdIyRhGRfbai0XlQ0KJPOEKlhhyy0BaOBA9dfPx0qEv+wxnsUN79gtqIjB8HdkXSQhhcMVb5/XY9EdOoWdwU3JtVq1VTTxIZUmb2XHJD0yaRoQDNuOtksRIlEn+SsVxUmLY3+Ehc74JwtP+/w4pNSd0rao90jjqQVLwmM8kYQdFr6DMSECZTjto5V4njVt3lpXUqVle62FGRn84qu5skKKRqYVHY8vYkuLmyJ78UMRSE9inCAVfdmPMaVmSYycpcvJP9oZlf4agJ294JI0Rps16nWPUEQm5L5xmu+cmqjgFtlxmN3/LsXxsaNOxpEa2ybTHtpCvUYtNschIFPRNTRYehSKGtj/Cg8q+hiKVwr38kQTc2kiKDjLe7jDvGWMOCyDNrkswqOwjMr58Qn8oZC8otVeuajJ2STvcCT7qwO9GiZgicl0RIMHj/R/1m0ETg74SgMec2bi8MZQjpRJP6lmSYb/PJ0CKIA4mWzzmECsNKGyKHuXA7OVNJ8SG30OAUM55S6KA8QVM/HCXf0YoWOegVxnIZcUEsK5KILy+RGoMORdDAzntB2yD0J/01k5sioFMHpphyh4mEb62YbhZX5V6h4ti6joo7sXyJpz8YhtLOcrXPXG6HkBqUIDqi7QTISM48jeQSrHPzeG1twMAGAeLYB/jDpGj94GyAky5fBw9hijbknl/W6Xq223S0M9L3C+gWlqmtFY8y4wqJxUGNmbs31BCAKu60DShpz0IBLsNhRNwv/Fwt46d+LTTpmLZ56gc4YX23O38FwThviZMI6wUxyjZL89bQ9xtasqQovI6xXL+jDeQIDNBXgPS5k3L6g6+Y9cHrBFXIL1EOtGOJpDqySDVmgK715ODxcWLorAWWGRN8hJWlT4PVmZkD1ll8fGikeDRTHIqAJ9GhNlALC4nYNEQxa1K/cA9LBTWpq2LXDthYyEEsMHI6AB3RhBO2+KLXY5EN1x32L/HKwKwrAYsfXxaB0d3biJFQ9lTgGdJBwdxBeRUYB3Qz5eWGboQTYefXnO7ApuuWy5CWQGJa2Weoq6KQm/nTad10k4rFMnPUvQAe0U9frQhj6vLCnLf8m4N1jqr+Jxym5OHUXIqS76woY1d9J+iC1g9Fj4QnJ6ofYJRrh4yXT4HcHlXlB7SRR3DTkukX9g9sZSKedG7s7y3BXIsjs8eD++2wlj3EWMDzqp3aOgxm/eeQhOUIOllfeWk31mquBciQURBy/aAi531/B0zRE6kdoVg+Rz7gCPfiH3YSKopHP/h+s2sC6Y+3iTMcGSOO/gldNfY5Zg51HdhdJHKCnQp8v+3wI+DFDsUxoYG4RSY/zCztjmartgl9CCve5+FhcMjJ8KnsUVo/J7slHC2Ig2CZaAk1aGN8MMMm68sNlFhCqH5res+lxnYdOI0voX++e2HIKcLH9ou6oSZMvpKlTqyE+bm5i/NeNF/Bd+3lGbO+ytdwlpMGB8otg39jPG7HSYsygGNDBwkf/oPgRfNkuhInZeXYLECkhL5siajJXQDE6K3dBK7Jt/kEhuMNCEdnDBPyd7i9cEyh8IF9UAouFNoAFL/eaJIDYmME93klUktZbjr8ugkrsHxC/r/kkMvq7nXNfks3+OvamQ1ely4Wr3SEYeXPZa5MtEyCb4EZn8Y5qgv4wStIMVT1ouHlsoCrA11/YXNBvqmatrsNshg8MIW725gZ5aav6BRGSBwH13RH9tLg4J210NeSjdmjrClVnZUQK4q6uG1Skl3EM+F7fR9V0Nr6ZW2to59ykqQKa6ooBJv5c+cqf9ii1MkfHEUbrzDeTBnC+FJB7efpRlgD0GmU3nzvUqX8q9sGLZDXL/54mLRwOgQgBuUHk1qkklidraKK1jYpHXINZ21V0dzvPz+MBbVx16J2+AXeaYX+TVQJwTJSa31/AJd4uix+yiEHxuDS2sIjUfM0etrnsW82oQ1ecPs7EmafMz/vH9TEm7dNnFtqBKcIbD62rERMFBVAEw+xuqYJrP3LKY5i5pxh1GqFGycfYiglrsREks1Qb/C5Ki7CH53SxCKG8Kw5G9aH9FpBIqN0gcFTCdCKxLM864tKAfWsCfDQq2tGHyiJWTh2fPU6HYkZGa9xB+oWH6g1mD9gWUDyK8dX5zXLIDsQMi1UnUl97EkupSIfaWVIyCN586JsR2krXE9Go61HNRLWkUiufiZIH1CpBuZShGjTcr50x+4PCZ/IPemna5N5/LbvB7j26ATJ9TniaPwsQg7Z4MhcpkNMddLbwTu78cPnEajkAdImWwPIELE1AesqyGWM6N+3zbzASzsbVX8XV5/iBhne3r9KBl60LSID3qbzsmw3XbSYpIYy55ApR/toLy7ke2UjxX+IlDEgMfFMHzI8i9COdYZ0lA7B1LyNJKj02SSjeSWSFpWo0RJql6heH7QjdgWFasdcaeOxuILL2jVA1ndtrP05DUMG8Px2ajSLkp4r/bEzGwvY1NAI2H5dh+Jsps14nOFguc9lS2tOe7KEsUqwGPR0/9YS1+BLX6KM8MmsvRbyS+2b3EFYJx+zRfsXCDJs4nXZT3Qc5U7G2jcTEDLkw+aXwUrK+GHcZp77K+GWWr1kmLvKTCs1oSGtLQNc86tTUbgWxt99SSdBT0AZl2MteNWCZIhTl/SBCZTs8qpcyOuaZzsZ7lQUvdgXdKzIG/Ly7X7bHyRQW4Ql29cphrrLNXabkf9MNEN+4VwyQrgfVLYfy0Bgv1JAQ8McVu4VtU+DTJ5t6+rX4OOqW8r04j++z76wm20GGFuBpt1XBZ3LM37MUtppgmprD9gsyYfbX5QEWvTsov1P4XEC3GiGjUNIciST0ReEsYUsoq2G8Liv9ci6Qy/n9I5DJvf4NRGnsANfj3Umx2gSQZk0N8/POage7OHf4etoEhuPyUzd1qa83sz0CXXJ8/Z410RE2C+I/5vLeMhgwROoDc5EekeDdLUyrMthX+XDX2qU77Fmupg9SowU6cVdbSOZsdqGtycKBPQLGJDn7o21Yx/VFfYNCYghd+EWIICFvmdpyPGEl3SIYhL6Mg3KNTdz+mpvLZQdzI6VnMOLQEKeP2DVwIfk3ZvXle0fkwyMW5QH5/RbMLStl5hmfWNWVhmGMx5MqEgp/xUAuFw3RVdWheySv2U7HqTYTy0bTVuZH5/+mDL5nNhZLO70hbOTkR4qBuinX59OKCf7O1SYev68fCHWTGUEjHMjr7ysIXWyr6gsFjqDj6xzjj4bmxpEO/9uhFrtYrIjhtT3XK5SrUvKtpVfZBfrm0OCA9hwyacjKKIidgsvvtACVk+k5Umn5rpeYRZ/16x7vx5fjNDkROI4XWcXNApwXlHbI4JF+dsYfjw+XLNFwRy4PXYVPozw4XFDGjplz1FRUAZPrsMBdjGLVZPEPfZP1vzPnDkJcg3F53KN2LiO7FoZQGaf0ZMxUD/NoMJf5ghU5CkzeHZP09aFFWfoNyqPk32tdRbQJblXH0IVQ1PwZhmAn+6DZ8JcAiz4o5Wo4FfxjZjezD5NZs+DWGiCoHoG9xNOKlSmwx0rdsLr/3sFrVf3sz8X55cDQiQ21b3abfOMxSazujLwIBSg3PrVBy8PsKnFTtSM5LgLXu9p7kMn7Rve2CmUKrNUHF2eLkMnc+JXKzAfxPld21gCVnCNwgcI8AVqlWmP7p+/Mk7ma+bzc39N+oJE9YaNMYduo4aloMNjOwA48lbiLP2w6nqFSKpr4saDfWT7GF38r0jBA3mJopBUtXDtkb+3jC72wq0FkhOucwdOKnyekbHLrFeg3/amLmjtO7H8gzQEKe/+3MNqzZWo7ojaFMFqok+C7IOuMPN1WVHgZU7jQoQg4RXUmrg79hZais2AQyDQBBjjJ8BHauh3vUq6VTU1Gk0l+to4alfMXUGYtqGdq8nczePOY9O51zDBr0VfFve5VvjzE0uJXkWG94+RS+zwi6igRSyi1q6UvrMnOR+95Nbi7s+mIyrtDfWs6sAJLgGkWmfyqmyvXbiHqmNQ2PHyJ85hIersUVx940y81l4oNAGroOZ5pJ2vEi3GSuwHB+FBaq4VwyTfSLljuaL5QrCE3w8K+ArnWzg1fFJXNAMZ0Lxyf6ORpXrEGFOJTwZOlgD1xrRMyFF6ecS3E+tAheOnpp4j4fvK/rQvJGfPyvJmUwtuuLaBIdwGzB7wTyahg9TN6SBYj26+DIhvUk7kz8WBNmh0Rt3AdYnzo1o9Pzt+gcFgisihW14zXhfMC2gXk25S65AGXQWmhYNHC/D7XvHthLPyFLDlSfG4OR8sI2hA/ABMqaVU0LY7Saq9KcrdVqMDymY5K+9pJVcZ88/cRUh+DJR9vm3eACHzJc5G4RNKHU9/JDqAbAgZO3HV+1h4Q7Egfvlu6zGVN9x80WbWQbAkcdbjn5+cUhcVGt/Zqw7zUErieeMGPyBGMHb5YJEC7xbOo5l1CQ2O46aFt/T3IigiwaLL3o0t264EyL08xiGBuKcQNJBJbSagiPWrhcqT+mvU+MKe6DozoXIdsnJy+91PUAAXUVeT6Qx6C9tgmMM/xd4606oMzK4YiZnD7MesHjDcwyIKYjtIhlRqyUZNgRpEBg2beCX22Eg0KPuaBbB6os9Ns+f6qxuO8AN/t5UwKBJLbPLcFtBb3/tIvsPG2e3GBlnTYIjd00cIEtn+W1ghotZUNhYaAHCUbs+BU8NL+KrdmNunRiSerC0PWyAylkwu0Ed1yrk12AvqNLX1n51IOlvSnduPrnYCRFL2a/cEJ9macKiUj9eqXYNIIwPKnASfHNYDZFJeWarynpnPmuiJkEb5EoUo6CwMgyFlCq8Yp+GqtQDtYTOR4Ax9wTq3LEt+ganz8HuOTGWIPLJTjFGWi4UrWb+qsSSqDZnGa0WQJRGV1ZZ0akzexVCEgZJwSq0RIxOS702W3oKt+T1hK7Bdd1S58BXYlNzFDKXKzCpRq1878IvnM1MDCSmvnoAdib7AVERhsIzSB/DdCoQCUKEULt6naKkJ8FrBwjCwCv/L0qn1Jgj5Hzq2JPsUrRIWX3bf46Ik0EIQZ/KsVW4KjUB3Bbaiyh4rfx+YQAeowWkwWp6fDlMY5+Yoyp8VGq8g/aIpwyo+N+13gIk+Z62Z0oMK0lPK/yf370zOu987uwC07J7H2qf3Xsl8CTLE23BQ/HVJ9yv6dI2Cf0i8ANwW5VF1/uQ1hKJL0xPuCEOCXiCbxG17qRzPJUn4f8Rgt2jyhYoUSDEqlEm35AlXY0bawSiaZSVp90GILTYfxpaLRZrVwJpro8/nDbfX1AtbS/OUvvkKGK4M9RvjFYz1S5+46uWjZyO1rX7G+67dqD4YNRsFPQs854HXQ7gCI3MchQYkrWv7EiC2VJw0BzhubJ9nKSrbGI5L2bGsi5eUowi0RjyIsFIn7gKTr2XXslqPtD8GhR4qCQHKxLY2fvKgNUmjaTm+2blYbc71s8BGFPHfKrXJZuH5mTcusqqoKMHUUfWFjcEmtdWQVCt1CibPk7SAZ19ScnWT+CBLIRBBmqkPsDhjsYzaHqF7bQ8KG2y3dzWH2A65E4OcSJhgpbFE+LWi5jza2s37lSdbqnSUHZyMbmsDZTjKgmaCmCOc7CgDxaRD8gQkQsUid5mbgd0Jwd139Ji8JuOnMbkabuBQHxj0xEQM3ix8YXUTFt6HpONIqAKMEIyTRD2laJe48vFRVqbbEw+ndAVMQ8TikFXPzMrshcpQYVuzEVhj8+MtuMwbZA6aXVS1T7UACojgxKt+mzqzy5OdpGXrmYi68kn0Dzpb3x6gsyCLYVaYlF3m9e9c+bPRkFtnbQPqCtFTUOmQmKPn2YICnIKowPGUPHDzMMVHAmsvgpHNV3xaLhqZDulxwl+iYCRg0LxVOSWwts7VbeQBN8T9wfUXlmEiq8melcARzmFLe4FyAQcLfpLFP9Og1Hdpg8luKfgroBwUX5RRn6Be6q6sByR1CTn7G8aZca8JFX+oqcAl8a/DdHWSz13YJ5bdW0dXHvE2GGuq19C/FKCbZBFymxhY7S5nLjeGMeYJ9VVvfYElIKZuuNIimS3F3aJnpxkVJjywsdENc27tWkgmPwyUs+wHvjfaRCTiuiCDksZqSZKZYRg89NTZXMh4Q+FG2Xui4SLxW3b4lhfTuQnX0H8U2s6PKxQE4U0icgY7AH0EUmOKGPywV7f1252U2dHDMjNs950jGdjp1u70i9ZY6Scnggf2SLdZyl2Fp0uDdxrDCK2NrKzqbR5wGuZag60/BRbDn0EyDuffMDj2Pl+r6SSgSi+jSuX6O+kzCmRAyS8W317LEhRH/pYyIO3mWS5pMGWSZxWvBMq6uxxXeSn6GQbL0JwazxLUoCXQ7BJUNwaQfro7BJkdZ9ANy3Nf0ce4tpdgPbjhOM1L+oMuMyOH2uc4scTa8S5nOu/RKjGfPuV51rndyKweo5zq902XkigaoYGeFN7/3bCg3wUQRRSob+krcOsgiCXUMEX6lOmBGoJjzx7E7KlsO4VEIJtFKzU3QHtZBpYFPYvqSk5rradDsNUECLpu320UN0smDTX8fr0VKL/k1oEQ6AiZQJ9jqsouunSQ1VIuzC05n0aFN9z8HxMnKixdsYurh9ZkvfGXxJEG/rd148tIMPj+kr4Lw0dpfUj2lCmqb6RXS0B25e8+fGS5YPoUY02BYu4cweEyhJFtor709dnCBL1ez6Y16rKt8gqnvg0v7E0p7JKDraICeG/CDgW8SVmbfyEeNzhBEW0B4VF3pCHlOPb/VC1VAVRQbe0bINKbQRYhKP0kadm04gMGigEKSEOIC8pz2GhIbHFHH6usKHpjBMdWoLsDL0j7WRxD90gKR0+b4mzg2keHaF0LpEHWsGZkQWZFm4dxWpXysdQzdUHqVabeoeZJJC0ZpAmJn6a7VKVz0wlGDgcrSzF0gZ03HEHpdIAyH06Iqh/lwcg5v9ewpitYaBEfvSam9TAfJeUhdpD/S6vAxH3FeraEd5tcdxEzV/SKfWIj+ByZ+9B7FVbZ3f1AvD+V5pVhphs/BTaCnBWc9/WephdrLecSQTNnb3A7DMNr9vtvyyQtVn9wVEhD5v5LgtTAu/E2MGyfAfu/7GCRt+H9Bp2Ks5qbeNzoeaGie86mTf763brwW6VVYJTLp5ulCqaqVJuk6qm7NOvpVIaDVD8xGmvS3hJovaQP4lYEjlBNfwX75M2CoUSwg/6jhelb9GPi4yS0QsvyeH76tZqhW29NQZI0luOq/Y2rC3nn8GIRlR/S51P3uvu+7Hh1gGL8XPK80Mov1qOnf0hJM0nkCKYsVJ8T3i/2SXK8h9DrySY/kVrl8MhQO5/LykdNx7pQ5Ys6B3nlDELwT7/PXUTE+ybNpOZadYq9+n3mSci6pQvPzXhXAgnVd13uh8EzYJyv0CBlCq0j8RUktteRYd7IGUIFUdIYR4etQPluLsmBFTl3CHCxuXVXjFTuMPifqx3rQGqNwHjjwGTlwV3I7asave50fMo/lGvxKYbB4SR/iRovhvbGBiQRDtWdjw3yKKcepvIRiYIMJ1FxRkOugvwAdbOx5N2yJp0MwGgvFf6sVcJPMaHQrIL7fvq/QlzdcfMX69d5FrwG5lpBw0xOIeNRO+DN/qK+lbX8RqNG91PJn32K+g0nyluSdrAL7FH3rQoJLAaaSVIQ/Kbs+BcPkRU+cJYOCs06VanZr2wQi2he35aeB2MLx4OuyUrFCGCQo9++PKNRtRRhJCWUQlvmXpzeKP7PQ2H7Q06eS6+hpUglE4fFRGDKlfyxPsOnrcKAQqGgekntrUSzdPgTQfCFLZTnX1lUhbjAHTOi7h+DBgcjZZ9/Pde3i1+frzxMOVhZ5ioj98sGCglqf4QdnskGbl8z4ubONb4rg7AyAkR0QZulRW6fd1+/CK9I6ZAQyndH9M+PXtMj/8Dh/4lSTT+sGVlGAN/Aet3TkFEfwDN87piR969JFkjcNDEBGVNWZK8O3VlnkEydQfR6rQ7WRosWdaW+opEYnQLkJGY1PHv3u6fgZ1u5yW2OJEaNCIrloQW8XjOJDlw2oLV84LMV8oE0wzHuqXW3ILgV6POE+iyxsrRE8kHTmdatxwWqIahLfe2PtKLvCuvSH9GMikzn3IJxmm+TNRmUi0fzEIiIn6EYaiO0w3sA3p+fBthAGQk7q9res93twFzj5PWVik525NfxHxOP21MVuuclFG/H6GuVZF22ZcyCr6pRUNf3Oz0pN5we2iQYajTyXtmeybXke+R7Wp4Ouodb2nnwH5MeR/DbHsxNeSHpk7oV2nm2Ez9cZmqJSwmUx6xVXXZ2KbvXfKrcyDeH7OhYGMIz7+6R4imLNdci9wGzuDYAWXXl+6pilofPSzRKqWPgqFj+qH60euBQKKz0/i4HF+++185VC/pt334GIycJfjFCs8uPU5RLTnmJEc/iJzzIG/S9Q22zMgAaJ0lW7wtRRtL7M4W/TOj4+GP8+3YLYBtono/w6VloYHtsDXLefHFibJ04ZsIb0eeXuMwrzNo5jdHGHUwJodemZbOtwXVigEfyl2U5ioCi6XJpMTe3cqwvrizDaRNHqCYHAzgSBmtdSBA3o0Bpx3uMIKnlw0pu9ZzdygDgjsH710uGwPXibTLVyF0QFGY7q5DubiPU8MbRnFy+YM1WQy8WVkZQ6/0yv+MkJKykiKuuwRpZ4bDTeiNVDYFXtyTK2cCmqqvT2sLmLJnScdLONZGbGENSqQWl7eSkEr75WMwvtZGUIEbhJvFQFxlWp1T5TtRYad0ZegOsoRg0ubGdmqbom3XLbdGhxUFkgdhPFzNwzZu7ZaVL5IFruVoOHHdteS8ZC8Q3gh/wpAtotkzIV3+rf2uCZ/OC5tsGwp9VNK7mOJNuK+3nz8xnicTR1FEfc51URDQTCKehJ537iBbY1iEbogSMR0dToeISiYkhz03gz/LwiQ6QLA1PhaxXJBX63vH1pZ356gOVYYcfJ0zI/fo1+iJtkBtMP4tD3VhBQyfjAJsr+4Wmzgbu2laUjAo+474QyTC8OWV6EERiIXlpYsnS9eJn0g+7llxEr1DquSOJ4L241njg4E6xc/gfydDQnsV4+fXothN0WAKCzv6uxOMjzTrdPE9m3o2eE0wQAxK1Ps+2dET2BlT1xboidZw+6pxiegldSNItWEP1h2JVywXN/KVJ5Zm/oqfCSax43MSrpSW2YqMTN31FYZGqUVzmIsISbGYz/T9rmqqhW1DXZOandUPTvNgHlL/Xqo0qBJZxVo/tNwhT7G+tB+74AKCyzfWJ/qHIEbvyikTliMhsbIIGXFND/Hx/FUo89iekbsdrLxIHb1+YioBLrWvHiWtZ+mWJlbA5yD6oduaGm+D3inT1xkUn2zJzgFuN7PgjzJxKRiTe7KdOXlJDo1TM2l/uDcAZ3MzAFKKkb/pZj1JDBEoyOaxwwPrGHcl2So8l0wRezcnxVHmmWPIAfjQ1ExEIW3gG2nDqkDdultjbsv4X2mYraz+ixWCKp8nzzWV1m0NnhUj3j86yxw7IwUk/UCidaUvQK6QXvqHU2u603stiC+3iXFmxRnJqx83ZP0hS7WTDBPl6/SrFpIij/Xx0zaIyoDrgsz7r2/5GsW8bCfU9eCyBJBiiASjTXl179EwgoYkb88L9iNJZDF0+kkddhBsJecwYFzSH+WsmwXWoBfD00i3QmwKXb4I99Ch7QrABuTVSguuv8KtWi3jeXF2w7gfVAyJ7NoFK9n15S72U4+DuQAt+cI7JCEDV09GaejUZjCC8h8ptDvWbcW5yVC5iL8uzKD9oBcceQNEbhlsEceSDwbq1f1VSbNlSdSPslptgLI0FEf5w8qVWLjHMaiojfmjBYMKb8i0f4MGiNnVZsBZ3AtzTUt+yYx6mPhH4rgJ0O0cWixFwOvq+ro4wo5fUigU74y9O/K083IYaBAqVYFP4gqeyvXFmnxiwaqoODfC7+JMnDJznqGoFRgcpNhZUQFdPxpoZ6nWIT9XszBKYgmrU5U+prA4gGOxPwwp/i0n/sZUAMinGSR6otGd4e34KTer3Z98b7qouFdMVaSw6VXHL82pI9oUEMSzD8HZpEsjFtou8CAb1OElLYIygkgSHqmt3I2FLTkcicbyP0YI9ixY/7DIIAGN4cQJgHN8pyLMbQUp9xWlFvSanm2EE2ha9mqK7IDwhw2jlsgIrUw/d4JWZZUx5s/lYqtsxa1pyDnijS6y+9bcQZz4+FNR+GHWNRSc60En7Yw6xVynjcsgGKsd23WQmcm2EqoOR7exEXeyOpTBrDn63JMoyY/hexy3HPeeBXZSy0MbFeBchA2QFly9K4L7aYQPHV+SHqLmtwekDNvynIAAxf27pTRi3xU3rbSiRppDpiKhufxQb5+ODPyUs9qPIHHMnc8jVIXH3qIPKKEhb6jFYqpbHL8Uk8AAQHH1M5AdF+TdXI1X3/SiuausScXDKA/oK/aXhVRVAk9/RJT0RWQZSIy/WOYg3m2NtK/vFolKevzf7feR6DCMOk/6Bt4Y4gHBnnIRpOF7twOdKUiqWF/Do/nOO9Yv56eUXaJoNbgLCVSX97MBNyvII1Xy1FbL/KgrQ/sQwPse5ZAn3SKZOfpNZBjlmWVNR3mlxZfh/sndrI9Btb0HaBVrOMycDQkAUNbpTXsUNNzgiAo+CM3fBAzZSm9lH5PdTdTfb4uzmxfYNQ8EvFoCkqnf3hcK2KZ/mQOsk34/Ij5Rp02SE/KHwrpqPLuSTRCeuLb5tFWwhUXQV0viPdOZCimJsM1PoK96aCIrRugrPm6Bua9KVRWw7CAcGAL6ABZLbVj+zmzXCTko0L2Wapk7I1mear+qNvUGxwV3QfLeVv5T4FCN7Nc2kWGh+riLiFND3qf4QKxuWJth8e78Y7/WVgbWgFw8m8fZ5a4n+B2yUf5DLmSGDMgVkXFZFr+Fu2404X/hteB+BGM10zeKGb0qyQqPs7mY8pz0D+HEhiSjmVuxdfLcDkuIJNxm8EADvhpGEoscUKAPtvZLf9Zmweqgx3iN15m9IJqAh9BihCSzp51NNaXMjMnkF20JQJqNkMcxPyBllv7AxqFF4y9uB6On4PlmdH0zQ6+oCPpSU3QBNjjz4W+ux7wnwCfJY1KKFXDgu2s3fnB17jvRDe5t+FOJQyq1HHFTYiuQa16a1Frj5lHT32/mJc3zwT9XwiRFPVf0Gq5GQRM8V3Eh3EuGpb6uh6YcNHMKxP9NETbwA4tXGc78LqQR7L9LR3UFott6FMnGgjlsuc8jcjPLou0Xay1RlRo3s6Za26i6mhff1NQroJIFCzTvgYgENETusuhgr7bI3vos+4w/NbSd4c7jJAXs7Eg4jR2qNha6g64aMwkUxJnE1g5LghH3sDtBPI7SRUGL2deYpDhoN7TzzCy5iO5qD36Xji1dzCtbkASRiMUK6odm0vCTlwWps0xtQXJHL87qeJsaiWgNNFNwdgsXdNCLKxNwD5KmjBEL9QFNiJtJ0VdYYseNunMEmtC7BM9/xTBkOEHKU9elkOQhbZAecCmqQbSPDU5Ie34fgSWzi09EQ8tph17YOJmontgeivZFto96MYH3BGKzNf3SeyzUle5cMLFhCtBoNZDgJn1bGDPS7gDcpQtD07TjofoOwSMHn3c1S7duIZHckT0SEWr0hCF94YuBdQ4XEfFoHADKw4QceDVmoIH90QBTMGtQ2eR54+gc71yXR9pnyXpXNsmVBv/qd8nLqvDd/ABH6EkcraVbxjuq//4VEdmxWtpY68JsAVAdHHyAXxOkc46Lx3k8fgvI86F5fHp2gvX1NYCNy/rQbbkjTfBWqqStl612uj5TA5ISGGgoxTOw1v65Qzwv0WpZHzU2HmvtcgRJtIq4AvtAoJ/m+q9Q0HxANslI9P4fobnBse6vcL8DGV7Pdly7aWHSlOC9oFFFVONucadmhv1MZDHqRWUVBl6xPD0gLWt5lxNuFL0m2rFDF+G3lTqF8aOMIynHADrhUFBSd/NKVw62/K3VebgHQww2jPygSYebd3eBCYb9PtJmgtUiGnfyYxEKvm4qxRpB0cN8B1jJK5DvaT6Hq67Mjx7BR61SsCcn6FpNzRq2vNg50SMrgOkhyEvLVZwAz2tumjS5mXjO7FyyMbhMMEz0bZZZaYDy2T68EQl9F1XmlTjllm0n9c6acjGBK727c9AhyaaTjmBxwVAXyMnpyI2cq2ZohFIbjBjYEAQb/XfHSLHb3O9tKXoScvlgrwVrbk7kvVel3k/UeBcUCcXhj+Sr7pI+lz3YTHR4NcAHfIZ1jrBZ+NF99JAhTXKnyGgvy0+oCx1LypHq9SGLDWPPdARzLngBKGTAumJmmHUabuOkCzCVSyM5dBrEYGB+Tp5nTJzTpsLJANjbXlR4jiHXUOXdA5CEAahMbMNZmbEc6xt4BhKMWuK734AENX0b0QxIB9bKcHDdPpPzYyP1C7qbY1fbcnPMo8LIvhNgGZzgjvYifapcQbxKgBVNqJMhgCNqR3Vy2DX03Kl8D1Yer2vKpuMWT32qoUFjAPFsmxFRci7TXzaRcBmbQbEfEyrxpQgq8jeFBq5cCJ3OjHw6wK1GsBT73hp5y0WgPm8NC+q7TswhituN2sCNdukLy2XDoxTE1rUdbsaH5HuhfRUH0sibA8SpP5rHxbzVK5cbiSUbD2tiodNOk46Dw0/zGQO8DOE3i7OjyL5VcZZFGKQFHWcgalCWVvXp5NG1j29RBXW7VtEnLfSqsMaaDxG7FopCevGYfBJxwQk9+nOMbLbp9KWsnOB3PZUGBogCjJKVHIEPe7ZlQO//h0jT7RbpNX6IwV4n5iVLIYXqpmWn+U3dEtW1TqZNtJhr1z/Sa6ndjpoKm3oSeHJ6RjN1bgw93Wow5fGD+Zvx7Oo6kwK7Y2xiK3uKXfEcC2QwZcPjsbAUptpL/yaA9pfLj/3V8C040sGaRlsjAzCZ+5z4l8nLMQecqzCyXp5EwZiJjYgF3YBbex4MDjnjRrc4ICAS4uabtv4Nc+ZUsVLfrlO8oqODDFPeXFRLpciW+T8Xz1Fj08aTlZxxLQxreh0/mtoR1RPCnhelzH2TQcA4YOujmCDmgv+65CD05DCxtK+L6FGkNPL/8KG8SFuTyKgqNNXHBUYZVfDS1j8/WKeDTPXh2/ODP4fFxcBuYPRvidbbJiBpokgYaIj80ZXiCVjJh9JCHd+FZzZDA+/i393HxJkZ/CLzlxYvRAfi3LUkI9JxpvA2LJVg6Z5ZGEjbhz9ST2yzJI4hsGpKXD6jnFcOdlcNYauWUjfKW2SuMSUKBvTgA9O29ilMED1HXDHpbjSam9+U4zEnhxBQXUh7A+5K3N6k17W0kOcolwgljuwg0rML7GoTZsj1bg1NcXNI2urlLA9YRAVoor2O4QFntcgpOwhbuBfmyiYLQOCtqLqj74Wl/k1/F2nAy+rIHUWQfnhwS8nriZ8qfoVeYabRDqCNYXQTkhp4JNXQBXGWcM4/tf46/T16lCcwr4y1V4zpTceYhvWkuygOctwndvjliQg1ql86utAk4dOIl4d/fiNrEMPyt0iXyKy8V/YVYfW27YYwZuzTC0bdEzTUKiZ21kasNoBUx68MNM/Qk4AIEqfknaJHZWdyjTwkCVLVK9+vAjvbhqbGDYT1f90XkzNxr2GuM5a/j0JXPAKLkaHgR51uMNR06VlArOQdjlcaT7tCfB/phnlRctRtajgNtfbTVRK5hcEUztMS/6+/DBJZWgSj6B4VzVxKrr9zCGMW8Jy4XlEf1N2ZICOHy5RPFoeYC070CzcvqA+dLEou9KiqcVm6A6MSHOq0y1BgYpLKYsLqr++EmZ/c+/zLM2RgO0jo2eEAPy2FsworZp2GBc25QrXohmO+SwRRTGxE9thZyKnA8jM8QeOxpZP2HIyiMWTY7VwHnqZasvKG92Z1ilIGfAdnJHpSjtxRl1Fkvv4/I4AcazCzRI4uETvlja6hu/p/ayLNlgZXJ2BKy732CJ1cgmJx90CK3M9giHKMva2vdG4gAK/fOLZQXiBI0LRsZin4syYIbGzfINaIYQv+pYfgwvmBxVEtbOgiXksGUEojlsWPIDWgiHA0cip1SQMS27mwoTC5eDGAdWnVBYWNDTB489AYrADZQnV92TB3epHF3WRHToZRYkgRZ1MoVbL+dCmKtemgUwdn6Y6NsJ+IVSRt7i9L69C5WCqHYpkIkNbqtnc27iOqyRRJ9oSCLukxeEmceYF6Vfjdu5ZNEktkvmiQ/QYMFkKa1oa/jvGRr+wuBHoNUq/mwmCk4HoeDhrp2CSW5oiRQtEs4dYMhWpvvVlK42WpJKE1Z1bAcp4+SwBblnvHPYvfwJ9mWocF81pztmn8WrT2LmOQrwayImYrwc7RSoaIC8dEb3xR1UmGDhomMYpRWw2Vs77oXzNV3+4Pkx2kEPmsbh6C5sZqiaYWrgO7y7/hR11a2M28/a+thwQWpR6eEGnp7PPjRADfVCz/G9uw0V25WF4kx04i9KCr9xHO/HV/Dyam1l63pWpfUIo5/UCR+YQkkeK5P403lFAs4sgGHnb9TCqoxfFiQNXCpWd8uj1l74EkjVR+zSTEBumn6GJ5CAeNeEUPiazmgomrdU9tp1hxgFXC6JUhdSsXbzetwuPN5OQ56vygOqGmyY/dVgcI8pGAR4JjaqTHgyJzh8dqF2qwoPpIfCeJSYdlsvBot5e9SbtHeCzRwbvnvZ2k7zk+zfq1PxSJX/7cjB6eVkwY33/x951qj33gAe86ZFNd7cOG+koluhqHln9vQHFqtw9cRvUtHlVnZC4Y4KZ16F9pE1Kg/3fDbHVxLb42c/DzkYXlmUA4lDLE51Svwgkp6ZBtcdbIEIdN1erWxOQXe8uhps6Jc/Bv4UfuF9pcYEcamDgYzr1mCb6wAyLncSNyFYuUflTMiLO/v/oJqwFU354Zzli/l5ol4YA1duabik9ELtwcDXbgvW7H0vhmjmJvArmJNbYNgoyhYecgle7pOh3/YfZCXFjO0+Fur/rZzBMLZW74Z5UpLOI7CFA7HfLOz5piIJ8/oPvK779nGp7DlLQPtrjxJ9ZGHA8nLMGu9TCtBbRXgIw+8t1dv+0/5xbJeARRXUKmYyF7Lfys6sAPJFE1pv6bvUjuUK2orzWOmfKwa9w8Z6W26fIT9CWHXREp6HAhn5+Kj6fAwPW92luxBm0dkBYSE2q2d7m1IlygocdF2Bf7TCez8iedXXPOqW95GkEzGNdwoMcoyo2BDfXnrKJQvxlE6K4G2ouwlIDmLcOpUGVutxrb8h5lbGZgc+ZaW0rN3ZCJhLiUfUrdWipqkELEIbRH3l/PIyQ5sBTBgeYMpnBqAyFT7xBp2s2p+p53j9mKdpnb7do8DAIrGO1W2bfA6E1/P/kA5TKZdOKS/e+d61ubi2IdCJ/EtPSdTEhr0mNpOigwpizQoj+9lZQXZkBq/ZSYKB1IFwOkZNH6QuO/k4kPIpJPk8BnoLlByCuWFX9+DgNw4+9NLl75gnIwyN+dtVE1rVBrZScqYdL3jhyO/vPJxjr/kS8uRgfCR/kRQFp1ruI6IVOj66aKWdVvk8eWh868WJKRLWM8obbtRI5vLq78fkpt0zno1xE14/8OQZDPSVSaJA3K0mbZXXJFYxiBbZelHwLcqNm6hpAmHKD+JsUkL0Bi3Hgg46xkTVURVBBZrDCSm+fixjAruNazaNzgTaKhfxpR1TKV5ZQUlAiDXeSLwpDOCY6o8bEnCdS8xT90b6Q8/HNiYuuJ4ZfTBOpVroQWpZtUSffwILoUzH+PO43ZIGz/cpHO3rGeikBPCl4+guH90uumwArqiKH/akSF4RVH2eCEmw7YYw4rKs09DwHLYDlxH0huQUwjPcl7kaNokWwedUHrBBegSqTZB45MTVyIzhG5zSpjMZ++kpul0T4C2r4f1nszLNVXgeA+f6Gp+FdHV7dJhOh01iRZUUSBYCPN9pkZ4wdAQYRpl7+Ny2nL6aEPtHZP184kaIpfOkJJggrdoJdUGdhcTLDkX1SJqo541/z2iben/KiiRsHGW2lgGP2hP6GTzG3MsmsoQBMrS981drWEgZTUkh2dQAsy61Sn+j1bybvE42+MDjfYomyyb4bTzAUp9LhimousSeoM3p1QCuxEDOBOGpeFyY6InRSTdRe+5BI2dOV7/znJCCNBWubRjAKCX83dvZvjQ6mNxeGKBmNq9S5d8bSPZLhBEKhk+OcP6ucxWbk6QnZFDw49aQTzJZSAPdKhUKmuXDEFAFN1VA7Ah3UG9dw0zK+v/fKhq+hnpnesPAtpL/66QXhRGzDLOjbTLPLgQsWDMi8sfqsTDyALlIJ/oCeIZctvI31CODUWHs2c/7eTt6X3PuEKGbSqUWVTap2TvVcMvlup6295hPEiNGsitAYOzqMw2ixPNFLxuWb94C8+GmT+G996xEWvXZmJkl/BD3HVpgZPTgzfNy6GDMdBe54qOG/jGzjAb6fVqpBzsVE6kqhTqqVSBIx0cwohjvNTJc1BHHq7QXVJVLwtBbhYqxnMuLgvNZEwNH5R0LwjBXVBpI+Wtco573HnF2VuFXhWg+obVDmC10BR/esZKmI91fT7edYMfTooaQ2CCucufnBXtW7xnGUR1xG7OhPnPdXGVboj29+7Qs/cmJyAszTE3BmTeHTrCJwyniIn2mnDANkK6Wd8ExGv2dxnpIzMVa8MCdfcqRG/4J6wp5qRuzbmPJA+uvE25RVYppP1juFRIo+sgttJt+kpZe+2ZxShuHTaWaByzPa/3xA2de1KYCTMjLIyoZ6Ho2HByJX2y4hR+S/URwZGk1udF+0E7u40cVHlDfJgmZyDWdfN/rqzVFklMWm60AwacF9latBuXcaoVEd0ao7RZyk5CtqOutTfGyAt/CXm7CwpIGqoeV809eg5sjNKJLwTipG9BhAD53AinLXyqkQN2sDtfkhUl6h6L0fmvPF672z6NUC5BTv0wfV93tbdhDRQ/Dz9wtSoVY3i3yPNvvjpyqhR//bxj3EV4xmlYtvWULC2390EghaX/BWmzpGw7DpflbYCZg9HPAWdE2DwkiEmMV//sZMXTsyPMqCX1BdA/ozBgZ1kqaLwiaLYeqm78rdcrmBcuynm2PBMttFSpy4Nnajqjb9Lap5rqW5y+XWZMNCc8/OkzbXSWxsgCCnsk849OMJflOh9G5qIO2qiwNPAjuic2IcqGbEd7ILTnCowMIv1RnpZc8QhRYtXMl/FC9IHiJz0ICyQlwhtJWO6POVOsn1cg146wUXJ2jFmnoUHZlOXRdDpVrEnoUxNmu7HlG2US3yrGx2LPmpKm/qTlaQr7gK5gmiV0p13LkQQpkP0nl/O0ExAJvDaUT7KJZO3AmuJUiQuO58RXgfFm5YNdEKk7L61+5jwGewqZa0Oy7pchimej25i6BasbuG26VltAbpHbDuUZMq7uiX8Wb4GXHl/n/wGfy6sE1ycKPyWLZX5qhy+QE7p0drx9QzrCC6w62qCHy7Lh9K8Lpha2RFkBXt9C9s5D1OFzaVT1RwDzZaNHmoCHVWfb2GC+gOiqZAKtoPswLzlr0zqiv/ftbdd6FSp+/8pMCC2gwToi+CnSrm0dxXdN3qo2v5FkCtVKPWU8kvj23klspQMHJT3/Ce59Kmw+cklsVpfdoMCxx0A2YqazzsyUBn9O8ba3OITZWx71rL/8IwC2MxNsGpock2/VVFIoKcbyuvR+t0130nyuY30AseRIw9wF9oewUbECI6iL6f2FEyPzGC1xqRUAUvE5+ks+Upb+LDROG5o66BYTUsNqw9QDepEAZU+vvnIqepO26WBoEw2D1g4r7gDfatAyVZXzRdH902NCjJ/aAQL68WC0KaFRoAD6Ih8/uxehDDp6+FBPnCCVjkeZqJ3WMoFWrb4QQ5y8TSHwai4ln95gBQwhzTwqUdkYLgkqET+bwCsXB+yZXMFv9S70Jwh19SfFwmSutRpHBtaVfqieSOkD7g0PpI3j47xTbLFymaC5c14gwYMSDMRM6VC3wZ1DGgit8RzNpf6f/73a+D07vAKZucP3rgXTLmq1FDBKAv3LgUeJ1akpneqF2LfSO5yEtwLdDOqAIF7B3mdHJtdfkP12zvYUCf4XjS4rywBKuamcc9jktt0yYWeCh/8r4W682l0JJxYUeHhwXNzw0K0Eib1KOLm2HWaHC7hVzjCq5x+8WlPtTNPogPAoTxCqGc+bm0jX6vZTez8vtax2NLhVKYk8sBqvNQL+JE7GCobNmJzDUZWx35NSGyFzevW7KxXJZOytpWEAE0sNHqfuKIdBeEAf70xPnLrHGMVGyaFWSEF1S2k3rOFFJTqPhVk8UNj1T099O4/Zlbn99sWOFfN30osAZ8Lo7YhNXUBDHMjHd1tqSRaoPRm1kEh2eke0mahbQK8nXB1Wy7vE+RDpIxZTk+0EOrhSWrdnpWQBPrPekuPKFpQgt/G0RoacaE5W2LYe9Yo1vmALx0DR/GcbPDcZDccV+gIFh6zSLpMb0bc8FzgMPl5dJoO5ShWgLQr7dTgba47PQECycGUaLzXaavP3BLnVDlokKuDeCLpRiCG9quR3C/A42LUDIKyagqLWQ6xjh7GoGXvuILXuZ+6iqHB9xZ3ZsIrSJznxHkE9jVjYy6rqZ1+vFPbQAPEFUOcPSP1T6hbEDTYCw+KhiLGgaHeAmMLUNd1qc5HYce+YKq6i1nucCfqN5JlVpw/Tq3HTodGRHxOfFv6o9d18902WqpRla+3jNXpWkR+VoLctG7PLvZyZK/BxHgkIphE0p53DH6RVUr2zumsVetJbNsPDFQyflATfjG0Zw79jJXv3D0yPEBwDQkxdzIH7Cv4vMq25ewWSqz5zH1CcRaq73fOuEmuQfAtVdLhJWcteCkaOOmxxcy5/pJrzkFFmE11BhKs9tUHaRIWgJs1uSyc9hhra7C+IEvbOtSytCXk+MCaKVj9+WXXW5qOrLx8TDUv+oAPkdm5qv7w405MUrg/e7hxer78LddeObXZlAtdZFHENXeevExhir4RA04ISQHpjPFj/fnpDpiVRICugu4GhAgd3lPuDVKtcuY5U2NyEK21UgK4cQErg7nABrKyDV0lo+/f3irLoP8VTlobDW5x/7US0KxTc0WcmXejc+5MGoW6E9+b9EwfLXMnp+Abgb1cuVDnMqwJvm5jLTc7jc5/s1q8upnuzqSUuKO4ymB4ilgvvdaBkLoszD2KH5GmMUHlHcCRbuzkGymVIKnSFYQrkHXkZ+dVJvMGGT6jgirWbZcya38g8pF4VJBk9ksvR7+gbdRljHN9LYfzkR9mrOUnzEdqK4tSwJb7Bikh5a4kC2PVZdw380z8ETQ8X/i5wBbBPlNTmsTWvt/2+IAnhPe5M+T3u2j+fcwNnZhNjvJo7VvIn5IlGXmzX4uyvikawtSFfElRJ4cWeKpVX9+bwHPdu1aTegDYSeAdvEjmpQC+DU/+/oWLLReMi3fDZFAq07kBXulNJrjmZ3nI6C6S1CIvp9cPnbtsbctRVJu6bQU0+Da1T60Pzawa2k9OufvOYgojoahMkYSGqp/NQ3Qhc4SIpgHvsTZeNLXJy1wPf4pXLMTFk5gVfvsjS+CboixB27Sh1qcn6uDlsk3VnH8WTSnF6TDlKnmqtR+8W5EcST0EJZU95Ec2y7gYry70u0Rvgu5S1zqvgJz1i6hY8pClvCZBfSHpyHwvkTBkPw5R0k6bSCmfiiI3BvmQSAkmohz0RVJzHJR9d8yMqirQLzxDdJ7usYR/nsFZjwzR9U/MT+0UO5MWRDZEWc/SwQt88MSDa4TtKcOhRF2fQVFFXP0SOJlKELQQAQiqR3fChyzXwjel1wf3tfWHkhOG9e6acKhythQSzD7+lQH75xw+8pdi8rH85fvfAbDk3wArkS/YnShtN685DS//y5BTwvirtZlfxkLwva3Zoq+xOry+3JATCrdYbC1q/vWGFY1lkQuvcz3WSKDLLw1nviRwZjrIq/Cadij53OXW9bf+JgPzeDfANqI5i7BjZ/aE2EvjhToYt/Z7BHbais/Z04qdEcdjXhjWBsUSHJHDG/IL6IaYuehkUgQPmJvMBNDNtjHNEotYP+8GHkWmT4F0Dqf8Psz9kWzxbNO+g3/V9vQEStIR3NsMwuFDaD4qKb5tfCIcs+bJ4UiJrRHYtWz72hLSs+6PQqW3vPoTRlQjRpsdU+FVPfs5rFdsYAY8lmYIefxv//UgjPsjeYdRg3HzGyhUFPn9afqycc0r7eSstXq4inGkz8vsU4mS1mIg6S0Wvw4LK+bU9AWF9mjXkunioJ6C6smk9fyQhZy956vND23qdb1gg4jqbtf/LMS8uRis58OtjmthDqZy+AsnHJ2e0R32hvVM4j876kx6XHt7jV7Ic+tUJaW0ZwJJcXvjYYJ7u4jRDeR9HzCKfP9FyjxU6LpOO5dTCAvAH4fCx1ag93Q5ytrqODrqHxgi357FpRy4DlgaHt4ToY7h3snct4XgbwpN/8HJmvy219+ek21/sF54LZdeJukp2DQweyjmef6zrzSIsn/zkBOduAwTGltJcuZIoE99AtsPaTKVNhhoOnVVvCzm/tqrSkAExFLb3z987A2RlVVt2W2kwidIIyAtP85VBAlvOOPOXl35Il+YjGyYv8qJ0jK2epwLijQatAXEd5AmsvzkouhbjiBXhrRYOj2y+Hrqj9YCEyDKadnTzloXhIQEBos6/DLCShKzROFCINV49HlcMN3y6HZA5Yt5p6PVA2gAg9d452kyKEOcH0KlEjImrf7nNE8Ojy9XUIQn+PR2TAwt+sK1kNjlvY4dOTwOSCcQCzaqSeN64sABozEYa3BNTHMmN3bjROGTI4maR8aJpE8K3ZGVelreX47do+25hQvr4R+e0DOo4AxeRlR51gYuvUoMADkgW+vS0boVlz71cVFcA9boa+GwXJGn3RPgbqHY9ncPfQ5cqNNfZCNpij3qpAl2OfEyszPCgftvXS6gI+vL1I1QRqXe3GF11R3lu6A/3qwe8yiqdfQaOdIh93fZSaHlYdPondWZ9hY8Nce1PrIpK2TUEW0rvecyhJyRLQc5LzdylHYiEis0KyFx8CP1Cj8k+2/xVuHTJqoije5vQ/y7TNpAs9+oh/PLjnyO0mork6aXHy/cO+yuJalbkxrcObbdNiw01HnFBcC8WVBm+EXkYdI3GCLsTbQ/Eu+0MrVa6JThAt2w58UA5joX52/H896jQ9Jtqr6cVNBhobbJ3lBpEhg8ruS7odQEJv3lCT20YbaRHOm8/qDlo5ofRes02uYWj8US2iYAaS6wFOvMtJ2BC7gWPClnMZX2mq2k/5RjwL8jRxxBgpzMzOQdTpd16GLLR3CpTtYoLl5Px7JX669Q5/MylxXdeBTl5w7zf0Lo6inHaXr6R21RjBkg3UWUyfR1N8rtEZWutrv8dSBq/fNGmQAQ8JZZJGTdnyPtHrrel/2qW7sz5oDbLKN52eOvvrNCgImpLhPrhwFhxUSOyu5a94dMowo2bXEmP0BuzGqfkDAmn3JneGqPoyUruNiB1ZWs8sO32UBVOTix1bfPfwkqsjIbxSt/Xdl5Dajfu0w5eSrQN5wdraTfnAVixyRsztyDh6p4fETLWjc3WilewQBWo/37ilDnbmZ/kHmc4S2nhsweasCwnOFj2Q76mMGqLJ9ZOOuuBR7UcZJT0zf2nM5DjDFlTrRWSutAjEGajUMS8YBxQLW1NZBzOqbdh5AxFO2nue8iarTgpmD3d/YiUl5ABVqIwlo8kbx47q8oUKRtmbdjKUisgEpqxsxbY+fuAagwzWO6wvLQBdlYo0+ZiymaEu1kQz4OaTdIOPHaVzzw1DenEz7Hu5jhbyrWI3ZkPj9hUEAd13C0G0Abw7qcQ6ELWS+NMTKui5WN9Sw6Gp/WP1G3xlyUoGDj/mgLsKN7BOElYuDu6mCtLmgK8W4gtYspnNrSE7C5sgNmCUzYlGP4pP6XAS1cX+rXV71Jv+/s1cYqbQ86DjuTO8V9gyYeAX6aWzW1Wp3MD7N0AyCHYLDv+UU3xwzqgJTv+QhxtLWfJ7vn9hCOEo4lLl659D2rqfeLnj+uLwxxagYT8UVQZHwF+Mbp4LP/FllZmFxMonUCF8dUXm1yW/uvvupkkfz3Loy39ccftiS1I4f478egjpnEwBS0nBb6nkWiDaNjZSSB1FuA8ZfhRAz4Yl4MZUyVzw+t5R01R5LcGeco6/UNem3D60+UwpJvr8wM3jjfYPww07pgEfT2mWB89hzE4KN0CLHGw9+BP5WWDbSVNNHjxhb9zPAoCQJ9ZSocoChkwZ1FVBt7TIRKkB/KiRgsR0R0jpzbWPr58JLxMBEyFT6xIDq7ai1is0uZ1pnwu1JL1Vbv0rc03yqfiKufDadI5pYrKCBbOvM2xOct0ejznCXEh+Cv/uOHLRSPiuJIMADiuyrs2kpx50pq+vNH0mJvIbKeNknj0mMJvhsBCI0wLmgRtijD1LahVSFqdlS27gPdPPdd6TfAObHOTMmZfOBfBR8rG5LV4t7p3BKmNfw30H6ew0c+KcdI45ZSPOVGDmBthntsPChpLQwmH+POktdko8gllXiUutmPY0h8SneifDmOOOJn21b1gCtPRh0YG5WgjGMKIjZCxN3JcupxLwND5qsNiWfcIoFl1k4eoZD0NLzrGsTpw9TxsuBnKca1lHgHd5LhMTEWMkx+q7nOt8kngRJ7HzdgzNvjECOoSHNrn5WLGbshQNG/e8nLqKaCXXkoHYnfmuK2oDl2Wawj99O0OVr71lHVaE+kWVmt2C3LH/dEK4cKuF1XAvtI6aJlxOebvH48LmNRc2W9GB1AZRDsCPO/W9TFTB4qnn8dL+TSBpkveTMYOg+3+/+m0Fes5waxL6k6HvqsADz3zuyMt+rO0m61xM4zGeTFOzeL5sWfDeRPEBNrmrDF4aCVdGwvTZhEOspua6MM15uVe41ihTycAPQzs1lTTwaoS9kiXW1666gD8Tl9AEn82Y0FVuJpd/nakPZf/LEBG685Gc96o9fxQCAG7RoXljvUEYuxDfjBl7oVH91o0OGjVJt74t6sRFsVjV6tYmxCtALZHtmALDCjQAsdRJdvJO4hzFMrRF1QAwoMpjz8+wNiYiVlYmUstHqzkqm970maLjgl1Q5MN9WNGk9EFo318ltU0FjZJhFg/kx5hCml8y2PXx9PmGb1QW2n/P5RZqCnD8i8ma3mtXz+nldY26BL4WZwTYshUvcYTxNd/Mv3+oLmjjbnXPnlF0Tmh8tHC2/ZsW2cKk5Xn4gbRj6GeWrtex8u3I9bHAa54+viGKc4aqNpvxq5KxYXzAO0iC6mG0v0EEQqkU3IKB/GuvgNpjycGXCrUwPYpKmHP/xC0RmT5EeSpe5dmqarG5iYd5BvulxfvaFNE0T+EKmt1L/SPmNuGLZTj1okZtICXsznTnLpi4wClj+GvhamhaKgNsbRJ6T6qBia63fXfSLdErS9KB2YfhVMbwcsqHFPMJ196IefX9Al85ANmWcaR1gINI3scwM1vBuBdLx7M6pVRZ141d+eljh79cLuCLzcy9IXnT3TtGgNBrpwuEhL+hAHdSHq3AF4pl1F8qNp9ds4L6CEUe1sKnk6O3YM4wGd/nrZr7xET7BzteAuyha+rY/Kv5gPRLAky7J7ihsanXwGcffEOwc2983n1TIchqoHcEVWwshpXne7fMZzQ/wRk+2MeijX1umg6e2m6wowpK343iToxoUmL7bKEnnH4iot2Cuwkos6olUo1kLZxcm1anTk0vrwU9kvUZgX+LfIar8p0AnrPiFGKwtnw/8X39mTDjutS3HPMPkoHRHtAxWWWKoipq9xwBPC+64TAEn9Gkve3cSZpjpqkraUwKOxLz500jiHrWTaevD8YGIu7sD1SEJlp/2U0JQhy/NTk2uMTazhcGdQDrDJgWykAleHfgY6KiE4ROh1ZemIC0SdcNWdIlWjpwWQd9wM2924UDdBQXg5OpvSeK9Hwa2Zzq1rhDuEt2vqNb/wCie+3aEYw1xOIXTJwXVfNReisisANWrcrCHf0VEmuSMckJ1q4z0978jsF6iUMCaie7z5obdPCRqj/0zlbEg8con/x0gNPg0JU5hvdQt7BvRBCSjiYTwRUxxUq59mR7JZikKJAJczsmakqcBOPt0dylOXsvGZNH1ANTdhzBfRjlelp0X0J5VsoEtK++xjn0X7dTv0d+T8Erzr8PJ8a7VA5xHJ6X5FMs5xB88divaHvwG4KK//mW77wWyg/DvvMtUmbxZdNNJnXqg0kVKezmmuEyz2hfpvk0UObmk9ohp/yXd4hjxVyqEsFStIRQwh9ENMIVy6KmCKzIpZLIYhozM7ZL4r5hsGyiO7McswoSD3ylGrEIhIJskOarv7HkPMYAEBNafPON4Tc0DwF/Rwpow8RRVjbcn38QEHWXX5x7jji0bYzZjk8ppXjIwBMfDz9YPTkBgHJjKagU2TEiPaxw70jA0+Pfb+JoIUMkJ8z1+4b5d4Xp7i1mftKW3J+7V7pVkELpwf+ZutFAc9kZt3lUSti6748xLQpYyQJDMqNk4F252hvUBnYPRytEwWcXF5xDpPVF0DC/xuLWPC2+8ie7H+gb1I85+xOxeBxtYL7FG9ETUnXQtsumat3THIq0wif3Pvw75BzWQFE/XltCe8e6M6ExVLwmXqBTNbH5J9gCXXmHjZvKHdDWjw34lVVbiFpxST9+g8K2XmIIb7aoNB9457qO9GHGA6qC1yCYubdFIu35yzHhdpECslZ+TjrSKg5fM2mAoxuhsj2dbYkkhaoSwT+a3QqbeMCmcg+uK/cBZSb1JRcFfg0KNF/kJiap5v3A8qRXKZrcKWQhlPqij1re8AfDzn0GqSOKfN1btLUGX45VOBy4mub+YNWPMM3qBO6+GZa7dwM88OLA9DhVog7lmPxpXsCkKfp5gK8ShR+WiGx0okIEOPlDHb8aUB8EnJNMBJMO56P1eEcRWGhZTnTwVLIk8lVCGvqLx/UTPFNvK/FD7dykJwnnP+LcAz89joBk89bR4ancGlFgNSgpASzMat9jVZURsDHoPxsnpSTrrPDD8IN4DGSYk2w3kbU9Cx+87e6f+JeCaxthHYRyMX9TJezB8o97nqzdcyIYfToLSqGTVqoQWEdC74BCaYCgMkuGQTCoKjzJ9AIR/9pMYJJzCOIdUBVo9jP4YEGnI+MZ1KBzzqCHLuvL0YcM6trbwRDNVs+Mmo10VrbTVJAaSUxu4pxzwnRalZLtyTDatr1ID+It38Ex8LfLjVjjyCrIpzISPeLTQYYyF8z4/JYxtVBHR5L02K+R+uStCntfQ+eEJt3LZx8tvCOlFQDbSiR8Wqwk5Ouqh2fe1c1LQjVE0JS4JEr5g9DbYHgtAxpoRJLE2fF1pI5BQ0eVeGFGRkaHLlf/VGQqtdY7M/IInYJTxOrMPVs4pQ8WJ7MzjAQ7urnDHYYIMjt8kHutNzE5ZlP6eansJ+iiA8o9xT3xu/dA9u639DHjKXX41TNf3+w7mLVbvLMVjNoLtSqHccxFE1Fm4e+zhiIkKJVemLGL9x+ExKj3jvrJSyfC8uft/Cj3bU+GlxiheZrnuEyjK8/ffecXUxjoKeDlLssRhcQrXjgQH9z3hOmHA22aIniQ9q5dKKCPy4ATKYvInuiyoE0wV1caPd1KideERJZOHTLy+BONJIFPh57tsWaNFLu+WGIPdD1mHjJpfQkL+A/DsPj45rdGuQNxadW7aD8axBJm5MNWMGsoUnc6GasNFliw7KovbVM61km1vPsJz3g7pjVJNlspAQ66M0DVH4J9uNRPLD9uH81jeqDKpCbDDS27OJTjgOEXZtvvVmPTABnTy9AejYCLTUNiN0upWIkFwE5t4ynl7ddc02Ha++VjMtWiw6NlL/J3Q59P3HRbb0jHLVlXifxRk0aDN866UH9i3TczO7ZuV+97NBUV8uIBqyaS0iby0Lt4oZFXA9j9WexIj2wM2uFortZh4EkrbTRTZRlWmoOlhZjRkipkzjr7Jr6NqgRNxSC5DqUU7FUZVbUdxuCAJqwl+dPOhzjm1d4v0qjXU6KzYKr/O0Wt1xcnrvFXlIO2XR44bFShsRJFBOy+ARTJyK0cMb+KmoW5bzZeSNy/rdZfUSX9EZwW/BrrP3KqMfd+IRrxNxDIXYjrV56afjDxcUbYi3ErZfbATyfc/l/1hjh/OxDiQmtBG+4URpymMHC8KaCh0WxBih76UeRIDJoRFOvig9JbdFe2S2Eb8mgbhafYY+fJHu4W4R03VVldjgEWi09dD7ayFrbj0qp//0Nb2fjUv8MMmOrnQgg7jv3W0w1T5C2ZzRNuAJNTS+lY39/mWBU5XXYlJWk2DQRqVvSOIX+4BvWmkZ+VvE69/2EdO3VAjNiWNhQFtmTq4ficPoX/Up4Vk1zLAsplthamp7wsoFf8l/kuu5KawfmJYVZ+/0q5bK4mP4c+MEdgQaj+zs7wYDspfUjDvlg2e2suu+H93LQDFQlnDKPziJmUNTXcrOc6GFFvCVY0BWQ917pNVTeZwGXsALv8d1aOwm2JLu9IznPLtcbz33Wmfz8n2t1h+33ocywsMniSwIxjZa5eNQanjeO8rexZ7K5wSeSFNqaRW2zEzlBPpa3Ql9uRA8oS+XDdBxoiR0bKPs4e2HqxOOjzQidqG9hPNdS6YXioedejcSBhc8lxMW6et12V0KdxlWx8UNVHP8edc6yVb5DxwVa5lsMm9d8cUE9kkNdq7phgZYG0LXMzvj0yg/2e+kN3wx1pa9+PQVgyA3uPBYI/HejbZB8rKv37jiLZwKvbh5Zf+DMuHqjS+mY11JKS0uN5wBn/cd2yZeVb4guJgqeml4Fpl4k2O97IbSwFOXfKmagXnhFGUVCnxhFbdSIjRqTbUMBXbaFxVeXJAu/bgYub53IjA53+bjRQsskvZvPoPI7T/6KtvyV3BTADLqqJFQpqsyw1eJEDgfhY7a3Og6k6x/UD0dkMYppvh3ePy5QI0e35CAMnODOtjds7CYNfP4H+GH4qc/dz6WHybhlwIDXCR4sv5hzk7/PzuIlkf7LVETypAmP1MsbRGD0eEH/LLuyNVW/qIoSm8i4NtbcjMcg/lSrUbWBrv5XaGfOcJ0JrMqMO1M6fC4ODwZzykcQsJqx0s3OCetnAAxTzajSqr/P5rMhlj6CNePC7DGas2a/3TR+HWQ0dhmyodgkuh8MsmBJmIA+2uIrYbvAbcCGrAjJzYtDmhN1uN5Rp8NZaRCN7nw9bmP4lOLGQCib3kJKtmvjXqZaQcGLCX6NM4MxhVT9+pRwxVva342eITkVh9TgpC6Xggh1CYc755X1WzxG4aiMvBCpgeWLT3N3+yVmQg4oirD+htRCh+vhWpllzrGmzFq9Z2y4S3elH4QZ2Lf1AbTeLjCLzON0NqiG/G4AcrFOCYcums4rjuu9GxuBSonXEFcvbYQyUHqAm3o8Cw9ZSWm+gMwQD6w8bGMaJSM44YNu564ErdD16mN/jKg2i9vbhz220fkLld+/Fsl3W1nUFL+ygNIiTUMn+nqkYLr3bjglxXR1w0AxUaSfI3jzkwtTRvR8NbZqBFA4XljxuzlcV0xK7SeVnSXOZtXmIDnpK5L5t9bIjYTCPIgIgQLHuaY9K9Gt05Z5nqAey/8K0zgkgvmEDQgOqZWq6hIdIcmOZKZOu77MlroNX+pFoFtOChUcXIB3HRuGAZsYOdbuprEWeP/F4C6cp/dcN/Az8zquvls0WTzxYxBPsAKXMD6FjOqcto9WWHIBgsdlTmqSqA44Sn0TUD1ZfSxvD63abCM8v6nh8rqSOuzNhGTK2WAKnQ4Rjgkjkj/uVdpeRc2D/oOb2ydDXIcQHM4UmUC1LfrwhLLm3mc/Tjd5Oi921L8+XRUnDJ92MtrRuGJfBg29zv85guIEbJwCuPahNykCyna23ZO7D/Br3+azvvdIL+HKz+ekCWRVCukcSRQQtssPrgika2+lv6M4YGSkrFi4spcNd81qoGDW+mJghEAl6UlM5A148i5UTWcS9fQApl2fXRU1pDVcBRpBuIJ1mpdf3uPb1xcAPB0nUEKa4buvm8qRK76mOCICwoLdqXsBt+UJhNLw4IA8J/4Uyuo4ms/+tHD1SNv/syAMhDoBv3N0QH1LfVi37pqi05ktAkDIJxMA8q+TWrSvZ6gYHe2pOLOPGAdnsZwYQGhpGqGFidqC7pDDQw7qALuqP+wLwDtvt8uHPvThGY6oTl+z/Hlli2RRCWUVUjGVjF4Jvkb3OeVqOzDZOpL7ASaG7y5qlOtyalN+WlGnI3i7NUz53ash2cRe/u3g4QfFKNtoCu9gw/hICiFKoY+a9QDBNopNmc4Y5FX/sKGvnSD8hOpyi6+HniReGY7nT/ULJsIzg0o7tnuBgvDgZ0sJNVhCG9J9oUgz1Am2IQoIAwJYp8cmowxelK/a8TRkbWWY0SihBE6+zVagaqJo+BuC1Gu7kzVhG8XmKlsNcddlMK4WYwjS5YDgBiIFGSLzbwlaZ55ELcufEElkp9O78aiky2eefxID43LS06ofHzIwVBecBcLftEaQ1RnGKhtBpdcwTMHQMS2Z3dpkcmAcdbuGtUfMsUosJKh5hEwhbKB1ojWHyfEo98meRZHJ3N2h9P+kUX1sFM7m4nLp5cea3Q0lSP69dJCPVsJaI934uHV7jYqn0WgD1YNeaYbigTLdzDDKkFlMxp+Bnbn6PRTnId3lKX3E/eE9j2KE7MZyQJwNJr+ZMT3jTBEj1wLAGRupgvBvuZreRvVV1WQPR6v3QShSkackFv0BTeYZvy2rZdS486RGOc7cMSSG3OVmIAKXz+6yF4eFGBDZk4bbQogUbR5B40HTRLHYK9rK1EJOh6om3aTBUNChvy1V8dpuslxrBrjzDv4fflEpJc43ZOFZacxQJ93DwTdbyoTDrWXhRGxsbqQeWFvWVzMVSCICfnjO8HGYYhBXeYHV3J1LgxthKOkg+wJxn20DBI0E1F9mejcHR5O2KJqFPfw7hx3HBVkb+r0AxFLMS1aUXvcy3iW0Ww5/ZHyaD0RcwSvFZr09TS2Osdr2e+P1Pm5HW4WkDPgJpIQkbqYP6/M8uyDkcLeqD0iaGdxXUin+6WiKk6474nk4eNa+kuDPvsyln4lfJzfUrozJf1+XfOeNZHbIJ8BrEnMd4r0puezVX1nX4k4qqiJXwKtgKpqzMpd7A3/6RsN3Sl7YPu6guRhyt5DX+rsr7GE+fUh/OcaaSotXn8C2T1Hty9pPHWr5r1ix7zB1tMU4ySKgj2aMKnaDGQPqHGt3V4LhA4cvJBhb3+FGr5DvHQUAcMMhXUkRTGRQw26BTCWqXplXB28ZWSHW2ll2xzLIH2z76v/E2SK5bqqFHJe2x4SMhSvyIslaHuvC6rc5/mqJa1HdVd21CRs81mcBSF4cCQaNQJPfbA6icdz7tBErONyOKWFzFN/eTaKfzqcb2wO3Uec/5FWTOOJ1u/tjC0tcdVh+nASA6qtKdNz/1sDhDbnhC+EG103ienMs7P1MmHAW/nSTLwP0bRFbh9auPbsN28bRQ5rbyXhRwRyY+vBMt+on2gsJvpOw7R90U1QnR4VFsTDhLNR2eLCwxgZ7JfECZ0RTvb0990cuSwO6ApbRivzMC+SBtYdsJVJQm2kBk0sYyLHQTKXhQrG39a6bxEEsNrgOuj9qnh3o00H7eqAKVamJCtVelRhyjnkP6Sw6nqsCNGzCCPRPTgK06oEtlgHwaHw0+cWtpk3dvjzYdto+XGHsnz7zSouZfqlRDYqIrwOl0APqUuF29qavltSuMcbafGiPimc3dox/6GX+6jgwldbRLoUpd4yheEfQ6ASC24GmeGuh5+9WWma8xVKXo8s4L2Zw1piXN1n63sXndVA+U21l200dFMLPatVoQTLm6dNIUSqNhbQV0F8XiCqrjK7ouzk3jDjtMRuNJabXFY8u4HLQpwgeha23dSlgQdItxrAnNyTibQEWIKDZeYtC62uvsNXiqlgYM7MrVkxl4AO/AssK3nTDI6OQLV0Wa33KiVWxuamvaNG6VvCRynsOY93BHN47hL0cXPzED/1kRq2qJnitqc7L/TpUjihsb/R5cTFzENCj2h1BlZEiY1M1+m+VImkScvlk93AZE7Otnh1two6LjsXUWkpClCjq4N4Y9Xz76fu3Wbc7cOCOCMkx5pGQTPMtwst5Xo3COMAp//xna24hEJNOUNLKXNXr+RPWlpClEa5MmgKP4gUyggOhNEMksWdw+1ayiAfTy7EesBiDV6EYPLGtxOrp1pYqe/TVVQtUkUEujSEg728ub9bRllxu0YIEbx1AWt1rA6PbiJXQMzXVmgMbhd1holE4GTNl3ouZh1UqUIVmyGR1xv2imhrQCCgmb/HLDVvvXroJS4Sw53up8SWxFJ54Pp7b/IagCxTgfYbmIXs+70ETi99mrGGB8vbaaVGWuE5KzKx2LGbuAWfPCjYfAbGyoo0z0ISCY5WnnPFYm96p193xHARLzd4+RsdrICV5Mf7isCrxuJqnCfzGBHZxT9Ir+FMVO5be4SIpeUZJlGc4TCOL05bBqKBMwxOuAwE1VhSZZ52PPjzu9C+eeEOZQP+gJgFjkYXhFbVR1UPIoORG1CWfhfSJRiCHdkpA/NId8CNZ3kDizJqo9jP/lTJXmTiSXUrmzo6fSBjsjMeLCK7WkvZ4YJbv54wjo+0tcT9qwOMg1Lsoaz0x5xOSa60PkRDabZXyydaOmeU5t2iNgcsS9sdRSYeFZnHUPzoLlP9nL2IODDt9KNq7/eOn6PeErVNVca0ooGDQKI2GGp0CbTw8SW7CGGBTiJwJplT/5A19n2Zum2mCm1/zsBuzmIcQSBz+2wjbGBhR8/36IGPdk8pKF76SmjoHdETSauC6VyQ/K0okzvvm9GepWg+KA00kA4cbXdEezbH+BSG7g+Lb5coy6uSHXsR4Fj4s/mst1rmcl2Czy3M1OoSvIZPxHTaKVPUoi8CCNl0ZUxuORa0k/ESjDYQ3E46qZEjLjTJPgH7F+JZQlX1z/IayKZJJSxnwwHr0GgWFyY13LdK1NeyjgLN6vMwYnZpCugzeqQSbvu7Apo5t74soLvgTtsXgV2Ny/ohWSEgckWBTkgic93XdPW50uYA0LIwmEM293+dm97+xuflVifrEBAyglim+MstsNUFdwKPeeCSG6Mu/GZNdT8Y+pizLf+FgVh6i4REpxeicAvbksIr8fJqgWFNt7r11ySnQH3WUBp7CDS72bd8P1EI2jdDKfq3iIJ5AGuruXzBx+m9jUtLmOnOqyYbIMOgnXB1ILjUJAv5eqtIcTMDyM3mzdHzfeija4rlasVPtXAF2IgRPonOInoThaQgSYEOjKR9MeU0JoloTKH47UoM8K380ZdCpSU1abut1CDroSorMKCwPmNGoKO8xNrIU5l68pxEozI79tmakR1Bc/+NDu3RXftxAk3Dp8fdelAKax1aIVmRxr7KS1OwHYfsCqlbWrJJfjaDderxvRmNRTsPke0IRf7ka9ZdiNO9z2CpiNpFZzsPjHSARrh0eu/l4yg6kTeJnCDpMKzRxZpaekiww/oCqyJDKg12uGQxUstyedKARWtaBofRvvzZdEd4nlBJhpELoI9mGLEz+6EZvehQZcKilDFMIlLVgJyjtYucLQF+a8sPQd0PbIiRgPmoQw2Yr+PkC03rfVeH+BxyLMZm9FEq6IBL5qgNlJ4FvSxELYAioqwZOainA2rJVx8ZwMBgCuQprUbblwlnnCoE9JNI8gjwI/YhOQZ61fkzL56M5viq2OGIkYGNFsuzRk93ACqL55/yVoTB9MoHm6oDEk3qrMyu3z4TbOyRfFOFuf7OZqY+pNi9b0/YZ3zP0y5pF+gU7XYwFj9UW7pJFqceJ8Dd/SXMUSlf0uuhevjfwJX4mWS4TI442j5f/djy1BsGJi9LhYDlZ+H+TfdJgGZcv4Ah5hs9WlqTWVHp1YKamaHA7Y7AhyaWaENJaCYQjiSXCrv2bikHdOsQvcg92VVSFXi7pZcmFqqR/Cyx5/40J1Sz8zTe9s/6kAIooDchEriQJ6TCvjqXEOu4GCB3/GEwcIf83jS99aKk4DwMjHagz0pHOxGGcBFPCaoWyKcebjp6rLhy3WLna294VVVJ9ZY27g4yN7GTfYWJpMvoP4uRjVF3uw+ZpKbkcfVs7DMEkp/vgcGVfxQxNzXl6gyrwq33y6Tk7YHhvcEQl2R0GOI8eoDKJt8bvdhK/OJ95VE4xg/6UXXQqiTQxtHh9hCnL7GhOsnvAqhr60j9ne2TywyzfnwuGInI/5E9ZdZ9+HtXk3hDVbMVZ8Z59w99kS3th1QA1rB2h6iFjyP/3gHewJkrKb2yNgY/E5tTC13tP4mStLpwYtZ78wQLXoEPCrjd9jS2dEGB7GtMhZT+5MTeX8qP3h0jilYbbAmmWQzUds3oY1JbZGE4oVBZu09qA7sSNJ9hP6QdWuro6gN5zMxWWI3tPMfeXtSinhutHBUgI9hLFPf4KhrgOoHMOkxcX1f2l9j4fvE90WVKidFD4K+fMZQcW4HQEd5Qq91Ie5MQdW1wVvU4YZ9gKDahYeLbkMZ/mxeT/YBqROLmF+Yl8BgXoubpH6bG6M87aBWtifd4RfaNhs84WpK9NeejLb3w2jiUQv83By/kCjDICNd2ptZhl4LCAzbarNnIpewXZl79hTytl6ssKHo4hGEgMHcc4uS7s1fP7Unw3dJNJZqSC7blmfEewZytZ9OtQUv5S1V/dUx3PAhKJ4OyhtRq28tINOZ8db2iqppcsQkrDOYouxXeepq0FLRd5gF2J/o9LtcagL56mPx/V+4p2QkDW5OFwdg8g+heQe4Lv1SpyDTolf0qAMTyKD/PI7RUGP5O6XjcSX/RdWTw9eIM/AABVGN99Z/ICaihki8jmJso4ak4dXmsuVw90xSh2HUq1nNjZmWQcyQIQfnD/kLnMLK1wzDMGC/ANkukEfl0hWUazdO/XSW6F78ymG8r4dSwGMgZioU0CLhrMJhrfG9XgnXV+GKfBGfvPVZ7rqC40mqtOG9iPJMsKtHdg6mCOPjfAm+A5T4Y6ZW3zNR81vucE/k5ojvhcvQmg4nX5DNru0/QVMZqyn/aRpqZ7nycC/PjAjC2Elt0juqpq64s4J2Jk5Q5hP0/LW4Ilxm3I2/8rOVFYtO/IMOF9uq0nejeRrAD+YuVUTXe8biwDoW7aJZ3tuNsaZbe/+HOh+GTUOBEFuDQ3uXtV5Vbo+Xytkldhy0PtsxsNQk1SNVXXLSh4qzRV6cYnv28PUWxiEnoPZCp4GyODO1kdbwT5/PEcayceTf718yVStU91BJ5TOAwsdxPuXJxG2hBs390bouM0kQISZuUzblu4ExgJk+yeHriSaHkSN9tqfINFsFFbNicUyRdRx59VlnvjQHzqIjes/HxWgiRofuYXjA2YodK3on52qpEyVoEQ89WE9bq0Q3My9Mf9nn101VMu8w3qsszPYbYbh0szGlK3HwyHPUgSja5WF3AclcAEZNPIttw0AJbprth1ZRCG+2m46XMxG4ioxqghiLPJiOFIQZj/TDwKXDWT1USqqfL4OxsJYw19UKOlRMAbk7c2z1Tx4PCN1PQGDPvy0jiAoHt7S+HW1rpVUWLsCP6wQczBDgqJFwDVC3pAWJRVxkAGWSttsFgd91/1COJF9JN9W8cifkNgupsAUESrY1P5rf9WPdqdgUAenBd/wDlZZV5HlJWKBwCI2uWRjRHNzRsQLznlsUGLfIVUPOONmb1fve1dOsmX3Ufudr4AesqbN1s1dKbS3iNgh+2qPJUGhbthzeX3nXLLjRwce+B8RktJ2PQy74EuWYfqXAmNqafMtCNsFI+ytgQCHVzpkLBqiLYZhthzqxCHMsZkqXLHnYC19TvND0YkeI6i4J1970A8l4LqrYZQXGGIy6mwK0R5EwO5JOKFWrGdR7nIB7N5mIR4Mo8GjhpTfSas1BjPJvnfWgsRomryN7h9lKsDc8Lrw+ycK5tRwv825QQTwtZbTjmXciZ177WtbcU+NFkMR4QvYBXkurpSWHaPPQ0YnODT7IMghNI+K2HwZbRnX2TphqGSmklSJ2aItjTHCQgoy3SA7hvjdL45gle96wVX0h5wOa6Po5Le4lZAtT49q0NNrZ4QkwCA8hKSSgOoNUkQ5ewsYCPM6lnVUJKGGGZKVXu9gjFlUlZr7JHFZYRoHA8YXHJ6q+Lpi0YWB6PtNcFCHrfDVtKXPvSAFbgkjvpc+ecL3af1zt6Ipt+RX8JXnHTvpficVXRH7VRyHMUF4rBv73FWNUZKleeCQy32utGMxRepCVHAf27/ZVQzev13AdhFHrQ8iDDkIBXAnhWgvxGBgY4mWOcBKPgF4uQYmXVR/XVP8QDXT2RYLBuwAeZfJMiIWp5+s+zMaRDOhRLOMgfupwp3yRPi9tASaTigEdJp1epe0yIfKqfoPoaVoE6Qix/wNL2zLszJD2k1k31oLqFfJLrdTeVUff5IXRv/6Bq24wQSXeTAzRRnTos1a96C8x5+psujQmY3GimQUGHLD0aI5b9rnGwc/BQkbC1MltQycYeLoYKFx7oIeCZd7cG0l1qSu29mS2H/7uOhk/2T+cS8fn1uDGqXcJJ0XbuDM9mjcJWyxhtCfcJXoeWg9Ykg7kW15jav2hxexjOEsXxb6wa6gqwsPnLukMT45T+L00Pkj0dEHsFmMAcpAkuQpE/YDF5h8lrTbN9dcMO8xHmdFIXC/LMDXy6VHmddBow4QedkCz8QXzTkIFo+96kVvy/uAt25Ilz6rz8RtB//1hNuHs/c0GvEKPFgL4ySu4GQ2kdsPQEDB/PJoHcDdazVXWWPs3zu50CEnlHNZjcwaihj6+2pInDQL9rq2Jv5aUPUvCb03TYBtkVVlMRZOx7DrUJgj8vyFt4Z0roywCQ+h9dMEIZalwQdWiErld5+VcUCDGlpW86vRjNF8iG0+6ajX7z8wslmqyg8c6OHS0K+m0Xl1xSTJ5Y0ECPW8QTrPSTcCBj6cuB3n42HRk1bX+fFb9+j+jGuCgiBUupv0o07WgsNxWMuhdtadi88z/A41W62vUsEkho+l3HJK9rZXap4p+NtwNqNcQxVR6mzVjQ1gaOGzGlr+o1JPPLmwP9bbgqPS+gFFYGjpz0WUDk9drFeFuWw5QoR5RcERCBW5hFUHOxwZxd2qvSZGhpatTNoLLh7wZRjrtenSkw/Kso/wClDEyLrz+Wb6hZztL5ceSfKvkRVUfx65rxQr/cMWt18iA6z/JT5kYMCXqLM6kxE7sluX0H87z2pVme8146VcNsy523q6z71WzfcNdtYLAyEMI4qTRPCq4I8Vd0tnEKl2e0V+lQ9VZo/Qu+31mporzZJtwJLQYr5/73JgeE7zOLddTx7CLJ3ipCjmLchlomYOrSNTiU6W5pNsHjOKFS3R1H70OPdaLvLMXPBVHoJNQ4921XaikrjQEAvEASqA7UPnc0pNgMRG+K4zS7pVB2JuxmYsnU5boFV3RrqNWLg/kcqCuC6pLFSR+uzbf2EfBdfU7QGpZihvOMTbbrkh3cV56RCWzFMfIH6q99JpBemhl63t1zSRQgLfykz3JU+XUBpsTcu5JpnDunfP6WWEvyZIYoaRPgJmRPgm6k63+sbRyKAMjzy7uR4Ou8N+7eODHqWVsx+WKjsCXmFLpk377LBZYW0p+OwYTNqYRry84n+MKNU59xfmwmzFvcDzruae92KfDJFfDC3swkugkBOcN7oTM95Q0aLDm1Po/ZB7ZkUvNEkh0bqNlQVeROHCu3qi53MlnbPxvzf6aTMJypwI0v0nl9pd+aHa+fwnFmi1sF1eDqM27jGuJOA+qjfkkFDZz+QbxWAyIG0lax4zQ84C49234doVK0Rv0fujJYPue3bcD9ru2S9kIjABUEZhK1UuouqNbCE+1HKkoGhnyTO6COG3SdoAOoQoh/virlBScdXm4ijQc8BEBzQVcTspw6+VC6aUu+EzjlS1mLLhi6B2QVttYjI0iuy57pHDa5PvBqVgEMjg2afoo/cudoUlMu/KX0d94xUFYxuTqMxITbn7BINR+zgM73+auzdbet2rT0V0Vifj46pyScAEFtnZUnjkSsgmfkVqLb0Uqlbeq6q946vQajOz7ujrvQXdhOMXerimMGg8qUXrhvjZw5UqhxxhNJk8nQUNBmXpS/Xw5g/4/y9GRwghGZbYHCI67NziuxC+SvrtTypZfk55ceVU+jjCis7f8w4pSqmzMaRW+MVVmlTVtzWCR5eqEWMFSM+bYsuP3HV/tonpVzLvh/f3B82EBkMessNI0ZWMuu41nbUS7/XdqfBpllZmx+yZP1ahn3GCJz1Kmd+zNa78QJIcVXV1Z4YLDYQGQPsMfjGjJRKj71ka/GGTcXSK1hAFkS7xBD+pqvKag+c9D8bTGiprcBwdt8H60U9hNo7e0g5D3WiEQXQcQS6MzXXBjadGiaDTGGcoDu4upuImmKqTogxrzLxwm4/uYbrnMpxrje4ANNfadezEWLhFQRgpx6oA/bmZAssGn042EzxI9pBRvaoCyDBmdd1xN4hxcbTePV+/B2YU7IrpRpmI8dsLizYw0tvgFrBHVJYuxMFWxHWQMlA0rRqy+zAiG32F8KC0C7Z2/0DXohd2BYYN+8nMkpf/TrBOoNffOHH5U802YAzVdLCl1cxQdplBdjcaB0gs79joyaUOa+7Ew8TFk49nYyYgZzJWE5BhBycO16W7UHjMZf06ZMHS3WeOoWw8Z1y0Tq4r1DG4Ims4xvEa9QU1O0vQ09WWRgFVtZVvOatrU31phhnTQsTsakY4kK/iXJ77dOMaw7pLrqvzFk4nIr6yoayFxDG0nuDxY7Un1EqlH7b9BPPW3kakScGSJOVUvpD0NeVJTU1j5vimKN56R6X4J0Vrtx0rY2CSsgFidRh36CYnH64WUtEJFa++IzGvTw/ECtnP/cxi+CmXRodjDPZS16li2dJtMHJkKOXirAojdYq5yk8piHyqYfO8iTjct1jXdxNQCxTMRNDgGINmWszrjJnYU5X88X6EzX9h9u2ovpjw1yS1gWBdUQGC7Qry66svKtKKtpZcg5FG4GueT1CfKtF9rBx3Zuc3sBn97fImfTvw8D88mACy5XveXRgYHWhcwcosORxKF2vBq1uTRhXJ3P11sMxBRCm8FF0QDRY0+vKRfetU8ifjiPnPVmAwVEOq2uo1GFmVujvWuigVOKbD7QJAemUoyqvzYBS+w7VvLAX7x/iXZWGBcjZ+O9TIomc6zfwZZCXCv+2mVBKHHOUYXvDDcr3vC8k7Rskn3yrDIjbK28tokmbFDL93b5fOsxmcxhJeWgC7Q4l/ls/AriMmNYqC2+H2Q34tdlSUmrIiH03iwk4qpSA0/UOr707EAie4AG2ywCi53rXOcCSftCXWbl8ZfESlit40NgiAoqiMb0Un9W+4J0QSootNRM85mH4sUwoP/JWpPdRd1/ZjwYydt5iCRP8AJG+WD9ASsv3+Utnx7Spwsig9TN7fJ0ToTaqay0gw4DqdI66dex0J+vv2Em1b9RsSQ+K4ws6zxOViQYqX1OVR7f7iIZY1dLrIVt4ca6/WsFYBPcc1zgNMfsRpMdv62jw4JlLXAfu8A7Nhqd3vahHuKGk6C5f/nBx1GZ1a6hISbBIUGdLASImnPPa/S5O+VCw9xbgYMMSTc7LdXAU4frheNCO8w5+mBbuqWxpdaObEeiyR43HKkMIBmYXlgwNGv4+epwJXAIYoIb5ISACV3e4h4GKBt60fqAWPtVAUMiOz0reIn8ZQ66RzGRVuHCW0urAJmpxOhIQTi1JNUUP1a0vKNw9ErU6+JMRmecgKY0c06TnAqKMtzLq2k6HDMo0GAlNv/fhB8OZO4DUbTXXNvQHSnuD+2pBFshya+SpK5THfXnW5EqC18CHqHglod3fLZPFBgkYtDgQVsivo8YXVuA1P/kfboh9TmI93eA0nJHiREz7wiiX7Y7RbFLJFiXsGRAmRz8WBbOgy1C+cwwZ6fWYBz2pC9PPo8NLa1ZgVzylgbWEWB9SICo9HlgQKTF/FCWx1iOe3jbUl4mJ0wo4I0wdO4ekqRexfAeFFJEH1hDwcGa6jFJjzXJlBYalpN68mX4rVs62HDfrVLwIS9Mq8ebbJ4fq8Df5QtbgfMQnM/kACDwEcy46k+vCtZ3HGlc7bylF+iPgXTf4/KO5bZrwT6MQjTXxCpsiXIMfzkrdoL6uRRk535fSxla8ANAVu0qW89pJavV6MM+Jzr6OBKGjm/6K07WI8ig4/mVCJlsqhHsgbcH0Kq8b1vjtYlb1CAWwctD6spbKFmV7pVTMbmjCJdPoTs9ZzjNYw7By2PA/XShDb0ZLtDuMJF3yaYBZOobg9Mvv6T+lXLD64rsgFW6Y/qXjRv+uON13WLZH0XJN0ms1WKstqLXMiy+bueZnv+N6Ckt/KEYWLO+nq8P2FwU+89G6kM5tqX8/2JQUDroV+RJQAlnzj+tC9RkbFTLW+k2b5FyW7e1m8s3Yp4ddaAZDStm8EJ6g9saDQkUnrfyL/KJwW+CyI642RfolpLHNX7W/uIrn4rIaunJe/kav94/zJpbHITlGQT2arfPrVkYoY2h9eZwfHPpmzQWHFDnJiot/SkUxZ8G5pL+hDSGGDOYslX6j3O0Y4z6wP5+vDeB6VkbPognxXNGOZEZ0mgtQCXXQzLNzSa+u9rLc2z4M5szOMwaveS21SW28SWUnAEPfniiHdWgE+TFvBCLpUNdyRdQSPu59MdFfO9AjRkTGgBK/TzoZdzU1PqiESTAtJUThUTTyi+LN/7jTJDYJJc4fZKgl6+WfA63i88zCPGUpCpKwloawtD+eunMgewpLBhJ40sIN3xYyz0nXPDc2K4V2gYCQVTGhNcd80q+GEug5/lWOM5iy/GQE+FSIKkirtKOQUzePZbJia4PQC1cv1s25vSJVpZ91FKf5Uj3HOjstsDsj1UD7i6l6VQm8IYFDm/8AyiTTU3EXkMOKp+CQPi8Ye+4SmG8f6PWhno46N67nNbspNCEQz1oc9nGv/15YMXR/irDhCX/pQy5B4A3LVcG9PYT1vVZBEkeocjZFkHHNGdhvlY1bUzU0AhgcUtsarmmm0Uija/rHdADc2+Pa/sMaJcW+9LRivMJ42X2zOgtSklOIluDwyjAV4n1rI4nw6p/hGnmf1ufUP/SIYHuD3NUIvvVjFIPFV/wMqirNHWBvS/5+PrHV33kri/6BJYaO2/EiStz4Lkr+VYurohRlufoONl4giE4FuK9GaoXxqalRuMd02LtVuVEP6XoGlWq53jl4cB7MtZ4BQmyTq1Y7HT+UtBvTOUcsIMUTqnUx/3OH/402o/+lG/Rawvjeu1TNwDBQBJpl/Cp6xO4vMuprWtznh1xjnYGUBmLqGFW63E7bqErCycrgZ/YrmZmiVJEHxAHU71zBv9qppY9cXYcbmvRFOPTqKGT2soun5jcFJXfmCFwj5M74xxAvR7DK3COjFwz9ECbWwmLaFr5EGQ55HpNNbOf4wls+FdIor/q+5RR4Wzh84ahsazDXFlg/Ja2hPL3GWJACcHT2c0ZcRs/ISj3GbV0bOUFkjCSXkUmlW7CksNk/Y1nVI+kypyqoML0JHz31isJlVQbvpx6bHyFYtcHobKrctVnOx2FsC8go1mISDoZaKWFvNIyzdpx8GgG6j7/XBzo+5ktFQVTz/4T2ooEUHhkfolSQ1Uh6dUFqmEXhlbZRjM81A+ddPnh94EGQD6sWVdAgsl2q2d2RhizbR7rxom4xhCx5CNNgMO8YLFKnAnHDbtN23HSK3N3KpWu9SdNk45N1hvrXGZ6XUxHDje7wZ8vLA+rcIS40LPLpFSZf4PoV5UjYtUZFpndcksLhg8mUFmHnWS625tb0OxggNyFURc8k3BCoVOWOR4Dgp8K1FQTTOEtr8j/4/3oI4GcQWkVwVhMDKHKU0vfRWzfkaLtEO/iPDFz4WUikeeEVA8iglA639S7w9j4G25rJW8simmmXOHAVcw3ZbD24R+wAOl/GHnyqVcfQJ7e1IY3MATpz2vPf+stBDUg8g5RkeTz/1LVTtl4Hj55jO0+jeGTPkyOdnPQQs+RtRVpODfqhUvBBqWobov2mS+zwzu+0CO+LwpF7XPz0n0OUN60fnmvM1X4GUY59pftsYEKwzDsi3CZxDjd3ru6JB/SC6Opi8QeeX2MMftzmbaebxBT31kiD9j1L6+XXniQ+i9yn36pjFPD8W9NT98RQ8Jzy42zLFqUlWVDSQgbWYb9cVS4crqEjJhMRY0TM2vtbExvZTUbervaUWeZVXfCf+ZjJ+rbZzjnoXTg1lbwvBGErOv8sYDQEGhqv+1ScQO+7cqxPwQLb7mKbZ35AT78MU9GnyBDYZJ46dB8Bs00JDVw4K05eSv8mB55jMqCm0ZFl7NLfyvwj9eVmdaXypJ7hRYmLak/Z/xJ0ClNDmHAWANTOLiouDGYqxfel5CXCoeM5AEkrSjnWm/gK6YA+QHEP6CP6WyRyw1vH0py7pf7Cd4UnyjtFgCqroIscT68NYvuDz0AwyGFKCW69vp4FNiUpNu49udL7qlqNjqIb0D85TBOQx4GuNDmoPCFnIcfWWJBdwJQlzjA2aFhfr3Ol/xIlL8CncB6LODCYGJ9S+8sUIrFHclDqh3ASksPexn8bttz6GprV27ZzXR6aiQ0QZp1j7X5v67XetUx9AdDVByQyj7ZOwOAgW9JPjZP7jvBYeT/HM5doJZxckCwczhxppVWHN+oeCrx1F0s8f5NKQpCvXvPc3yQ/4YkT9+GLGhluP70qhXq3RoBMZxT+nszqSgYHFnv07A6DKcjvXcrm7E8HKjYMBantoYucmwvbuiGTEBWOXqS3jHcdZCceJzjNkM34qSrIjqatm2g3sFrfbATJth6hVTIZcwaUIM7QxHNWU79dCn7QJVLsjD1SdJ+iW1oxPx5I4Lndq1xORhIkCrFFAc8PcyHj/BsNK9ssAxDibxYTdRohAdfUoQrXRY8LIEpH3ilJ7/7G/PgCdTO3IYyV3AS9vWe/Wo3a1O4OldL0Fi8gMpz7qx+QbbudstPZ/W9Eqz5LDSnUCj4txFKEiIayv9MtqC1iGUReRBFpA6b8buT2MJM2ADlQBc8REzRzraoQssAO0JR2H1CAh/ESSKbolgPOPgjQs3+GfcztgtY0xRebwMVzFYDDKPPVEcEY7RMDzWFjPEg8lR9ajRN/Z638AQWIfOiwD2M2KgtGq8C8u7433wFyAlOt5JZamrDSsNoPQKh20zCRqP8BxrpWYjXv58JXYiBkTG0WaWmfRMgF6KKZUmg16mibQx4sqv5dO5O0cewPEinr/iZRSuQAX6nbvizIbVvVKTpU+uanLb3qIEDjRgq4Z5kaPjHYr7FyizNb6Wk3PVMmK5zKsyTvjtffSefBAPYpUWUalyHh1fvyCGX2RIYa7PBTz5xqJxuh9inCm0IE0wDdjdqksR1uaFTnbbxADfcUXZQQh0iWzv9VO/t6v/1jV4RWFF8gtN3KYJXPlZSfJcfe6eogvS+8fxx0Uz0Ur0DBHVnrkCAtNsE1LzDx3A0Kt6VxRUqzhuhGFKbIAiuSy80fRkZc45+Nluya/tb6hIV708fiqa00GzPfgJUmnHtKfSzVTMaeF1Mxa0zJM09nHFSWFqBolTcQMKR8AkjdIJMzI9iK0n0Hpa5fwvRcbK2AYQ8FWX+uAEjs7toUxHFM9EyBAVvJ5vmkx/BuAw/L9gqVGZGvaD1TUItkvc+zb8M9enUp8xdIz1F2944D9zIdI6342KB+Jc5XcsjGA2xE7dxR3xzwR+bD/50huzMNQiC61xY92VOFoBvWRe1Y6fc4nAhQbPtAbInk6PRWzuUe80pyyLCVb9bcoIgVFf9nwvLLpNlcgb30nP6Tq+SUDvFeGTGahbZxQyTKIpcLc1v8Es1adho+/89i9RtM+2LzefT0JFLmhd9xGYpW/Lcc5kyjQfNurcDdenn9etSos0Lr0Occ42YX9gwswuPO62CL3jdYe6qGzmy0pjNWbQeRowkNM6Wk6UofXAl1zcPIzj4srwHW63M1tppMgij9J4wDA6MU5DDVahEoommP65AroPZznwNxHNYpZbOZu2ZfcL0QDvnVaK8A==">
            <a:extLst>
              <a:ext uri="{FF2B5EF4-FFF2-40B4-BE49-F238E27FC236}">
                <a16:creationId xmlns:a16="http://schemas.microsoft.com/office/drawing/2014/main" id="{43225938-3B9A-4048-22E4-7144AB2E643B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gray">
          <a:xfrm>
            <a:off x="331586" y="1628816"/>
            <a:ext cx="2562470" cy="4685845"/>
          </a:xfrm>
          <a:prstGeom prst="rect">
            <a:avLst/>
          </a:prstGeom>
          <a:blipFill>
            <a:blip r:embed="rId25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rgbClr val="2E3136"/>
              </a:solidFill>
            </a:endParaRPr>
          </a:p>
        </p:txBody>
      </p:sp>
      <p:sp>
        <p:nvSpPr>
          <p:cNvPr id="4" name="btfpNotesBox304406">
            <a:extLst>
              <a:ext uri="{FF2B5EF4-FFF2-40B4-BE49-F238E27FC236}">
                <a16:creationId xmlns:a16="http://schemas.microsoft.com/office/drawing/2014/main" id="{D76844FC-8B78-1279-EC03-F3C7C35F535E}"/>
              </a:ext>
            </a:extLst>
          </p:cNvPr>
          <p:cNvSpPr txBox="1"/>
          <p:nvPr>
            <p:custDataLst>
              <p:tags r:id="rId11"/>
            </p:custDataLst>
          </p:nvPr>
        </p:nvSpPr>
        <p:spPr bwMode="gray">
          <a:xfrm>
            <a:off x="330200" y="6314661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*Mentions are on a use case level, for example, if a review mentions both the “cholesterol” and “heart health” use cases, then it would be counted separately under each use case; Use cases contributing less than 5% to total mentions of a bar have been hidden; analysis based on reviews from 2022 till 2023 YTD | Source: Amazon</a:t>
            </a:r>
          </a:p>
        </p:txBody>
      </p:sp>
      <p:sp>
        <p:nvSpPr>
          <p:cNvPr id="10" name="btfpQuoteBox701730">
            <a:extLst>
              <a:ext uri="{FF2B5EF4-FFF2-40B4-BE49-F238E27FC236}">
                <a16:creationId xmlns:a16="http://schemas.microsoft.com/office/drawing/2014/main" id="{8E581D71-20C2-4A43-D375-58E847662859}"/>
              </a:ext>
            </a:extLst>
          </p:cNvPr>
          <p:cNvSpPr txBox="1"/>
          <p:nvPr>
            <p:custDataLst>
              <p:tags r:id="rId12"/>
            </p:custDataLst>
          </p:nvPr>
        </p:nvSpPr>
        <p:spPr bwMode="gray">
          <a:xfrm>
            <a:off x="3359628" y="3281245"/>
            <a:ext cx="8138160" cy="218970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950" i="1"/>
              <a:t> “</a:t>
            </a:r>
            <a:r>
              <a:rPr lang="en-US" sz="950" b="1" i="1"/>
              <a:t>Great companion to statins</a:t>
            </a:r>
            <a:r>
              <a:rPr lang="en-US" sz="950" i="1"/>
              <a:t>. This was reviewed as one of the best CoQ10 supplements. </a:t>
            </a:r>
            <a:r>
              <a:rPr lang="en-US" sz="950" b="1" i="1"/>
              <a:t>I use it to supplement my statin intake</a:t>
            </a:r>
            <a:r>
              <a:rPr lang="en-US" sz="950" i="1"/>
              <a:t>”</a:t>
            </a:r>
            <a:endParaRPr lang="en-GB" sz="950" i="1"/>
          </a:p>
        </p:txBody>
      </p:sp>
      <p:sp>
        <p:nvSpPr>
          <p:cNvPr id="12" name="btfpQuoteBox701730">
            <a:extLst>
              <a:ext uri="{FF2B5EF4-FFF2-40B4-BE49-F238E27FC236}">
                <a16:creationId xmlns:a16="http://schemas.microsoft.com/office/drawing/2014/main" id="{5EF53E94-D3FD-A8C5-9A8F-C8E6177E36A9}"/>
              </a:ext>
            </a:extLst>
          </p:cNvPr>
          <p:cNvSpPr txBox="1"/>
          <p:nvPr>
            <p:custDataLst>
              <p:tags r:id="rId13"/>
            </p:custDataLst>
          </p:nvPr>
        </p:nvSpPr>
        <p:spPr bwMode="gray">
          <a:xfrm>
            <a:off x="3359628" y="3048729"/>
            <a:ext cx="8138160" cy="218970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950" i="1"/>
              <a:t> “</a:t>
            </a:r>
            <a:r>
              <a:rPr lang="en-US" sz="950" b="1" i="1"/>
              <a:t>Effective I take this because while taking statin drugs your muscles are robbed of coq10 </a:t>
            </a:r>
            <a:r>
              <a:rPr lang="en-US" sz="950" i="1"/>
              <a:t>and this particular brand seems to help better”</a:t>
            </a:r>
            <a:endParaRPr lang="en-GB" sz="950" i="1"/>
          </a:p>
        </p:txBody>
      </p:sp>
      <p:sp>
        <p:nvSpPr>
          <p:cNvPr id="22" name="btfpQuoteBox701730">
            <a:extLst>
              <a:ext uri="{FF2B5EF4-FFF2-40B4-BE49-F238E27FC236}">
                <a16:creationId xmlns:a16="http://schemas.microsoft.com/office/drawing/2014/main" id="{2FFFC106-F38E-C28D-2D15-CF05CF7D64A8}"/>
              </a:ext>
            </a:extLst>
          </p:cNvPr>
          <p:cNvSpPr txBox="1"/>
          <p:nvPr>
            <p:custDataLst>
              <p:tags r:id="rId14"/>
            </p:custDataLst>
          </p:nvPr>
        </p:nvSpPr>
        <p:spPr bwMode="gray">
          <a:xfrm>
            <a:off x="3359627" y="3933934"/>
            <a:ext cx="8138160" cy="232092"/>
          </a:xfrm>
          <a:prstGeom prst="rect">
            <a:avLst/>
          </a:prstGeom>
          <a:solidFill>
            <a:srgbClr val="D6D6D6"/>
          </a:solidFill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1050" b="1" i="1"/>
              <a:t>Recommended by friends or family</a:t>
            </a:r>
          </a:p>
        </p:txBody>
      </p:sp>
      <p:sp>
        <p:nvSpPr>
          <p:cNvPr id="23" name="btfpQuoteBox701730">
            <a:extLst>
              <a:ext uri="{FF2B5EF4-FFF2-40B4-BE49-F238E27FC236}">
                <a16:creationId xmlns:a16="http://schemas.microsoft.com/office/drawing/2014/main" id="{86F0F0E4-860B-8C2D-59DF-774A2435055F}"/>
              </a:ext>
            </a:extLst>
          </p:cNvPr>
          <p:cNvSpPr txBox="1"/>
          <p:nvPr>
            <p:custDataLst>
              <p:tags r:id="rId15"/>
            </p:custDataLst>
          </p:nvPr>
        </p:nvSpPr>
        <p:spPr bwMode="gray">
          <a:xfrm>
            <a:off x="3359627" y="4588886"/>
            <a:ext cx="8138160" cy="218970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950" i="1"/>
              <a:t> “</a:t>
            </a:r>
            <a:r>
              <a:rPr lang="en-US" sz="950" b="1" i="1"/>
              <a:t>Recommended by family</a:t>
            </a:r>
            <a:r>
              <a:rPr lang="en-US" sz="950" i="1"/>
              <a:t>, this has surprisingly </a:t>
            </a:r>
            <a:r>
              <a:rPr lang="en-US" sz="950" b="1" i="1"/>
              <a:t>helped me with my migraine. </a:t>
            </a:r>
            <a:r>
              <a:rPr lang="en-US" sz="950" i="1"/>
              <a:t>Not sure how, but my headaches have gone down by more than 50%”</a:t>
            </a:r>
            <a:endParaRPr lang="en-GB" sz="950" i="1"/>
          </a:p>
        </p:txBody>
      </p:sp>
      <p:sp>
        <p:nvSpPr>
          <p:cNvPr id="24" name="btfpQuoteBox701730">
            <a:extLst>
              <a:ext uri="{FF2B5EF4-FFF2-40B4-BE49-F238E27FC236}">
                <a16:creationId xmlns:a16="http://schemas.microsoft.com/office/drawing/2014/main" id="{B0406E00-72D9-CBC3-54ED-1B8586792B44}"/>
              </a:ext>
            </a:extLst>
          </p:cNvPr>
          <p:cNvSpPr txBox="1"/>
          <p:nvPr>
            <p:custDataLst>
              <p:tags r:id="rId16"/>
            </p:custDataLst>
          </p:nvPr>
        </p:nvSpPr>
        <p:spPr bwMode="gray">
          <a:xfrm>
            <a:off x="3359627" y="4208869"/>
            <a:ext cx="8138160" cy="365164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950" i="1"/>
              <a:t> “Works great!. </a:t>
            </a:r>
            <a:r>
              <a:rPr lang="en-US" sz="950" b="1" i="1"/>
              <a:t>It was recommended by a friend </a:t>
            </a:r>
            <a:r>
              <a:rPr lang="en-US" sz="950" i="1"/>
              <a:t>&amp; I'm so glad I tried it out. I started taking it when I was having constant heart palpitations &amp; it has helped significantly!”</a:t>
            </a:r>
            <a:endParaRPr lang="en-GB" sz="950" i="1"/>
          </a:p>
        </p:txBody>
      </p:sp>
      <p:sp>
        <p:nvSpPr>
          <p:cNvPr id="40" name="btfpQuoteBox701730">
            <a:extLst>
              <a:ext uri="{FF2B5EF4-FFF2-40B4-BE49-F238E27FC236}">
                <a16:creationId xmlns:a16="http://schemas.microsoft.com/office/drawing/2014/main" id="{4F20533B-FB1A-B0F6-772A-AF9F7D17B568}"/>
              </a:ext>
            </a:extLst>
          </p:cNvPr>
          <p:cNvSpPr txBox="1"/>
          <p:nvPr>
            <p:custDataLst>
              <p:tags r:id="rId17"/>
            </p:custDataLst>
          </p:nvPr>
        </p:nvSpPr>
        <p:spPr bwMode="gray">
          <a:xfrm>
            <a:off x="3350454" y="4860332"/>
            <a:ext cx="8138160" cy="232092"/>
          </a:xfrm>
          <a:prstGeom prst="rect">
            <a:avLst/>
          </a:prstGeom>
          <a:solidFill>
            <a:srgbClr val="D6D6D6"/>
          </a:solidFill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1050" b="1" i="1"/>
              <a:t>Post heart attack</a:t>
            </a:r>
          </a:p>
        </p:txBody>
      </p:sp>
      <p:sp>
        <p:nvSpPr>
          <p:cNvPr id="43" name="btfpQuoteBox701730">
            <a:extLst>
              <a:ext uri="{FF2B5EF4-FFF2-40B4-BE49-F238E27FC236}">
                <a16:creationId xmlns:a16="http://schemas.microsoft.com/office/drawing/2014/main" id="{1FF35C7B-A99E-9F22-57F9-08311280E821}"/>
              </a:ext>
            </a:extLst>
          </p:cNvPr>
          <p:cNvSpPr txBox="1"/>
          <p:nvPr>
            <p:custDataLst>
              <p:tags r:id="rId18"/>
            </p:custDataLst>
          </p:nvPr>
        </p:nvSpPr>
        <p:spPr bwMode="gray">
          <a:xfrm>
            <a:off x="3350453" y="5430627"/>
            <a:ext cx="8138160" cy="218970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950" i="1"/>
              <a:t> “I </a:t>
            </a:r>
            <a:r>
              <a:rPr lang="en-US" sz="950" b="1" i="1"/>
              <a:t>started using TARGET over five years ago after a massive heart attack</a:t>
            </a:r>
            <a:r>
              <a:rPr lang="en-US" sz="950" i="1"/>
              <a:t>. It has been very successful for me. I'd recommend it to everyone!</a:t>
            </a:r>
            <a:endParaRPr lang="en-GB" sz="950" i="1"/>
          </a:p>
        </p:txBody>
      </p:sp>
      <p:sp>
        <p:nvSpPr>
          <p:cNvPr id="45" name="btfpQuoteBox701730">
            <a:extLst>
              <a:ext uri="{FF2B5EF4-FFF2-40B4-BE49-F238E27FC236}">
                <a16:creationId xmlns:a16="http://schemas.microsoft.com/office/drawing/2014/main" id="{461DB31D-3FF2-49AD-B77E-3338314A355D}"/>
              </a:ext>
            </a:extLst>
          </p:cNvPr>
          <p:cNvSpPr txBox="1"/>
          <p:nvPr>
            <p:custDataLst>
              <p:tags r:id="rId19"/>
            </p:custDataLst>
          </p:nvPr>
        </p:nvSpPr>
        <p:spPr bwMode="gray">
          <a:xfrm>
            <a:off x="3350454" y="5135636"/>
            <a:ext cx="8138160" cy="365164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950" i="1"/>
              <a:t> “I </a:t>
            </a:r>
            <a:r>
              <a:rPr lang="en-US" sz="950" b="1" i="1"/>
              <a:t>had a major heart attack over 4 years ago</a:t>
            </a:r>
            <a:r>
              <a:rPr lang="en-US" sz="950" i="1"/>
              <a:t>. Have taken this product from then on and I wouldn't change a thing! Thank you TARGET for a top product!”</a:t>
            </a:r>
            <a:endParaRPr lang="en-GB" sz="950" i="1"/>
          </a:p>
        </p:txBody>
      </p:sp>
      <p:sp>
        <p:nvSpPr>
          <p:cNvPr id="46" name="btfpQuoteBox701730">
            <a:extLst>
              <a:ext uri="{FF2B5EF4-FFF2-40B4-BE49-F238E27FC236}">
                <a16:creationId xmlns:a16="http://schemas.microsoft.com/office/drawing/2014/main" id="{FA1BC9B8-1F0D-5F41-7765-32164BBF0588}"/>
              </a:ext>
            </a:extLst>
          </p:cNvPr>
          <p:cNvSpPr txBox="1"/>
          <p:nvPr>
            <p:custDataLst>
              <p:tags r:id="rId20"/>
            </p:custDataLst>
          </p:nvPr>
        </p:nvSpPr>
        <p:spPr bwMode="gray">
          <a:xfrm>
            <a:off x="3350856" y="5705005"/>
            <a:ext cx="8138160" cy="232092"/>
          </a:xfrm>
          <a:prstGeom prst="rect">
            <a:avLst/>
          </a:prstGeom>
          <a:solidFill>
            <a:srgbClr val="D6D6D6"/>
          </a:solidFill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1050" b="1" i="1"/>
              <a:t>As a precaution or preventive measur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A795320-5D11-7631-5100-A7188E981134}"/>
              </a:ext>
            </a:extLst>
          </p:cNvPr>
          <p:cNvSpPr txBox="1"/>
          <p:nvPr/>
        </p:nvSpPr>
        <p:spPr bwMode="gray">
          <a:xfrm>
            <a:off x="3359628" y="3513762"/>
            <a:ext cx="8138160" cy="365164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>
            <a:defPPr>
              <a:defRPr lang="en-US"/>
            </a:defPPr>
            <a:lvl1pPr marL="90729" indent="-90729">
              <a:spcBef>
                <a:spcPts val="0"/>
              </a:spcBef>
              <a:buNone/>
              <a:defRPr sz="950" i="1"/>
            </a:lvl1pPr>
          </a:lstStyle>
          <a:p>
            <a:r>
              <a:rPr lang="en-US"/>
              <a:t> “It's my first time taking a statin and </a:t>
            </a:r>
            <a:r>
              <a:rPr lang="en-US" b="1"/>
              <a:t>I was concerned about muscle soreness, twitching and spasms</a:t>
            </a:r>
            <a:r>
              <a:rPr lang="en-US"/>
              <a:t>. It was recommended to take Coq10 along with the statin. I am happy to say I </a:t>
            </a:r>
            <a:r>
              <a:rPr lang="en-US" b="1"/>
              <a:t>haven't had any problems adjusting to the statin</a:t>
            </a:r>
            <a:r>
              <a:rPr lang="en-US"/>
              <a:t>. I give the Coq10 gummies all the credit</a:t>
            </a:r>
            <a:r>
              <a:rPr lang="en-US" b="1"/>
              <a:t>”</a:t>
            </a:r>
          </a:p>
        </p:txBody>
      </p:sp>
      <p:sp>
        <p:nvSpPr>
          <p:cNvPr id="51" name="btfpQuoteBox701730">
            <a:extLst>
              <a:ext uri="{FF2B5EF4-FFF2-40B4-BE49-F238E27FC236}">
                <a16:creationId xmlns:a16="http://schemas.microsoft.com/office/drawing/2014/main" id="{CF66A40E-055D-F284-5A69-97C828F6A2A9}"/>
              </a:ext>
            </a:extLst>
          </p:cNvPr>
          <p:cNvSpPr txBox="1"/>
          <p:nvPr>
            <p:custDataLst>
              <p:tags r:id="rId21"/>
            </p:custDataLst>
          </p:nvPr>
        </p:nvSpPr>
        <p:spPr bwMode="gray">
          <a:xfrm>
            <a:off x="3359628" y="2468422"/>
            <a:ext cx="8138160" cy="218970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950" i="1"/>
              <a:t> “</a:t>
            </a:r>
            <a:r>
              <a:rPr lang="en-US" sz="950" b="1" i="1"/>
              <a:t>Cardiologist recommended</a:t>
            </a:r>
            <a:r>
              <a:rPr lang="en-US" sz="950" i="1"/>
              <a:t>. I have used the product with confidence for at least ten years. I love that it is </a:t>
            </a:r>
            <a:r>
              <a:rPr lang="en-US" sz="950" b="1" i="1"/>
              <a:t>better absorbed than the competitors</a:t>
            </a:r>
            <a:r>
              <a:rPr lang="en-US" sz="950" i="1"/>
              <a:t>”</a:t>
            </a:r>
            <a:endParaRPr lang="en-GB" sz="950" i="1"/>
          </a:p>
        </p:txBody>
      </p:sp>
      <p:sp>
        <p:nvSpPr>
          <p:cNvPr id="52" name="btfpQuoteBox701730">
            <a:extLst>
              <a:ext uri="{FF2B5EF4-FFF2-40B4-BE49-F238E27FC236}">
                <a16:creationId xmlns:a16="http://schemas.microsoft.com/office/drawing/2014/main" id="{2A295E67-D514-73E8-ADFE-8F1E2D7E8857}"/>
              </a:ext>
            </a:extLst>
          </p:cNvPr>
          <p:cNvSpPr txBox="1"/>
          <p:nvPr>
            <p:custDataLst>
              <p:tags r:id="rId22"/>
            </p:custDataLst>
          </p:nvPr>
        </p:nvSpPr>
        <p:spPr bwMode="gray">
          <a:xfrm>
            <a:off x="3350452" y="5982645"/>
            <a:ext cx="8506586" cy="218970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950" i="1"/>
              <a:t> “I have been taking it since I have been taking my cholesterol meds </a:t>
            </a:r>
            <a:r>
              <a:rPr lang="en-US" sz="950" b="1" i="1"/>
              <a:t>as a precaution &amp; it is just peace of mind </a:t>
            </a:r>
            <a:r>
              <a:rPr lang="en-US" sz="950" i="1"/>
              <a:t>as I’m doing what I can to stay healthy”</a:t>
            </a:r>
            <a:endParaRPr lang="en-GB" sz="950" i="1"/>
          </a:p>
        </p:txBody>
      </p:sp>
      <p:sp>
        <p:nvSpPr>
          <p:cNvPr id="7" name="CommentBox">
            <a:extLst>
              <a:ext uri="{FF2B5EF4-FFF2-40B4-BE49-F238E27FC236}">
                <a16:creationId xmlns:a16="http://schemas.microsoft.com/office/drawing/2014/main" id="{CFA16A32-19EA-4DBB-81FA-2C80B5EB8928}"/>
              </a:ext>
            </a:extLst>
          </p:cNvPr>
          <p:cNvSpPr/>
          <p:nvPr/>
        </p:nvSpPr>
        <p:spPr bwMode="gray">
          <a:xfrm>
            <a:off x="9805852" y="609710"/>
            <a:ext cx="2037111" cy="348131"/>
          </a:xfrm>
          <a:prstGeom prst="wedgeRoundRectCallout">
            <a:avLst>
              <a:gd name="adj1" fmla="val -40000"/>
              <a:gd name="adj2" fmla="val 40000"/>
              <a:gd name="adj3" fmla="val 16667"/>
            </a:avLst>
          </a:prstGeom>
          <a:solidFill>
            <a:srgbClr val="EED6E5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>
                <a:solidFill>
                  <a:srgbClr val="000000"/>
                </a:solidFill>
                <a:latin typeface="Verdana" panose="020B0604030504040204" pitchFamily="34" charset="0"/>
              </a:rPr>
              <a:t>USE CASE P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082521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9WzVfHy8CnMUuNyY3ZV47w6JnDxChUXkSde5dDjRBeBQsqWKwIgOWhPHzPv+glRxR8YSEKFLmzUmM9huQYpHh6a+aIsmOYCzQRPmicuoltloYW4OrUhQwDcWcKVc695RqhMGgxIJfWm66V0gm/P2CBGmz3lIaH8d7u0NHspWs8eE3bBi5ZAcQQHBnjLCRjIQZAgky9AmQl1VN/YbTX1fGA2q4vpDh+4Ui8Ov/OdeGF3Vc8hZAcj0omseVNq7WA4vnHGZIMnr/dD2pJCo2hljKi19l17HguImYtYEFU8YpkVpl7eCHhhMSKeJwT2JxagubWksIEbDYSx8kOdjzdI9w6vaAupQeGQ4v089tKPTtxChNu6wGSdbzgOMxdTtPuDavDywMLJzX+TeozF6yVCz+b8/QLsqXYik5f/d6GN21jbO2g4BX3n3dJOOnL+2vZ+zMBb/qdcEibdNnf7vz+2EBJGvx/lQMaRri6fsofyyFg3x0fTr7YXp1VHJHiQ/CrxfhtUjh3WbcRMnejMy1i0aHY++Xlf+Nyi6Quksdq14lr2fiVCkjJnkcKy4Q8BFhVay11scr0z3LepzjVJaT/Ia3fMWm+PaN0ibWvMR8kjEUHolfKIYPq7wCioRbIBrxq3OBnXK2X/GZ7f5hqhRrQfg2SHcW5PqboX19aP7emKXjQI1rGJY/8hXuk9ZozRYPmgm7Cw0Nmf5wuYknIclH7X4HXhhywlHyTlc3ANr9Fl9smMEc9/ToVMSeGt1aLk8nkC29+TRzNGh7WS22IUHPn2JYm+F6VZaqcpMi18TiDc7OUkVXJjWYY2MOBen6xC1J4GHXrL6wq3ikIjvmYV35hAjb5unDAQE+n6k34cCwJJD/VmiWQstPXYkv57ii/xV9n7IQyp5TAL01KLyb0uMvR8EI2G0uejODjiaZiFE/1EODmffbqHIYrHZXRkqBvkwcK/4fWm/iqHJ4weMLA55cOYtYQIIiFtii5ArhuqQcBu16w5a8Ig+7Fy57pnrbvjeM/wLCCpXsoG7X/uEr2156wG8W5mIvn76tTAR4xPyHSuWCJf3PoojEf9avq/bsMZfECJmTy4/u6xdduJiMfBaUYjpP2US4ZYncme8MMwxO7HKo5csGBFiAuFJQV7KdWWm07A0n9VyxzDHPJd8VQd468CMdXtfjw1WIjirb4P4J7rDQ7JzVuOygk8uTWYcE+0wXV6VVShju4rW1u7oRL2fguC/+05yGsqvge08OQr93hc5Y07ldjxUFSjquH3c/xausns0pDpvqy6zpg8Ru/t+fU5o6eoE07Lv4Q2Npht3bs6ZE/qVvRveaPhwqQ63i0BtzfvJadANddw4caQ3xP8fEFTbfOPhU2DEFUqgqN2P/dvE0A8PX7u4sjexXSOcUjFJ+RXalP+RRfo2YtipnYN+TvPCm3mCOUcHgyVmvtgXo1OJNcU2lpFYvpokRQx2uGm/ZGZdwHzvROq/BeJLjvr2erJ09wGBg+xETFZTK9tn3jVrfe+uRStJUCD5drRrpv8uQgMykj1UlnQ4cHmMYZpMmfj/S8Wx8CuTjGwnU04pbJ9w2F6MBHWsPxUv344GvHi58WAN6vDDKzFiI9ort6P8M+8D3572Aqaxxv2moJ5gUKYwSET4NmkYeWQykjPrfh+pI5nKe7M+ihLevNwfWSxYQAVvdfS0z0u2zhKAHwo8pi+XbdX6Bh8nj3rGFdr2CIEw5QoZpEYwx3Jgx9OqdwuncLpB7ObLKOBtwIykmAETxhOduXamh3MNA4tqk+RMelGWTntOqzvLIVaE1DqdR8/j26oaWDCAeLT0JoGqn4rZ9pnYMyzsZFWVRynyApUsdxNUK3kPqyDprzHB/w42YlU11x1SYUfBiS+Ri4nd49dNTXVGK4T5IqBpELPak5ueNLowGujKtlKCCvILgiCdDWMKlBRfjtgXVmaYpoIVgJxCtJwyH/k/T3af5NGvLonEOBpwgDotNZ79G/kdO5xGU6uKrJHFQ+Dp/lqbB9AMuOCNLEckqav/n4sybMuaUwdcJj0Foz4Xz5xqVLRh/27gapBJw6t9mgdvUKQ/DLoDbPCB6d/sA3mLlh3rcrhWc2nvqWN+lKxrISNVs4Fhzbfm/LjqLO36xVbRsrrn62CvQ3/ynP3ehBrW1oSkRnK6KNeqX/NSLvSSGDzoRX5hlUuW2Y7YOj7oc8U4H3pPMBExp1POWc4bfp4fYHkdD/6RoXxkerY81rDyxpdyzKzl1un5ToEkqYPUDPDArr2uiuqTB3G5eRQlz15xdLsxz7IKP/KnHT6D2CryhJa/vdkfY+b3AA7W3AnB7gXzkcJ4XCl2XAQ3KOk8b/hEMBJwNQhjAGA4Wj4V0WnZ+9DRBDRQtFTOCe3mQEqvQQ/ZWAu6gY2T+zJuglGCOwfenN3cHrpqCGmq5U6s34lJ5mp8szIBIVLLfYQtossbrShq4OZjHa79EFiOsv7XwVH8HKwduxkOEZZeZYJiJ43YcxF80QTU3ajMF6a8eZ33VjvGn3gY0ku1uPTsHJDERx41MvK5eJrt2m056dAVf34tQnGqogvXtlPExs/rWDtipapI/LUiqKpk0vYVKk5RNpm/o0wthH2RK603mwjRdzcFWfgUl+T0lBi/zPF8S2P2Nk+S5d2BteM9tp/1stHEe1G39D99KQLqaD3SRpDOBR1glSMVWgKez+oBm/kuE9i/D+LKfASi/vyt0Hrgirqzzt3ikZtHCODmmV0MHvBV/g5NJmVcCJ38WnPhLRXFk6UFXMPnTfMgae1TM4inEAydm63I7Kr94DtT0EEfmqMvyTsbJeXu5tb/Hw4gaSfARuaHI+bZ9PQl0vPP18mcjXsHwWCk0IgywiXxhCJJfv4jUOrVOZ9egbkF9W5dXGVarj7ZNjle6T8yFsjBWIsh/9aUUljFjd3AF2jb0T/Kx5HxWN/mtYWRs5bpSlNhkSx1r9jn88ibpN6UMd0OPJhV1yayxDEgAncLN/z8FyJfLg4Zo1d6AxnlUNhhWYqUDhuIF49jNKOhLdps+ZMRaxtgYRwuUqdFvCQYO6D/VlULsQaNib/DrHGInsnSz2m+ZAMTkmFImt7wEPTmG0WwxLXqOUPdhDtNCG8XRwH3YFRHL9A70aNBhbhWSn5uFB/a9r98Gvmuo03vbY40Vt4hU63vi25UXEzFw8kylQV3/9WvBEdfPZlY90yDUe2viJXNdIpGt4ZNMMAl3cLjm3ZAFS3YwL8xcS0pqsEOsHMeQTZOjy0qUJW+bgEhT3lMLuRn/4hguHKZCsfd6pNVWeRaGP2/L3EAGqvMrbhsILDAiSJFftHoUZURP2Zg1Qr5Whj26ZPgtCgPw0XlSCH3lrfYPy0DFPiYRCfeh1H1wbBXQyeVDvxFVmlheNYSZIm42O0pjUHDUsm9vt7uWiMP7nOGq+xggQbBp8UizfchC7iD4ktdHFvRFU+IIfMJZ32oxWeOpecH6nHhx/vAVXCDZuZq4ioqqCasnrHbJ82ddYcvO6faIwFJ0VHPVUN+PqJA8A2STJQ/zjQb/F0exbcBK/M/pzZ0ZDla8KV2hm7mCQQq561FM7JOn5skm9fj4+syEGHhsH2lypMMpE97hvI/VeA1VKznMqAtIumwAW+hpdUKpTJ05Ge1XzDvdpEZEJAyHLre7CC6VWYDPvf4PD573r1zQhjvVeuRuqC07pOzs2J/esk7pIC2nUj5Sa7kreojsq50rUaEpLioaqF5JJllzmnz2nKgNtYHaaNvTpHDfTPLDAR0fMUKeUc3+uEtwq0TMeJXBcLXc4Yva+6EGKN8x/Xyeafi2tzID+rptTr1uRZfTkAxv6gAhR+O2sL1Ogdp/GDkkSQXMkoFBnAlUg6AYf+GEN0LuTP9OQpDATCnsBJ9AiV5IHugXCEpW/xKaMFjbLMQCtEksdHt03LFHOXkTcbai6xGQamK6p4UjJo3QLIOS1aegj3NYvQtYBXFNwM1CZfTv2QF3IcGg+0JxuH38bCnXjtJqzctrV5vnb9urvO9aJT869VZbccyc57cOyTmwiYyXWEWLjYpooA0TZVIEUbeO78zEQQOM4/usYzoHfRiB6WcoY052K3O5Cz54b83rNmsoqrJfcliWRFfFmWx5F+jeZI2nw1Nn66lwu6e9zUTgL/lmgkLsBq2Wy9QApzjCVI/rXUCqWJyOIrBXOXPleCV+yXkhB3up7jmTHZJIlt12eaCIN6tTavDpC5Dk5k711TGS+ppHUsbtgrrXK1Pvqs//WvKMQ9dpcj9HMkA897ZnBbG4APV/TFmBRXcLwXtq6V+3ghTfR424zqZgHXaOvMotyRHrVmm518/J8OUeqFULtLI+6PW0U07uuoFwcB/zpRiFh+1yzZEnLAjml2FoYVPGoYG2g6z2ACjkHw9Wwb//FyH5o5HRzMVwccKe9iTmpGo0q7X9CW8t1ZIz676ntx33E/7XQgLI8sK5SJRTyPx9uwkySoHr3isqtSwESL7M2FH2mEburc37Dlg14w/a9AhiMNtMkqxt0Ucv77lpZL3gwyqcp9G1yl8fQKE3htI88s+5MG7au8Y2qxqV36X2RmvV4inOYd+m/HMbLhHZxrKYbun/bsSQ6KllltpOORCVe6NaIN7j5Y8Ln8tfnq/N3zlRbm3JxCve6PJNeWMAtIgtxMxL50Zfe7FrC9bLrM5PKqBdH5SKwHJI4GR+1utngDwqqFn5dcFv8oj6CI4yxbpJTSELE0AKTT3GdJnfIqzFDNQH+k/d+Y+H1ZFWaB6NWUZegq+f8Osg6yyRqzDMU8z3go7+dGUf052rVpACWNS41YYIn+PuvMCAi0l7hPbSL+iseVRJlTWrK9+UbzlnwIPQ73ljSm4C6R346E5WwmrHgluQlm2+yoKSZpvZH7QwZtg7IMDa4aV6n8b9lC6NqWyv5cCT1FaEyksnISvl+TBQPnlv/3fD9SeueR6TWZnpd6r0XhcmuPzPP+EfLlUOTMxm8mvsxX2erOiLHDc8QPnaOzlHLbNMc1s1S/CTIxYOKAzEqgYGRLp1WKG5/ffGZyMXLvs+TtOSExfOZkQ1Dwbzznkdw3t2AEhPvJhFFqp/QgUu2ZHR7NH+yF7TtpMTF10x0wv5cSsJpzNrond+2r1heNWJfOeoL3zAFYWO7nzj52uxte835JqxQct/6dg/ZE2QLi2bag7JvMIQPYU0KZlDpwN15uuGkpfNE054XXUvVCiMQtgt9nGsEA4zN0f6KiQM2VALS/AsyO+SOBMdAacF+iL9Lv+s4Z6EkSV+Eri5jCP1YWaRdhPlzMD3pfr3xGOVKfoFaT7K9AGaKqol8zEfJJzQ+eorN+593S0oG+3zh3YAFMeYkDgU+jvJRbTVZMK8HSor5Bu7N7hQzuPGUmiU1Z/Gs7bb+5o9uEyq/NXB7QP2zFXXvCPFsOTG0P0fg6Sx8xSLfTnsOxLtuoHICdLxQAKw1WOTKqZbVuD5HnrSHwl9YkWOb2HFfH3j7X3XGHoMYnGl3kcIbDuDR1jL6LBwJ+uY6z7XbApkzx3sd9232MHbBRuZjDhTjmxlBAfB4qj3HHukIQbEctn/MRtloj0h+reFdLkkkbzDDc5oDXTTSVg9vhgfBYHhwCckbxZJ6zRoK8VOsbt5RL4fdtFZbb2hrY31gekQc8tVSiibr3fDV9hDSFKyuCtL4O9zhy2INwM3mWo1pOnsTntK2LfYZIvIxO6e1C+jJlJ/ld2ZkAaxRDSXPpDIiBXPKaTVLtwgoPfSPrOkJ32+hQ0xLmdYkQ/gX+jx5kxaWAIdjEpoZrAGkxs0VuaQaLA2L9uCaSQX6QdLpKJxYilkG97tALkbAu4KbNBHOKDqlcaI3hs7iz9kASFaMj6RT3MKaund3QKB0bpNR8vPt1+zQ329CnUmSSrTDy0651RtX4er9W8NmnHr7msaPAYYU3lIrOxmTd4PO/iWc7vodTqR+Y4opUfcV9t+obIDHX0C5VG3bM7Ls+20noMezLn0Vtp8oJxZTRLEYmUmQ5hEqja1K69tSDlCX1YqMVBnfasQLzOoovpSGwpC1zsOBx/GlH+KU74A2LSccycKwSKt85nSBLFkGhATfb4bQOnu5MIGg2zeJe+/lerx6Gu2kAHRXe1I/8JdoFHrI10eh4DE39VSbmyrYySssmspjWjiI7J0nAtc4nrznmfLabaYjqMNvzapLQSkkxpXeUTHFdIU3YT8EJzRY9AnF473LVdA9aBaJULz1q7j5dKhLHDCj6DwqF3bXMKoctVDFrmH8syykBpZoGWocMe/LSr3Tf97uf/y5zIsUsbQKVQ54VXNJ0EPVDbnSiBTN9B4Zw+aTOFHhWdh6Y87BrgjTUayqUPJvuEfIRUeKNZquN50YD5roCFQzFNlwMgi2BHSkmiDFgvQTWpeESnOcRgISeD3gJILJExLOu2MYVex3KT8WdgRK+sgKIqEo7Q10R2qwAHwZinDuzL8P6oFs+pY5iWQkX3Bmv4QXFqRmPHi8j2iXr/HSXanpuHpwmkMQIDZ0iuP6gxlRxMt0o0EV5jcpmMhr3PaPYr/2oxFrI4If4JjXMNVgjgX4do/0BhTITDb9JDkr2aYvmPM9GRUTXRRs73QnFEsRMuiFBZikA1o9bN8MjyiNRwIDnvLy4PIy651M/Xp8hcBxadNBRzKePfr4N0/bDwDKZ6GUq7I5vpsVw8v/MuWTvtK1HID3cUaVF40AtD75czZbbJj0k0IZO+omC87NIexdUEs06BFQtLL8rujkgjralMKu1yOKHjQc89dmJFYauFTEC9kZ6vCGgpmXJnPLNvLA+2Hbf/TlhtLE6OVYwPUkOSxmOs2jDhehqpaDumBaG6du+lwGBNVME3wVSoMhNWwWQCX1uWyY3VkaB0I0TrAatuGBMLVZKUMvQbb6PeB8v1ZUZ+2addWXH0gBP2bJzKQ/T3JxlOHvgMtyLfylou5RgcEezxuS5qW5sEt0AsYp7kMWEKGbH2zRuBnKRIb4K0lH4YaHW1Fdw0o6hRcnXnl5AFjnRMUFpaAZy72FuxCzKxxX4nBynusT1i7dqahBkALM0RGrDdhugKrPVhNj/IKPL3Ld8ccphpWP3bqshC1INfdTEoZI15c1ARobi3r5FKQhCDj1A7xyYG7nv7zl+hP7gcMwqU8tPUBsvicBWh+L3JDP7h3cMzwn7hN2sMSpUOLHHl3xoDK8MKkdOitVaNstLHsl60wPmKN2bbRxxGI7ZY3vrww1voOoH9Xs3aRRPbVFaIHeO2+koGB1mrMaqZVEQWLKE7frs38GlykvFSQ3066/R9QS8LfEXydBXypJEW7ARdL/1XTaxk5UjX8cX1V2HsLMOPk5mLcETSL1f7UJfSqdyvfN5Zyf1zeZURycu0xdGLYNBhhY1VuBlqrhPcY9HFI6oCGqxEfYLZQnToKTJUyLi/ZedQIdLEa2X2QSgJBRvGL4ZfhMKNbMq7x7++SuIsKNuJgxwUXOeyDLRA02rWbDgRKEocj42rxx2JuOE6VvPsaaOj905JuAE142FcauL44zj1BLhMPymQjhEaH8gA0je+hCURp3qj8+zR4rNlL+YmG+nIJGrnPShMwv/bzmY9LymO1M8ibn49Wd+KQTJZ7ZKtHu4328t88ta2ooxXEVPjF7oLssFh0EBt0OkwG6C0SXkZFKXNMHCQ2Fp37aJ+wbBFJ+mpxBQZJTlu51u9VAknokuweH4SrmD8gcID9z+OlEqboygRAZIUkXm8DbXw80be+OO7LSJMYebK/XR5r3tvgSxDc+UnBec7+PF88Tz5ECSQAll3VH0ZeKBo5hb5+ra5fRWwnr2ddbwptqPjt/iWGbwsX18rcIlCz/wuWNBx9P3y4CLGE3bL71Wo6p792FVD4b+SFG9TPTPsTnOEpcvmZCWVHtDdis5PmCE4e0Eje9teoCYOLIAfBq1PtO/F+SoivbQcwCIZo3oGdALhrmVW/CAA/y8V7BTuzzpVvdfBfYEgUHfcQSK96TQpE4Iv6tYm3/OeMDXkcQmZtGeWQMYhftQNOhkcufSIetPHSUY3FROZ4bOj+3OXkpsksQU+1X47gqsB6fwwaY0OauzDCV364KWeyqvFqsEX7sw/W8xnnMLMPkaX1ZN+eUjWLEjejy36jrYAkHnLMiZomgRc7DCzL0D2jH/yP0IVwej760EXH6dKnJ8UVS4p+CH++frjLxbcoMD5hG7OViSMmPfCMrpy5GoG5vPKv0S0vn6L+GM/IN9mzYNJje9NaLiA94QEIaaOKvNsN/1kJXN6NxLwQl0JSbRim9jIcNLcEYsiIsSOTB6/qwHZ+I3T4wyaCTR0xGFH+/9ktjdKtN/vVAq2eFDjwZUS77FBK2wkTeU3Vt3AS6gNmZGCtFZvRPLSy2UOt2py5NsvcQcO6ovDALhXMkiTd5mQiouVfSD+AqvQAP0AtAi18dyV+EeGxRKZ09H0FyNaCkS8xkZI1zbkQhMSMUhu9gy2pVFKuvwNfs5JGedbunxSK6oinNzGLSTGTbMBacrFkDXhsk5ux48q66Lp1PHIVV3XUjk95ZMf1DmtL5XxgNOOITpSG44Vh2bfgimLeQTgHUk/bfr+IwKP2narAoPFQAb+lD+FzR/CA7cIVFvNwbf0d2v8mAnR3ybFC/HOwNEWutL/j7tHV1iHVTVDkIIIk0aA/3vQaFJlonb0wKekmh+Rwzq3keLlvBzdh0vwhfqWPtlmD6FFfDfWnrPcwFMWwMVYYtC0oab7V5EsbfO0YBXOO32zRyuttHeIUgKDJPBsMXOuxv4GJuroyfOctMx7gxkYpWfihgixPV37aDYaxV6VUB55uVo4DhXN6Zgj8V276DEmX+boQTcZ7RSFt0KAq/ZILqnm90HOVJRjgCWseqrbPVxinitvBWXSxWw1DM/F7kPHHzKhX2/DUR8BV3OETY2M6sjhITWI2MRAW7MljcTUnobs02yyVnp1eMp3yAWugO1NciBYQydUn2SwdsMy2zfjfz3vW0eRlVpieq5oYJ65v6sOJN5YcluiZ1B61pGbyYPe35cPen5CdBdrHhsexEDhHC+EktB/I9ZEaHMKOuhM5qLje6azHOOX7jMPjMzX1pQ77D4g9rsDFPs8h/Ridxgp/U/stHGqcWyVzYnxKNDFRQvueTKz2s2YHhhfMqAxTAFgYq/99mGx5/JmVH7P6eZKIvHTcxLRVSGzonfGzWpYFzuXFrC8orczM8e/cbGnl66A629hGoZw7NH5T0HzTyTWY5UU7XT2FRIm4Ycmip8inPFH5dlYvg5/D6lk8qF8tbMQZQlxh4Fx4tLvXaEOd+sBUd7I4ByeUGSs8UCah4719+pSCc3kw3+B3Yh1BMzYZzpXnG0RCPrM8TWj9zZ8++34kGriimI2n6MVbfWgCPHRujf1LGfndHCrVqVQwVKaHxqrs+5VjN0gCdCtA9EuQuBh6Tuzeon6wWRsyv7QtVl0sggijkQMF1MxNI8tCTSVrU/HgY47mH2fxZcn6GB8xua2Wk26VJuoA3SOKu260MEUXyIimE3+X+esN5bVe96KBZYasLIxgSS5aht7my2LSzf/B3lW62G6ZTwGSffper3+iuSSUBahn+te3ubmqcqQ44yClVXvVi7MHqpL4qaWDYlmjRbAu5qNB7ZrNjpOSI/FhTZ7D5p+bx8nabO8hbKmdr+G8FnkpeR1ULcUM+OJcCFFkf5E9mdQhVZXiJUW0pahgTdyIlLeYHhgNpaJhZacjCyDrR18n8VNdBOZ10rqM7iDa3MiTCk++/DY0+hlJaOkDRZsSmHyhKJQHQUtYgLFgX8nLF9BXGaMUvMfrbjn9h+RmJoMPcenRZTMSIc7DLl+B9xKZ4DtDCtCF7i9nKIfz0P3KSzE1XgvndElAndBDxHD+eEipptPSF4Mc6d5l+xpmpxsClPZWa7k5F7zjo0qTD5i3w8GOqZ+BCDfsObd74UQkRJUSU5nsp0tFQif+/oEZDWIGPPgDi7++qccdwpCWd9kebU4MXxppmhopFeIj84NekjQfu15go127sXeeDarwzhvbK4os2l8iwoz8j8+amuuo8ZavDDpHyXDdr2Dmn792OsVwu1/L2eM6yIKXue2aG/Fv8C85Kq4WpOCP2AD4LBS4SwdKGH5beANlNYVPKbDsPNRbiczIdE9QKd1kzMybNvsnOdtc5jurC8aj0zJqPYn7lKXXlEprEn3BJqAkobqD0L6W/UA4gRWIVkvUhgTfy0RqOf4XxBUJe31baVqhm6qqfQlbWq7CWVQZEd2mkEaIrLYDLmWQniTixNJWrkBp+K+1H6kiayxJUm1/Y29KF9kZfckP4DF+ljyljEE3mxbOrJETU/6x/QT3mrrHpGZjiaN+iY6xNBtQADqiEKoCwvBOlADKoS7zlQhWHA2FzflghQ3kjVoSdiVU9CwV6zAHlA2v05xTjXwvu4UhtQNCHA1bhColT9U6C+Z5cEwgKT3Qzz7+KreYU/xRypPAfjlanr81bPhqypkN/iBPSLayi+2R7n2s5h26GGI2CU29lnX6nS85zoQgbQi5Mj9wJH/hFea8k7H8QTs6ABOsRVxSlRSm9FfZFabwwSu5iqSJy+/JILZMwanSbPJ5dbMQkvuo1qh3fjE8RLuTscaarhcYBDeOzRMo5BaZXFBLX4OvbiW9q1oQhK1UN//LeNjq2wCXmGHeQSMzMnT3YtUExs9tigNzNDQDFXk8YE70pWmNcv/4vHa3Xs/qH3lUHit7AzcvAz1qWA7rj4LFePBtJBcgM6C8EeXYCHKygKnkSkvjeJbXI+6ysq+3vXq54OsIWJnOqexQ8qvqphJcGy+wSmH7zBMzLVyC7UxajuoEXBfi7VlHEnmlGg7KMCYckBqSA2vbBhNic5WR6zhHNqoENhFM2IikDDT9dRY1RxHZqHfDPPc063oYK0Z1A6kbWeXHwpJL0Sa/I6k/Pu7aDS37HULuGSETiZbBPhCW1RLX51PKr5o3hB5ae/sJfmkvURy/QvRLN2uCeIWr0Bo4+Chd0CBDCyUmWaKs1/6Z1mCCcy9AAscH5cPz/wuU7TU1IpwMFqmIyulb7SYOFQz2Nan574qZ3iBtw0lmmd/uN5UXYxZ7G5ZA9idSaBe6wM80+cypEPF35zM7Sk9G4iCDnw3xE4XZ8gMCUWXeJ17HtiB9h7pG/++SF9CEWS/Y0LMXvUHKjy1/bOtd5jgH8Nt815Rx21I0xcCbV1nmkTahA9UMb70pbcH02WR717tjHtjsloDxUyfWYYwdHREFvuOFSSjuO4k4jmLZcp8mpeZ7IMjVj50tGW9oYDDKmJDl/pTUSWIe+oJsR8fbkemT8Ohx7xEzj3I3bfn7eHliGhm7VsO8XZy601u6FMxDVkuwdqdZbFeFhPU3f53BCCONRStz3Vm3Jt60oDrOhwkBrIAU3TRakMqV0thi0BruVN/cqVDp4Ktrma2QZfboaFOMuGT/nTWcKMGsdm72KI8rahIt/+MbIV9/Qipbx1DaXrm4fQWRU9GyiDM4JcvuShRf6HK4jbSiO5qx63Y+OlGkcUApeVRYdVMQZzt/JLZBPNHp0aGrHV3aHSgf4WlHc421Tl4b6qtvKOCyPTYnETCEl+XVB2TTW+0108f/RLIpQDjGvmLtQUSY8KhQlHOXLgfxpfAl6bmIUsFgd9HjbKNR48joBZl/G5lEgPBjo3R2ska5143wpvG8F8WugVWQSTd7njVrdeiKQAreiOA+ypFczZlSMdGJYh+kUDRfUmy3J4Jc8mZZIvR6LfFsQLX1l1uAXg4wdNb8SXKGpWmwIkD/d2kBQbZU1/t775dPMU/sc9+GUYpiRZLwQvne3gAc5Cq77z1GR6DqvRlL4r2tTusQwWFVLZ27G4GLN4BXhRce5+NfS5Wrzsv8imgAcK6wrIAXzvTX1dDIOxXsuduCpg4VTD5ec8ltqI0yGYPrnYrwpX0tCMHN5wRln7l6BXVzA8F8B1JgYBX1jf/ogKKrLaWseclMYRxztcJ8Y619yC+6hXorESYVny8gGvLf8B+oGmSSi1c9KgcajDDjtuMs7bQ5mDskwJlkh3owQsB+hJRetRpZJxpoq7R0IamgGX4hINzfsAh20feHrF6DQsdBSaigkAjQGuDf7N4Spr9IrSnYeT1UHsBOmkuoJ6+Clz1JNAJubfW0X6j61IusiWLJ9ehCLSlwBMmw8iefEtnfFKE/RhhNlRomKLkotMNY+EmpJUtm03ZJ48Ko7cA6NoV2xXBs0d2ftDtouo2KPL6U/BVyOlZC5WAraCzQRKXUmMItWU2QbRHXi/3+Uw56HCoM/in4GIhYr+pLQac9rHzeSQ8D9Lf03GJMI9X56v1imbRQY4wK/cJlBoSDkQQoeAsAMY483W6h5WKoCzsI5I7oKn8EybP4I46ef/jTYg/296MgMSAcePWIW46bqWtQC52b2uAIE9n8V31J5xVfYO2dpTYg0OSH8F1waQaMX0jW8T5tz5fXD+CDbsEHCvXrUxDa9yo1KWj6yDAc4G+1+wAAZ1tamfmnzSm9MvlFrSIGm+g9zWOrBs8mz/X30Af8lL562danoy+31RFMP9ONiizf4d7aluP1KtFU5B07X3o5N5GUK/oOniE/7NERsReVRbsX6gnURi19a8r+/ChsiYq3g7OCsYDcfivimfAOpHRBQ0uya5U4B+9G1i1ihyFIW/mhMdM1QkUmv0R1PVAUBsSev6N3DfmW1ucivXZNDpMzyC+au/dXgF8mjrrJth93q9q9Ccum55i+XAyztrrp463NUhE2JXiv291ma6msIlluIbQCoZHtELUclU58tjJa4lbuqpyARbsOGmBsv+IHHxu7IEmncrhYwXC2VDhM6leFtoBf6TidQfxD6A32+t3OMaBSeCSyQG7nXw2H3ln1fhGIJ/7OmrHXxT8NEcKnrKuoPNSqkQiAQtimEFywsGKH0W45IzEKJYDFkO8vfXeMY9StYxDTtakSAz48qYCN/JWzgsuBR6YXOEg4RpMK5saHJH9Eaj63mN99SJEfEKHEWwiv9eWM5cWOoUdgac0fygkK4/5/mp99DMAh4WJT2N6B81v0lElnQAdrIXT0dGpcjTI4FxGZdzYVGVzKH7wjZl98ZQ9qB2gMWxAvb5bvroary0rN2CJLFMHg/6bn4tcFKBDfSCPVjqFZG8A4mkjEzx6Th5JPYe2yOHAy9f0u2vOdqPZEMp0U87vuOwcTKmGYuhbQgJts5RDTVRK3iSOT+M2eAwqsXMpnJWCpLOOFM6SepussTpMJU1ESka6XnmQALxvCckVzqc8HfjdA36olPCo7+KlbQCkrRyXfN0Nf9NoSTaouN/48EWeh3sDur9ebAjr5B8oB1LZnWf7Ygb57N4AQ2jFcO0xM7gZnUrsMAk7wTnoHL1oHGih4xDUGKvVlmHWrKLIz3QI0i7huoxmQXRWq9TpYv5xVIX+IfIJDLe4lYckDDsOWm0Vn8Ly3yF4YIszO7otJoxA58+DHx5G1cIXeObj4pYUU5PNWt5TJTu/dYc+CaDogKCH4obQbj8u2lWBthhC1RTmig6cPrQcxxad5io/JI92m+1+QHhW+sKa2AaoKALte2IMvL0B72xLiaMdxB0dYA6uartXfrPqW+TpiT1hEJlaZffPt3BSXl4UoR71I1+9gREBCk9R2EP+Kw29nhZuXcGTBEYr8OxR+FuyAPjPcpxb2ApFNHIoHKZBN8sRhQXpjeHIpNLQTG33peh+NPplDzVMhpGwM0/IoABVZw/pLHbATRbBOdoRGAkJY2NKlnNRHLEc0FxJQc02unULdqf6qYq+by0ISmDKDTOAtydQi28A5D8TgSCnBfif5vUSQJqw9hBGx2FwEQ+aAvZHVA/zc9jaJGuGhVLx3B/sCWvtBHaGFfYOAwIAUjvqCXT+m/Rzh+ZLnXqqnzsveg1ZdSWvcjDOwk7V7UbbxmBcMhAORmE3ue0doDwXLO9CsfkripCgc7f21JaE+jnff1s4qIM/GL6l4j5Bs9A793SmeTmPWUqAMBezqLXxc/o3qXz1hgQKknFEYzTD82goiwaMzxYnzrMmWlaO8Bd8VoS5VUEp9a/+38J6AKpQ7QIeV4tdgE8+nGPqr2oU2099PYx+/yfaAWYbnm2SafDZkwRDVhVaEneoIR1KmfjrD9kXkcYuXiADm1ABwbQFcCL/NjVW6wy/pX8AMduVPhqV37JQnxsMoz6tjBPwN87oZfHc9yd+zctLJqDfBeADf4RHJ4ClRgU9g1qpckZLfjpAfK9kijdCjYLwbKLTjljNcVVoVhaX5aijW7iGEtheNi9HmpKC4tytX5TPrst2g+aUK85VvnfrkpbQUtrWACYISmWY0oqXVxp5Oz6LLqGmPleuvUQRf/vVJnH8EuSoePHVA62ugecRkJMaP3GNUGxnWsPcvcNZAwdRr3tZTSsBCEwD4LZcGJ1SOaFLKSUwpmyLYNJs+fO0Rqvrs7Ez9mrkScbkgy3qB0Vc80QmqLSeH5BVqWvYRMLEDqoW0Rpa8QQBw9iRN/iu7ToZ41eRKzT9CEZfhSKeVLHAZRWZgP4RJqmTLo6HJCIBJwlh/DC7uR6n/+aE5ydxJrT0I2PfoT9b9Pn7eF9utwSTr+ZnxZuNP++E3829g3LPOu6PjqZv5fuj2FWoGO2HlLGdmy5mWnGuim1iHCo6HZBpQAxLMJTVRsIwijFComkF1NycrSznIHxjfAzSPPI1z0fhN7aWXrnjFnkQ/tkw9jLyPBVi/eQQRR8qNbRifLxMyciHIYnMXyANqBn5h8Qxrj+ZNQmo7lrJMKL/YUO/VBuZnBEYl5yfII/2+bnhK/QOGca1D2AEXMc9rU5pK5ZFjKqAmJQWYLk5OnH5cQpwDXDLROdB4bIXY1GfeYaRkr2+/jC2DsXPLee27irOZdZpWaq2qMLMj+NXxmP+Tjxo6jHKWWaiCdx+qFJz8+GKo00kr8m5NAYKK1aOaOpDP9z2U6fGTfm5m9/to3Y/b6Z9iO1zUDE55PVKa9o2xXcJjXUBwP8LZV5n9a7cirT6aUubhjzqXZZvux2aY3RY6hCDpsvng8HLWb50Fysob2bAcNKiXa0oZsi6UdFmltob0lDeL+G2Y3wPRYcgQntxqyujCeqMczuiTbTMACfaY+4l6U2NGSm1H+pQ5zKvEvIWxbRkFKLufyeFO2TFxAb6ps6ASUkMZayEcLyB3hlRNl7ggm9TrzssJSK/IvrTT6E3Bj5SlMVtDRVCIkOODInJAZBlWx6zwctDhslF+eNfxoQapOJ4TRjUXsZxyYv35ct8gmc+hLthdnshIwoot8w4RTBuy1r3RgLNinXw0FMZ39Iw2xUtGjMstM+CVPSLAk4aOqbYTGu6VVSpQLMCHkt6F2egO1ma0rBntpt+nkN4IJ23fc/WQ7QgDqWxT5YUSmiHuw3N79xWcsyhyd5ZvXW863eFJRmTb0uBMAHEiaCSI4FHNE2txqldvGBh6Fz6ZULpkyDpmHPi4HznujJeBdhBgI2pgDdQq8bUS6FEJTCdE6R8mlpbnQI4kLHUVXaoaF8x/ddjliBjxCDL7pgjZNs49XlnKo84Uyy75V76QtFbMqWxoOCyLVlXdvYCPe8CUbf+B+NlAzPaAYfz97mCTZjn1MNSntp5/FZAEjQRrNDbVnN+ctkJ8nX2Px7q+JwO7XSIT2qOyHaNUDtI6sFiJOHJSkRBUkrl4acREgZGF4vsEb5g0EU3c+XNi6US6z/IyqjAemZaYEyA7BTZeCH0ccPJgia/1qpUt3Xu7PwPoZwoBVbt8aMyuXfSD0mUP/cSD3jagpkVgs6K3LrXeiNIWV9ZcibPgTTjLcZjEzmjRCgQjmafeWR+rKF3KDuM7dopSxSlnH4ZECJTnz5Nyf/5lQ4Xj5m1JUD/Ocm8a8GxYBBO8m1QuIlE20aMJjX+Mq9rgHg3gTRE/Uh1LezDXQtz62X0Bg24jkvlRJsr40EeWphQitUFddQX5ylBuYPafIhTdLPpmddjazjC21/jto+Z+Sias3ZoNZ/VpBVJ2aYvs3IwyLLvgUwD9VjlxQRck/sEJGpPNo4GTiG5zP6DjSSY73S5cBFJ30cZSz4mluUukMLi0cKU2XTkZ/Y13Ju3Uwo2A5OIkxR5hbymdHOYDUrgxXUtkTCweiM11raELGgFFZ7sGzYbsPLArksnA3W5TJcTjK/o8IqkrZ/7BOaEMOK901IZDeP74CVvfc3w/zmBPHLTAaoFh2B4Peh8Krq35/LN/z/UJSVIGhNFlLFJ/ngOs1MWD5FpW62ZUoVWydWGFAX3ns7ZdXgm8WuKis4m798K/k7SoKjJk1QAb1iklslltMx/flMpQ3LoZrNJnJfg82+kbNNk583QoxH5j2jEYqEcHNAn58rwZTm7z+n7N/tjineA8IFdKQtn6REoorVNzeydaCeo1lzIEHIU/P+HXYYSk5YB1iCrozsPR59WAzQUSxWUf/m1C5ACPPxZQKrJLzlZw6GgftMhO++fzxPInFDgp11lgAhdlnfsg1Hv00fLx1yp4HXF99tB925bwRaaLMoxl1VuPKCyR4ByeROe4XJ2UL7qFelElC7zZyynpU33K5Ot+3a/LaYLkz8UZPUeY2jQzbxf/oI5pHdIpdIbLkbb3XIgCdZEw60e/jAoMC4kO+sCsVgJKtXRaghlxTdAVYHX6RFMA4XbwNY8BqdAg7K5r07mEKb8tY/xzU7CXSVwWbZHTZwFWWSbVMfuL2SsugshrHpmEqMG3xkGiGjXLyeuxks2EHR6dt8VUBI3zk1lUf8FWFqt3Tlf+6clkEbGePnO8uvWU3JhurejMze/H+kmz9sBolVUXx7E4maOq0a9vK2Ke9RkV+bCq5QwhHKye2SgvttgaP9l5YF83D3w9RfEJ5TxbFfeWJa9HDYIPvXmOz6FNqdkNq1z3nPXXfLFztuFQkJsooDNuHEwzVRyS88W0gD+rogYuzwGaXmDN9N8TeZiJZoP4EGoTkjB+IyVPueFt9Uqd695SBVDxkKSD0qrApxqYCmvj2TVWZcHYl313t7ahMrLK5IH1rRn+fwxZudTk8wFPGlBJsiiEQQj8+4ysuY7iGyr9pDNW+c+Cg+t6roCHfyPC6GZH5zw+5d4ZkWJG1Ihrw5VeJhkojoMtDGIz1Hov2x6GdaaOrVyOzXKi+f478ZqIIY3GA/4ViZNXlKjtZ/jEhv14DIVFrPj1B7JHQCpn6BEv8Nkf7v/xqdd3ybkeTrii4WBMy6srdbVdk0W7osIZPPkeoS4aCLp9zogGtqG0V/8LQjVyX7ZK6uOSjJbCvzM8UY2izG8IKdtXPsM522krZqFoXCh66oO+6UNTSez7tSbWx41hScTMFUETwf5SToDDlaT2NZKFDU1nUHNQaYpkQcacjUrl1XqaVVhwdDDFbr+mcfKn0+KiMV7pcsA2dFOe/8mYUmR2yZDimJquP+3D5LZaF/M5Exjgh3RPwNjZeADMPDIy9ZLWxWARFPOSnWUHtQf5NrpoAq/BbuwCfPgliSBSueOQjr1DXl9rIXc5yb03WkJhnwhk1kbw5o3uq2uLaL5Pfbg8qrWav9YJh+Em/LnHP7+UUaSUTGQQ6WNoAmqPDS0nYCadliqAz8Kn7S/V6wALD4PgE5anjpiWckXwuT44/FwUbJA2+sWXyhEuKBg6CZxIZGwQFM30Q+CNvPfewJoU+3jVNsXtzSVkziK19mZqeXtDQp/nTjMIcIWZ8UDYowNoIKezxA4wtncxZHh/9Js17z/Vq17Eew/B4CP23IupT9/WzUu0mrBKhzn6bBBFPyhnMs+0ZYt59VPZD3kqnN5Pp1kJ8hFII6oNglE3RtTrvmrkQSvilZXCRs6rICweTq2lvRuWuWHwpURgQzDcv47Wf373AxikbbJIDiS2iRZifwksppgC0yl+RgUQ/17zwyZF/ulKdDQ5oRG8UgtdJyk9QWT9nm5U9EuM6ZzTydSxKHhIfXH6tqtjqz6IhPrOmGyAWtkqDgjvi6yXGhU3Ih2vv7Py9wxaL5gjaiGXM0agOmvf69gTdYOwpQRk6qAh+iBFsaKVW++qJittSp9UQHmLa/1oaK2YgaHPpgGHaVNbMClVDs5sT6aoBmueIaX/YQ1v8cJy5pZmaiKmoU0nzXg+lCPCXB1QT8gye1GAObc7+7bi5hEkyypmv16TNKTgjfdGEo050fK/ztXVUDCNAyDFnxp7i6J/YRGZBRyWUKLo+fRpDLEZECRnZzW+6K218SyOzFiyh2l37MnzUdl1HKR/gSMjKd07zGeQb1AdquKN36VMYQjHolWYFB69Ss7zYUtiIrTBCQ2RoUrqAcbBbipjKigvGYPTgnXlQ8g7voZlUUfpt0iVrMQQBOM8R4DDTXZOI6zizYYfwW+gDnDXDvOkqa29hU5/JXL4spsigih/TS83w4gqni7BsJ973GCdkUd/2DkcjA0FgX+dNeo2uM15zIrveMNHE1lHmI7xVhDI7lo7e2C61RzQaum/R16RiYFoiP4ypisEnA51OftWV/4WX+cr700HW8+6F8deYE21XNIiWJwb+sAXAQX3X/yoUh3onxKxQzMGmsC4a1t4ksf+0JU0UdA0IK2S8JaPilSS3nWfbjBV+BTOl7TpNwUPkUr9w7qXfdVAMuqF6i3L8J8KUNHQE+jc0B+vh1+QogXLnq7r4xQO3SZfkqKviAjcIfQsENn2ngV6886shErFjCYzYic9TCw+5TC10IzHjJZxanUAZ65jC/hJEI6HGUFxY0npFCjVayzyb1sBJyabIObc4146eW5o5lCCtSmLqTpLrkoXOHQZk0ebO7Qx+B5S7FTJsKtIGm5NfiGUSxxoxneLbIKexYbK4QXSYIBWj5srBaiwQg8SX+5Lvo1af8Wa7bQO2AQaYTTe3EdDSY6izsbaEbGleH/2z89y386pN4kkB8eDM39JhVlZLPMJ/Al0shaWBu9Rrwi4Ez363SoFAsmI55ffawPrwMCFtDbJEViSRo/d+VLNkfGhBV+u8WqjmKU0G13agJb4EiswhoOfBnjhSVHIf4cDLeDBA15xe39LE6qljIa367EbK3+71ArOBPCF36QXXSbsN5uwJxJUHs2TvMb/guf7ZUPaju/QOZlRj4Uoonna2IqhEWcX6sRDNI0ZXI0XHwP9jXX4uBkKS584eOjSOeRohnFZiDxudYxFZFZAeM+NAVWsVyKXBZC8uvKAvRniR0lmVi5PN0iuXoWXhQdZx2/vOQLlFlaPZltEFM6fYERX+DdRkkRmViaM2jLUrdk1u8yNfRuldLaexFtYuO/7QsDh+xwT+/MWKsvH/th1h1Sjf1riLXhPLyS8r/jaK/rb6cKmIEKTXZeiInvwm1oA466eTViOtW1/exYhIDIfA1FU0DS1HaYCMfIk5UsSREdhDJxjHQdP7zvo0TWh7vhYNQTIiLCSnlav4UcHUxKqLGj/AytQDSCN7+ZBVlmdwpY7kiJ6rGKmGjgXFcUE3Dm4prLh3l3+pcLU7iZi6InS4Lz4DONuss3UEfLy2dkUl+ZK62OBIStAmF5dpkFzNLmCB//hpyewdy0Vs1j43L1/SajYf9MHlBBO/KPhhPo+gr4LqoqkqFlPQAuMpECCnfhYCCCWS4/CoCrpc4esaiNcItxXtUuWZnDeWtcIcZ2LniH2ZF+3/pkDIockt7qwEiA2KZpJDurZwqk0BJt4gEWZlDBiZX7wLgMAI6XgXcmtI06Kj+gNpjPkHo+bKEbcFtByKE7gcsSk7LayrsUlqstGN6owEkdsx+BilkMMSv4By9X8atdlMoC9Iw4JAOEiXLfXNdxqrFWxbWtg3CpkRo83iknorKANwAAHLwkEzinNjCg3G/HLGcJWmcoQkJRbGARA6ef4nWJiT/Mkk2PCS/r6GWwxJcTHfMi6gdx7c8VN3FXwiQ4nbqj9YiN/sryeB54ZE07YN5wDXxd/B1KLoE3Vi9ff5iWgu88diXISAEyJxMa2csZT7WPvDph/qDc73Vjlia+6fNRmV8F6Urs9aD3kpEHpXoeI+DmnOq0xLllNbQFrPt+9R7ZhxgHJYpZxY77nap+bD2xygu/bBE4hcLuzlxbGuOkubRqELeiw2gdy2d68sdPDgWzsOTp3ku+4GNEpGhH18bTz/YPMGhU28Gef/Wi6nQlsvENfKnMAYmvaMEAfBx33U/IBzT0G5yrhTajTH2owGet+vhWkJLmKrqgb3yJyVE/LDZ1me0nmLsRq0meENo/J19/bcolE9XHEHoN0uMhRtyt2u/BzbW5K/YgJOxNdPJpv8c3+kg1i+gJ8q+ioHtdPYQJOydO5TwG7P4s29+ENW8wGQj91JPqaaB7hXY+4J4+FQjya6wPQHEn2sWv8f7ezZppoSz4zdit8YvcOaMlx4kkiopWUIMYkzYo8i5YI4oozjF3ZYTXcyEV/BW5ZmUV4dJ/08LHOnl7yuhwCjq7nr2pRxCDE/km6ZBlceyEXmCBxZo+95qyK2E3ljRwd8yosPAVM9rN3M+hbH/DHCeN5eAq6r2ymdEemolDBZ9ASpl6Nev5O0RM2ZGO7h9g8sjfV1EuOaPA6Lnyzl0Wk6vAq3oLGViIoCsuz99c21eQPHR8jL+SK7xDtw+odbs9l8B1hKqkGRQJUHSLCK044MFMIMgTlEtDfsk4Vz9L/VCfXfOKPRrZ23RGDfIJJZKbgWP3tcP4yUnWLQk0SAlqcRW64KraMlRINxVQO1VMhh8PwHK6B4KUnj7Aef+6Bb9q37G1stxipy3+TpXGh6rkBmtjNd1jO8tiFgu/m896eyTFSw8PErK96F1lfAtGOKtsvqBwL04vQaz3XeJWDwgz3GvxmblU9Wq4wVQSYZoSDT3VPvYJgSU1on8nb6pOe9MKNHRlUhUd47kMqY/G5W2R9msD4L/50i/KDxuhlrXK2amq5MAi3fvHheFBLF3BumKUaMT11KENyE73tAjxyJD8CMCpu9Wi1hDB06GesU5I0oyhVLyMwC5b9HuT0b36GXWJTr2J8D7YCQ63gHJ/JCdv1EQUcItmQreyUwOPRNcT0bpOQBG6URNof7QlRqutRO/WhxPr5A6xagEIUDWZxDyWxbQ44+VJcLGLBGMRdhDQIGpufKu18RHqG6iyWuOjpP7Qh+FAK+sJH6FWpqYRrRKb1cQ7cj5/7QlrR4S7EdVG+hHltywdBqjmlXO+ASAQjpPeVbmL6FMrO78heNLAkpPR7lgcOjUstUJG5fYJI/zg8bS5Hc7ElhrAjD29IO9B8hKG+WLuK8sgf6Xi17Sq8fQEZjryhgm98bWcLrQJGrV2GoZ87uSpQ5MF3OemeX9NKdJMGSllindUNQg94zhFrzuvopB9dV6Zpmf+r2sUuGF4alYlB8W+n33WXgjHH1gjWHtsdDIQ46L+duN1vM+rRvqjcAaazDulKH+FI75G25xL95yhSWyiBPmtBXaLTbMMEFO/Z89h6TiWDNXLKqaKJyrqnV5PaaCuWEeRZ7GX2EIZHpiL0njeL7vf36X8ZWM0ek0RBp/tPexH+TdrCDGKK1YOmsMbRhPs+dZRhaZc4IVD8wcVUlVV8eCmb4xXQZV1At4NuyiPCva4aFVzrqL5Mj6fSsEyApZqX4/vXdhHMkVbFZEMJUUSKT9WTn5+eq2+PB9lWcGr4qbGz8alGMRGi+y0kZVJFAlqosTDjoaHdSuX4uUQpCsTU5BGRANlQCu7rVuYW2+XDD4gv34LJ4+t9sYvI7PzJkgKLruIrNMS74aDAYsmgA+k3M/Ox75ka/zPm1jitZaJ/ofmRATDRCrVxV+M37yzdH8u9LWZ7hb9+zG/+2vidYTBRL9OoMBgipho+gWHTazMVhTw3Q6749VCG6Dsbds/Xw0Q+W0QG1/gSa1UBDBWxCJJBj08fbjex1iRLzlaVteb1WiMCoxreid6dwWryG7EKbxJmQYFNQXPmD4QeYRVHfzcwg794aPr+a0mzPnYIqVkURfQxgpAXZ74H3GedbwaIX76y06RjX6+vGiG/8SES93hPudobrH02iNreBv8zcpaIDHxFoo5i2QjPbdqaskLWX+UlQUsz85RS/biOY/CkKE8GMxhxFcdKViUStoLfX341bGLENwFR0sSx6KNSnN+DS9OGYwTyo6xW2fE6UAnWzN9XIYf6XBcy/NICfSjgTKaj8vebK9yYEteFGBE+zZO9xf2REEjLHveVAovkFKiH3ZLKO/qBW9qkNygtbK4ykqhmTZ8G3hiy37kanOxLbOmrc3BDJS9BblnDbrvSzCSvuKpeR/6RlA5QLQGUiAm5SVXQc1CyPFIQz6DA4fZ9V4sz9XWND0yySvcH2xouzz9sJsgLGHUNPQovJvQGkXq0d2ls4gpXNGikl8fw49jB7Qq5Bcf7mfgqVJuk8yhX+yllX1vkLt3xLuEL9a9+4PsFzgRpq5S49+YnWys+sorcWUkeDt9VYP3keflgcV+xYmzZ1gCUCjwO+FPsuwsm5Vfrx3cOYGUaLNhgCZWrQag9MjTndTY3kR+khMCXFfjqa2+0yeXy2TuMuPYAHLX/cDGBqa3g/l1B9e2wHbwGg5YhoGUOL+1+JJ/3THMaPzXbW7JaEAsm9WQEDnnCp6CNjo5X5l0c9ufA/K7vykvgCw4SHnpc0Oh7kk8XtvxdAChz21fNnluwHZQACKIc20nq2Bn5OQmgafrQaFQM+nWkBOyA9UfGmPpsgV4yzXHfsPUJEbLEPa8VNInEm6dSgdcOv6Gul4M52f34AvWMos3tmgYdKb7FU+vwQqOz2gKM65l+rUBx4UwUMwno60aZ157ZN/KuIAZ0MkrKLSZcutOssLR/3EPMpG1HhYQXDP7weBtm3V6QiHmwjSgonT+Ko940H0l1jKyjiqANwoSVNQ8H2tiY3s6pv1/H9qOZZrVZSHOXPuZreD9k9e3uPNji9d9utKFQy9xxWkav3v9KUThnBDdlONpGttN8JGXq+UNVp6qB+d8B5A6JPQNb7CecXGpMaeEuhzZ9fK4/fqdgDjSIng0NLuDfXzQpBBE5jBQZ7grq3HvOZyhMWdDdZQtji47kMdWzpkjSm7kOXrbpIwtgRNsIZDLKeFuP8/aBuiCPfd9/JedoCHucWKsRo/kxdNcwZyjBCZD0tYDkvugqI34Z4gJsyJ9EBsIu13o8hT26KZ78WcKa2cJxUKkilvXlAcf4ak2PI2qDsTyTKf9Ez3UuVRjeFumj4ZVR+Y/Z27oJx3ILIYC04U3F6KYlAPaNukCGNxNT32s5YESeii/NVGFeAQ+L1vsO+8iPbrTIEnA7z89SeAoO3zHvemIyTovbHASyfypUOk4gGYxeDr6U3ZZYWfCoSVXz7y6W6wPeAMz8WJRbDsuq6ijaaiCTW+s1Ppkx2c4jn1j3kOF/JkxcBBQRnzp8Qfeoc6XPAN3O71ixYHUwtV2TqHNsF+whxp0OLlm74ptNf9pv0MLKuo1ePJL8AE8Dy9jM5/i+SxdhtrsJje4u7dLdZywwaFPq0x/foMCfSTJpIswVZj6ZosRfPWl0YTZNU2V1BFuo0qbrG0opjdtAMcVwwyDSA+eeLtrUExUc/Dh28PNTkBXC+XVm3dNi6qJBjDL0jDaNbBADdPI+wtC9GGQSULtkrYsCitCpd1uE5cMEX1MkYmeZTTylz2k2okEZaVbPhbM5qWTMtizmCnG4ugCYxrs72wyHFhE7/pW8qjzzQnv2PQ86/S4zaqt/Zh+HEGifLIgeKWY1TQGrfhV7pI16xq6EgZVd1Dv7A9Wxre/eXYQtFg8x88jR0eQaDs16fF9PKQYpjS4/X1SXanBFPAluU4FXKEEhN9o6JU/u7NiTfTKScgruay1y/u5b/UDszXpsqCL6ysdQkrt1EZ1qy6fZzcsIosukRogQqxeKSfTY7/NPB0/TxQiGiKyoCljeV5BHgKhWRC1qe+E4gtRe8G4Ntp3DU0jyHhiS1QUgc9W9U//HIR+o5xiK61BYBtJsx7srWu2iTPK4HancVgBiLXIAYrkW07HyudikWbRzqPFkBFghCtumOnSX/R6gRRVm1caGf6bZHEO54MYNn9M/Tw2pZ49+i+V0FlFnwYOSMb81oBCrQ9rXuScQR12hxF4T4nTwIt2F4ciyXNHqgaVgrYBbRGxwLGFI8i/UbylkiP7nnrdxj581l2T9QFhjjjbbtDaVUVyyX1LOPZnxHqYtyhFCPK1G9rJif0zmbsgV9Gn6hqhLcR4LfwN8J2B7bSkKiYClBzk0M2mfZQ5su3Es3FcUQzgO9e2Omanr3dgWxh3HHip++n/mRTgiApeSnHoTWTyJxpWj4NvWIFdDdTcl9h4Toe72+bynIQujJZ4TtHsGPURO2STYaNGjna7ahrY2BbN690CPbh1lklGW7h9+Rm4KOFzliKhJ4woaswVt1uML0vGnn4pGWJ8y54xxl2nFWYJIvQB+n7TC/lneHWBtKyKU+p13wd4jS4MLVmh7CnBBAqYNbaIZcLrLhRXMhZwDhCky20OwLEcJk6XtR0jM8IwYzwkOEYNQJi+7YvtzO9Fs+i0DP7WdCKZFwtsPt/WhZYGiE0Zxm/sDa3XMEd0zQNSg2sghPJfo1BRXTntQPs793K2B+yZPTnY7+PM/3BNP9M57l2cQdCLz/Enaf68G4QuBpG01DGrKHqoVjjReaDzfl994+yAktvCLJnJPUswslVcFwqIX1mV/07aYQvWl3bsctu5FwUpAtkTDeh6l3NyeyEdw+zRYjguiG5NuKIDEBCWiW/rkREKM5GdbLnx5jovB6c593Dq5TAxCmnGbSmguoaAlj9LWxMXIb2p6iv5hJTOYh/YL7K8+/HGnIcZuT9QQvi5/QIHpRk7r5rG69R210HPiugzkX9QAmcSspOm8rwBEKx4BO23CdmfjLjoMSizfJIads3u319FrLgpvV2Q6vIWDQ+CE0ue5+4IfE9D4N+qElvdr0PmDeQlio7xNb0ZLV/ZG/TKPgBPxPqozUyZKCZbpiU+o4Gxiq1gVPMkf7lcpLtU5c59y/8L+zL59A0+vjXmQ6L7HW23sezoa1nIdb3waQuPfPQmrKGuRz/O8GZqigKSH5GuUzCmYwz68p+gnCCcqvI/7aJmkaEo2COpF1Z/Mq+8JsnW0tXVdc+0kSo7lt9S3LvVMJp02KpVaCBO6bLYZXVVsQt9lJBwU4Y2A7iqffNGdKl+IwZfuyGWwXnJfW2gW5TIOKhe6DBOZCB7Y4QuG8lsBAbltqedvbCaK9h4eN1lFRdjFHhsOel5k+UODV2WKtxXRa6625crhY50pRSpjSBO/TSrP2J2L8u8vVuzf1PBg9wnpalLF8Lbz5qayD58sVM3J4euGB05XJ1HcKs4iCLsI70D4PkUFSJ+ZHqR9aVFo1aOZW8P+X2nkOhPDwcwj4M/bNkUby64BsJ9yCygy3gRlwSraLVgMymKnmw00r/tz0DUFk6YzgsD/1l3YKazXMtRHDcJcwGh012diqA5Em6A+67H5ODW+bmiq/8oVNCaab8e2MLnEIrfWkBIA/4ysB1wZuCZNgcp1cItM4wmMkZ8zVygCLXmCWsNOQQBJbSSG8C24+rK5/qKR74fXBsnIrwqOqj+SjdNprraOs5PhzwTOAKk366NNMcUg2qfCecV4+V/um3n7rLI96e+t3ZQkpbZb4Fk1AtmvQX+zSPc4yas/a8ytnlm/EwSRRIRULrG6UYReyxWeK17YiWMfsUqY9DNe3Owf75xwWXd1zui+u2t30C6C0CX3iHOS6dxMXsxujo8yjv8e0CBnYZqxZ6cLqQAn9S+wOpsSFE0FQ9qDWJ3Bwiuzpntk+I13zfl5LA1L4hyXoeVHPervnn1hM4xKgAaMufQyLRQP2Lx5qLq+PEX9AZd64Fv0C62yaiFFhYe9Mb3Wvx/yD2DRo7PzUWGJiO3k5/gsMSUY169CRgPuO3YNapE6+hr2OccykCYJxZH1MeLP7gRyIvLnvcOiIPc6+C87wHxxaQ0QlpawBSFusXFX//wXFxO2kI5YYCxb5s/l6mV2TOd1D/Tiw8Clawp1VadAAkHWPLkZ0gUOBkHhkEu7caiA4VqZnaHVYEYd4mMVl/q7FyAwwsrnOAuj91YJjsYFJ78zXvS4bi9ZtcVVJsj2s6B2wLXHiMsaiNhHfVde4Br0LFdjr0wjTArU9DtiX6ot292gEQUaKzy8hyGW4q4z5tceHrqFkcH4gbe/53T39QRi3j5EdrNm63kxIeAhWD10ad7BHADzU9Eoz8trIdWrR1JiwMtT+p0IEnttvirmLpNiNoIBZ1MbngzisD3veOVPtQeCDQMFKkepsBS6knCv8I0T+Twmu63n8zN7B1gTOoAoBGFHGkhf04ZsNM3XJyEnZijkpwzQVn/HfUJPc+Obtt+3NnDKvRJ/uYXCUAilYyuBgKIwJOwKyWmACSFZpMBjnxpGnN9+FXC6BaGqPKeQhy144EFPMrktr1fuzrr+13H3QaC3JufyrdOWhN4XCpmak8IsATyLSVBvOIrgatu38D2/V23maKttxHro9aDJp9AOlJM5RZpkwgwUxUD5sdCQ9cAzSoNF2iyWbbWtYHKpirVAeDStMPcQOmFbxDT19+5GgfzaRsgewwEotZevMro4vs8TPSjwzOSjFg+2IFkeDFVpcJ+xx1KiLl7D4Z4q2Dtb/UD9wptGz8viVwqadIeEX8MBL9uratUtajt4k+AbKURkB6Hj54qtnrIUMI8l2U62KZia26r68iKt+JBmFDu9kf6gX3hCsgdS684sMgYYV96e8QK5TU5KMGrO/MrJeydESXR4ft4JBI5iyM2oh21rO9X/VMDN2mlk3qHkVKl1rAwXM4DsZ/PAcUnmqgvqQ457UYY0tLLWNN0Ksa3jvC5b9pJhth0tYvh2oucrU+JH3TKILpzv2sHU3qRZeJtuGUMjJ4dPewDZQIvTYarlz1dMGwh4rnHs7+zis/DHfuRQMdeojfwKsCnDtyPUVk0Cpsn1MuEjlFH40rbhxIBbO9EMn8R3/c2U5Rnc+YZT5es68CX2z/fHYK4kKfRVUdkgRcEwXeaBcT9crCHqhnhzoH+didxxHsaUmUAjp8RJqV1MAOPkMFDV5h2WmGPs8SitECQQgwcVlMDmd2RoyaXgG2itkjRW+IDSn/SpGY0p2VZx5Zec4BHR9ePkJR1gsd20UwynykE5iV0EuClJomrhrfPYxLaY+t010mMxLHMHaTA/QBkbtW+2RiDgPHQDgAUlufLcAifPIJ9FG/CSOiQa2MI8QjYaWhHMwpw966CUteltHnqp1bTHo4TlycDAbO+8OdE5nsSu6ksF8vi9Cx85li4odMdZOwHYwW1SAMmXsnGOTnibBH6qLsrD/kTvyd+u37jisb9gCzjZT20V756pA36FcQXfIBViPBBOkfuUgDBaWPtQEpln17n9wLHW1zL0FiyDl4vpwJ0qP33J/PNbuk44aHrHr/Kkw+oSFT7J/kwPwlpCeb1zJbuy0YIv+YyWMYn3HGv4jLosntGI5oiAMtMx5XaWC+0llcsyqujzgFtRTsOqp6B4E7ls/DSgBUwGVhjzCJYk1uuZXeNUSRxHkLROp480g4vX/j1TA9b44AyHDAKDVpCHUgt983VFXY9EMUkZ+6KpYdZDoKJl/zbdjLHPqst9ggSoVuCq+z9E+dFNv6VZfjThEllG1tbc9KqVmIzH+BnCuXFedEFhOMXAz6mCB1tIGgv+XcG9L1+pkjqLtz8mSTjBDXnwtaITdTgCzE5RqPQndX8mu9k1DrCVAVWsyiAXy8M6MvFWnUzCofS+Qe6LJq4rkiRVpFQKa21tw8NcQJJiVCWpClJ4RlxVLDIp4RA26h93K/yQujRF5Br7G4hNlmWIofXRQGTxy8A+dqGNQr1DNSYfQrGcoo2zuGHe2p8xVtDPw7ZU91tznG5FdP0pCcBa81KxcAFyw1+K34MV5g/8FKFbXlVGg9q1ZBS4Ov/dKG63Hh3lAUY5wHi+27rCXhmST+fFB6jnQBMUviA57mKAunm/yFU3tn3H8XLrZmnWelxSaMf99nTsQa87x7LZzwp8YjstWSKnX9aTlmjInx5x2iPAy8OZs/MgDmuUJ8ooq0Os6vBk5XGtyOCRuOA5sN0lbot8jKX/WHgzRjR+65/MZSpF1Z5X1EKJv9AZrQHTM6MStPm4vuoUcz8lYdsAA7VtPs/dF3qM9qDj85DAOqnk46J8bQRyXehVK7+EpqDpTbGhnj2uTEFzIJ6+P6OZ5XmyvZLguY9RyEF0Y1yI03h9M007eR1ufrPycyRHKHubd7ULACD7ajCitWi4vRhUY3WMtj4uPtXwuE5Nk7sRGrpoj5CEFcMQgPDkTFSki5LWAqd1SBr63JWIvjmdnI3FsEK+zavCy3ItpGDATT3zl2/yNW4rIeaXwDLPIHf+R6CBOwtluOQBu2H9dEOo4RBH/HaGOupXAENpGQp+nlNXVCqq+8c5PcYavk+huVAZIlxWNNDXh696cZ1ojUD8S6ZR6SmfkPHrM/gzxzEnlLtGQNzxNBPtSK4Ewa19HPdCIJLOqAxosNQGBi1WYJB7sHrL1KYAryy42Ms+B1GWN5aRXpEOoN0JtMZkspJ6I/kyXppQ3f9E4Nlh0/cKceES3IAMB4gyxV7X+YrTz/BTZxLkVZ1Rn3zOn/UZxgWiSMKlRtrySw28785ba5NhuXB3fUrWWgvXdvMYWWiRx3Jq2jYfLNUERzYRLyFrxTyu0fSWNVPffnTC1lz4swT32iaMOOW7xR/9FdXLOQaLVm6BTPOP8OEBvJFies+ETbHlKexy7H6cNgHNoCeeW4P53ljncskpyRWwjwyosuyExmxnX5pFUqWNld9XFtNSZ/8YPPX+JozyoRLzeeodtDDaefp2H24kYyFIVMx/lmfUtpX/m39Bu408bWSKapqRii6Y6S6FHgFcCSs4gBlBqQFGrCjB0dT0BT9FqRCGj4sOu+05C8fumJOWOW8CkBRBt5JrKx9txSNgcfsbFrHvTKdYgUeKLyhzLkmJPGa9E4gXk8LHh9g2pZ1GS5zzJkXhy+nMBPaWVrx+kBmLSU7JBBquBqgiX7MabX4vNs75oTOuQHJoi/NKgEzjEYcJStesJHv7jq8w1b8W1oMG3LZNB/UiRVJQzwOy+HcbK7UJ2+KWmupgjbgtA0E8x4uSLNuw7CUy8sKiX3GAHDNxhPPTB/VW3w+Ne4hMzjpK4Eu9i7DZy/maGopyn3p9+Vkxl+1DZItFERPQ3R7Lf+lrW6JWCcIRYawGde/VdZN5tKxQW8FTcZ50Mtl1yXTFqilazRPAelIX2lf/YDk6kTR6tNLLfZv4cw8ACAqDvRR294UiNtrkrNO1wPJD/ZjYEq18UoIGKN8VThpL58fuLNs9m77hqy5c3AgSOQUYzr78W03XiR+YRmREF5HOaVdJ7diec44kyd0Vd4VPa82Mj9QhRVrnTkKDcEpIwN1zTbnccpMSBCaDTy4nTjKJvM8pt3gsz4SquMMZslxHxVzla0dOOPUHXKIT/C/7AcASwTn2uKk+8HqKIxfIvAQa5DGAUYpBCiJDZ6xBJN1P9MAF18X5NjMfOc6wWFc+o7OY+MMGtLJhJ2Ox7oFOrwVMh5IATH+sz/E4+r8LX8C3T68S2cYTQyqCfkBh6aCkvjWWkpA7wGEE6n+2Y4YVyFqEmZqfe14pQQLEODdJwT0x2WcEmgHmyFNx0ugPQ3foFSZtYaS5xT/bZ5qQlgeg6oTei5u3iTX1pwgf9a3aaM/0ebLfhBgwQz8hTgQf4klOuCArDFdoZUKsuYX9G2cHWvvj7NPfdZxlUChhTb7Txu3B55Ha0xlHSM0DJGLGa4pTVBsXkV1gkDNQkz1lQVodbKdpr0J0spKgb5n6cQzin8Q6mqmFC83StffpRGbuNXhyZOG/3r1sezAK+Abe/PZ+VHGY6tJYxlqSABz8zjnN7qpEb1tym5c10mj5a5SbHRgqMG4Uyb6p1LUZZr9x6SHfwamIpgdfGE/yxb6ZEmzQoChd7J3OXYjvFXVuclPZHGvI2hF0+RRhQ6mYnpMESHoda3G/Biajw3TpYd8HnmQc2xL6+rFBuc+zuVluFocH4d0OpYSgQAvHvl6YkYoTfDT5vN2ZZAPqQZxYNkihHy3rWGaro8f5rJNUtKQ1kct6Xv/vdfKWOUwqzXYxQOniOeutk4qEfCu0qnaIoK3eA054gGwhdm/oxJkvcKKuc6tZIb0xYoMZee+g5mOOXEQa8VG00CNhMhQovEF/nr03+xJv/MKndKTeda7Y/Ba4UQR+1Xo0q9gUjfw+qNvHsGg7QQ+WP848ZhMCvisek/b/oLGv5FUWm56zsBGY7hn1W9qJuR8i2EuQL6gC0g57U55h8mbiJ0sTNrMrv7X+kV3eFs40KyGPOoOKUf31RZvP2t+2MExZVHrJ4TIWDholxnBRH9SzmPnpVez6CqTNqW4wvo+NCNNTMNVmRVupqlGM+k91/8bHvAQQKrV1CnLvQSNhNZwyphPwsbKP5svu6bfNdhmRMo8BO8jmp9nDdzzMIS2vCoqZv0Ow0xmW95/A+izIGW2SNHmdXqUuM+zfuC4TmfGM388p/6TK0FXRiytweFXR4V3N9RXXQZVWjKBG/Q4JAqUggtOQjpWQhAzVdYPSWIecmBoW7uQrD407x/zXZrVSSgeKX0RvVMNI4TIE5rNbOpEx+h6jpwa7kJZlY7vFKSyRGnsxLooey9r1ZmJLsMYQowRWNSu7pCx5HH3PeXZzOfzPo+kL6FoKHnMMo2vDvlgW/ZtJcO2B0SWN3/NyrJV0ZG3KEc0r+q/AYYzLC8n0RGIfGMNdVUDBneoQtxbbIc+Fnw/v/x16MkFicoe4VD4ibziCpSQ+ZvcRSzq26xL27QRjTAzgMZUXIHIxI7CY5LIyhMvGFOtheJ9ZqSAe0MALvOmM3Pttqqz15dnK2ckHUDwQPBew4r2c489y4P64x6sHBJM7KV0g0hI+IGW5tgKS0LyX1NURuihsXBswMougApnrbIhRB8DMshLAywpKj60pU/Y5Gii8BgZcAPBO2DPHsEMwJvYd4+yb03Dq9x9YCbHxPA2PPJdI/BadMCcwgzCwQgUda7iZf3UiFWsHvfuHzOWPsQGsByDjRxBtqtkZYirJBWQJO3pDhFPdouC7k+elnzOYEGWnyW+E+CzBoLFzN0exQdAsTJbSPrBD8foF+ozSrevqA2hAyIGlmE9Y21tDjdbxNpHX8z6uPRLq9AYCMM3c6IH/PV3UcisMdX9ae2GlUG5FodcMB3JoyOBR2iK17mA5kAoqpI5ETSxBMZ4RUmNl5E9v57FhZyF0afgQY/x5TdDs0qwi4j1wjWfNjCEGjXERSNCT9eqBqlfauJGIAsemzohfrvONEzI0PWggwaRKaocQ7f9XmNjMIJlJ0VWoY8/HiTFW+2IFTn0ATVKVhvjUiwy76RNwbwk1mvW1NGtr4eqqKOuZNGAfIEAbW3/TRQ+lT2y6NSZl/jLViYnTRcvAqHzvuYOr5qcXrwuI4BXxK5ZzSDSuD1UeKomSJhMbuVsfm9Sit3fbVueSR3g0WTB4n4IbvsR7RPGSkYryeXt+rMAngBQod8FuhPOZfDMJlLCrpUNmrkJBNXKNByzH9zaNwXFOZsOck91k6hddIgBIkdwRq5lzmc7CeLQodAkiZ0QXzDLeT5XsN2akcIiMMo+JYbLEarTb8cMGnJ1OLL3640trQxW9YG+aTDfih0grticPftO7JUuYPiz1AxZ9COLwOsWFkluRZnEeq6BsPzUMzQDjASeS40IFtX69H5HQ7XTBcjNUOqBr1+JoqGMRTxrsBHcq+dKA6Fo+G1ZaqHRnLe5+iJEUsBZqlrz6DOC8U+wW6BKIbMArKDY/zPor0uDUbbKQqAx+X7WYhfSnOy/tL5/ZEAMbYK7VAYby3+hugaH4NYgaVKH7rozTb3CAr5E1j1Z1+c69I67eRvfEQjU4UBWlplveuZ40O+tmxMQO+UoJIaAqWYZEBrCUxMitxPJ+cJs/UZCQSFBQLSSaOq3yz0z+3ZtvAxWMka2Wj1ySXdwaib2A3ST3382oZq2wFq+lY4EvLm6EHHpTovXo2nVFrgRYDtRaTX5zNAVqD9NftwlcLAAEWT285qzVTOerp7a9dmVaktWDzM041zAhc5rY/gxXwczHwZYZgQRfLxozecE651dsrSTlIE+uPgedTToCVE4X/Y4QyWExhQd4Fe4TnNVftjlqNYbkFfCqHQodtV8Za7OVJQc/Ss5rSEJ20hLZ2OQBLZkpDIbwT5k+e8WLLKD3Oe+8wQX+teSc2ZqR7weznl928aRMss4Z7ok3HXm0tHeSdjypK1MEGgJ2AVR1j1+SzKCKdx0o2qL4DSyJq7dw7cH9KDoa1e9E2lGJQybAUXyu2u505pbwMOqEcvEKAyq/6Djn6NWQ6sKTM6fP0j5mQCZjLYERovPQnKola+ai53RUS1VMBSoLzo4tcO7g+SDUJ73NGxRinDWn8SguHAiqZnpooKVtBotDajmxyw1jWsXD4TPctIk/qg6kXLjhezklaZxRDOucffaCcPOPo/lHGbz8P1C+qen20iZP6E2fniQSuNoYzoPO1y0WKvXqhI1CxzpICGGCOGZGp3x7h0r/oRAJNRCjKUAaGVC52MyB/VoLltz4o5+bUORsyrJ8cc0dhUpB7sF3wltBb+m2FilQ7fsb2/ys0QUgNatKBFq2u30Bo/WPIHcxjUC+JJ9ct2+PFidmY/HAiJrzn4betRWxlLDADxFvffj1q7yncOH6T4aJsXsEeliwDtiH07QjtYuir6XyH+MNrHHbB+Bzon1Itq3h0WOlA9Y81MJtzxWxtlSfdnFGlXz/xxhuwAQH6U5kbzKm/z9pasvVWuCKMgcjI1Vl7cBr6pue6gatUymj00jEob9LfD37zKY6813oNJzzAniE2GmWqz5JoPUFdpGJaXx4PxBah+qAfq1Ylk73LdGA+V0FDsL35gHBilU0qnbdrGTEUcQmZksOkftvrGc+aX03Xy/dLtyTDSx7KbCwwxdo+n2pb8YMpSoW1U6WBYyOnxYwv1Wlv5Xig5CX7b84fxUvOPqDx8Hdadz9TaTA6lx1nJY/Z+Eniwu33WR6t7O83FzuIlBczOoATSmxZATE/sC5/RJU+iQQ/UTuNakCFfRik77shIf2itoGr2HL7rRuEdQ0uUqlnW5UYuo5fFCJcyhBlD9Yna8dysNTPwYEOg3jnuimYMKsMbGcHxZJJKpqrhzs4UlPcx25KK8oxA/9mc6+ugJPvkcbwzKnNMRluj44/s/0Zbfp15IwVEI0vBLZ4A2V87cS2WWGNspIJYB31v9YLdme8+y52v6TEuaEq4ZenTZqNVgeYZv6lEs/7ERQeALGMpQRYhRZqex2FT+IVT/+0peALY7NwIBG+7bbUWk/iRtkHXi0sxwHyrYLCn/ZBu09VgYJQoyGJemye1OCfIYUg2FMhspAZfxK1p5Z4yGazoJUj/d0uU0CXlJQRRTwUSKmrjVjWIxqsAkp34GK9nQBv6JqB2uqz2/1LbLUGpmUfxqYXssPIk0l2gkMBo/brLbuslz1v9wp08NkW5Mr+czhIJ1mF8CoJBWxYL8/crrpu9lW60qILk4QoW+4nM5vfBlWtfQ2UMWBbUytUC9npVTzR3BVdsSdFbtKBYSLN+b2NV6Og8HI78nNcQciIongnRzHWstLBq0yuaEZCCeiUKlG0vC6E13YgFttHUaL4vkdZ80QInab4jrQESdEGxjqqEuy1rZh6+6/Mn0llUDbBVXLDZy6vik7TM1pnx7QbyanLSIIB++SJAud9O9L1j5o9FRizA1SSUe/h5yYHAQ8siFRXoIwNboB0/9QmCF4/PZcVbPKHfhjUTtk3PR0w2TX3wi2D2artmtpI4W+SaqbmfdivkgcV1mn61ZrUNhV9C1zmOKDA1yUZ20p+J5apNLX1lawHOa935sFcHtESlXntTg956sZgAChzl6mgGxtDMf/1foVwAUI50lzALtWnc39lZPiAACA+n9ak9UunRK7dEDmHmM1Sde+OZWJtGXIKbHasmvR+K7KREn30MTIndZ12n2/8zqRwfHJpf2YfqIqcgTMXJxjCVIA6HXwy2nyGY7kQp+nnJRWYv4gwII/4rEHKB8vpwPpCUMU+EmhWb46YdNzL5ie0zzmTg0hgrV4Jxz4INX25s5kLGsHnDeJkBM75z0Go6td0pWkd2MOkrleFOs3Rkq5kWC2LTmCYbpId7ZnU6YnPRyJPpq6zGpg64y3DTggZasvBa3Kfp8WJrsPKXfGVHY5VTN6FlllbbyIbBP0Mwf/ZrAtzO1/qyQhxce2rFV6D6rPWJOgTwPEcHuH33OFJLcutKMnhEUPCMNaNwv1uiygqTrR9RW9+mR/5yUMFggcXj5qjW/5rNIDqP9mHCK0ve4JhPm/qWZ58aEI8YVdVU7sAuzunNQhjMLZnTVOE1naTTgnQr+rp4oq3L2ObcHxaOJCTZZLpQ7nYfvE3j0eOxB9GxCAm5zKi/jF/lw6DvnvdMWZX4sFCPBcR4c9UFgMCB8J56eQ7EnaEebjLAFo8qjvYrGBtO8PfEIkZWRpCkqDMtrvsSqPKzxDq+LhtAZ2NdlPShT0rhyup8pYz0XFFkluDZxTXlLD9ztLUj8Vi/O+0yUxvqmFbdx35biM/kYMGjTiWRUQEr70J9gfE55mjG6sx0Ujx4evf+z4Y34PGL4bzf40w7T2rDH2Trzg4VBlqPmyP/XKJO1mNA43/CfEU3wQ/5JG9HT8IVkXbtKFqXSP3KruyB1WqzeFqZeVwDiTb1l9OSuN4Q8zP1u3TctrfzI7MzqpNcgXRXMT9njuMx0KARDLCj0X2pqAhED8rUvoQC6ajLa2To4pneUSm0Qr5/xnvg17xV25V5wd+4Gt4EH3qKZaHQ7JINXc830gj6bSvXv5/PqoEU8Q+kOU8nIw4jKN3kaai7CqTJiZcZ+NnYxQP3+TCJQ9DzOLxFPalifkOg+CT+z1mn7ZB0p7dmG6yTXia9/SKIxLFtygQebbXEMbjVsfPZJDiY8x9tBRlgaYMfLGF2QVkFFDJbOJIek+aGk6xvMuWTGElRyl+c+Zcy386Oo3zsRceXCGGvtXJaIBD/PTWs5MnTeXxBViIsTlZzuueJIZy1Uz4mmKYGTIxjwUaSsHTWCLryOGXky4UNPF4l0cNLHF/kI+3/xNmRDxnVn4JkvZtGsuNE+Al/p4KxesFgfFVEJK62bXhL19Yvn6i+F4lJgPTB8qCdV4I59IX07JLtmbqfnDSGI+nb+9BG5/kY49RcexnxPlC+n4s6uYWo9NLMoVuowqriBnwWl3Bq1MQixp/E8mpA+1KEkPF8VPPvSpiiEZfmCqxvqxYZ1+e32o0Dvu79Y1sila7nu3mZDUrX/V2irjgcJ085YQXY6psM3uFJx1FVM2BioVHRr0tVw2vLWigHn1MkU8nnlKy00RVYJx0D1NSc+KrZRlUQfycxg81d5soJh0avP6kQW2lWTvPQaTTfiJMDYwYoJhwrW1eEAcYvUAqb1Ile157lZE81zKNrziHCVfTNGaz9MR8ogXrMACK6h82NiOSmuEVUreZmWswyHnb1c2C5OHDXj/UiE7gaYJWAo8hle585R40D9g6qBg+LY7GnTbNOKOVuZHsmgRf0PXfEX6aqulcjXZvyOv8x4fm2tKlKnSWKKw4zmvf+P/xkfTHeh79eT90h0fZp59WDH7RHtd4i869MKJOY9b5N8bPmWC1sySDpj1nSfDs5zZmbeQJix//+wgNAfhTgHEaANX0CE9hTiXkngp0Sb8UdONd8uokSV5PCmfqAWseRhKFv/9OVrcZTZlQEzcb36XFdi2vnLg4Po9TGGLu92/1KTOMLctGNXHB+2UkpjRkHOmaY5qCwZ3+JlabMRxIXPfgG05H2R5btoL4hphXUgW8cVvW5lK8l0Y978mVkXKNPtR+FhKnvsWSEng9wiLQBNnz15cSY9KHco0IdZRsFggarnaj7Lj74PkvMF58A5fUSINXoJA/YZmB1ynjz4ice6HcGko1w/TidhjvM3d41Bu4V6E9QOfs3U2bdoOOjpoBq+a3rxU/VTe2sJLFFNdy72DnmxobC0d0VJI+g9g13/V1Y5HXct/l48pZnTKJPnSzbIY+2fQDDMqQ9wWBEwf2MQaP0YlWFdfllbryRGPfu9tPzth6QJmK8woioKh1tTZ7mSJNXQLckl/3LULYNFMME2GgcC4dGvdePuxh6Tg+8j2hgexAlOnwDEh2k3gbEMxeckLTFg+2IO0ufq+XqiZxX0VeuxoV2iSPO/3lAc4rj9cIufLt/8UZWnpMP9uynbDDVoB3TGVQu51DbLwdBNKbJDZyEoXHv8ohkIdffO5zxcjEYBwu7YLX+HjM3pZJMeBARNMsA/6Ir7Axwtah2Favd6qhBWYAWgE0rgBag33NCJ3odXeQaV1H71imVWFN8jVtMOyR2C8X+X0WDh+cs/9h2EDIZzbY64tIJlvJuZLq/RUOdq7mWC1Zt8E4Oom7KgyEURJ2iRNU7KzV4V88Nf5pbsi3sL7OobWnioUz99c+aAvfgy8gfUN6F0NRoI/IyxH1DoQ2jYS4I30o8SvtEcBpzMWVhhwZ9TyR6ea17K/wH1Wg9FeYEUM48uixa47bsyCX05C8wuiDlXTOI0nf3maUQ5FZ0XDAg10eQTL6b8JArKixAdX4Qi5RhHXogpZowKQcYo0QN+6RrJ/IBwDfhZLp7tBtXtw9RGZA5VaGUzLUGcx5NKd7se0ypd42/+jL+WTQ06aKqUJWGU7RQudhA9c9wUFZIE4K+9mnbfGwtM3rGcfxCNrIMFRcTJ95PgG8z/G8BWHh6RLQpA3/7ErTzFuPhuqOFfXEJGQJut/gV9RQ/5+u3jG+YYKikmz/+85WgCWHe5ipbcLVZNZ2LRWPSoVWNAtQYEuv4JjC09zkF53AE/y7raZrPewLEl9HGmODTW2nYjeHKEPhsLf62Rh3GpivTgsKUzBwYn1jeW/3Yzk2WP5vGUMqhzuGNgbTJDXUfARde6oO/n0Aj4m0nLzq9elj6mrFXmoa2SrsYz7Kv3nWqKEnBGTrKFZBeRQiiN/qe+P4qtCIN7+noz1dEy635AguOrGrpp72h56q/Ua+K1KaBH9Gx/clizoxdQUXjqD3+m4voBhBMUuyBwm8xTAq5gQaX3zIJpkVEqPMOVBWMGiwfo7G9x6INhwKmIHxBnYBqNSQXdTvr6wlVJqZguvBq06ppT9nPET/9nNxEl+MtjU31uEefG7HvMcovZ28tIFJRfdYhstCBkv6mOrxp/Yw1hmWBcE//fS3MBAdin2QbNVGWvhIQES59hEApBm3y7OWwSBKEyEBE5dsyN734RE8OsKNmSmGAQuvuJK+m/RsXPuMZSypI3GfuROsd/mwn4sXqdRL1y4r7dNeK0JYpdbAoMTJfCQPHr4GgalEDSwQ+kXAes2erki5qh0IoEmqGo6pmXP8VE3hV0RmP8Ds298Oxn9OSXlB7HYRs5V8cHvvVYKp0oeOV0dBxNXIvueqkZNgRHu1pSuy9RVwKeB3ESFs3f5DFZPr5r2984o9bjGwXdCqIVhWzHZzvfqSoTsxtpSUijSF8SDu3qPlcN1sSS9pHqjOhp9ZpibngpONitz84ZJkjmb4loQ6I3Zfz8mjOHjzPAZ/VbfkzgYBzvRNpoctUS5ZMQYP5ZZdXtCgo1ZOeY3C8p+n/c2uE18UyShLh0u52Hgjo+O3nhlSz8Dylq5D7us75xM6Fwy4RdBS8BpKiYR2vCr9/IxhkdSCMsQXFdv3xyXJoXAikaQwp+lo2ARGHDIg44AGT28nV1mKAqNBr5It+JzL5EM+mkYu39411PM0l+6oeFqzTrar/sCbwgmp4098EG2a/7DukmcUPlIjXJ4TswrI+OKh1/HwytPB8z0Vku/H57XaNFib9RQjztVrD7Ojg192OyIdqj5CVMhP2EKR378ZVZZaEFqoyp9iMD1Cf9Kusd4RM+hTkHW5ImKkHmQmUbdYmh8Wb0rcU0sXEe2+rn2bAEUb2Q5wo0Z1bZ9Xr0Xdx1Nua1mZQClxl1xxhYRb/otArZcfB1J+8Tupxxf2+ba5AZWhikOHZN5oeXAv9NLs2ETKTgac8iiMgAy8E+GULrvsXSH4pbJm7uOXdSvKpsgrdt3b0PF8MiNOmzUgNkGrOS6ofIQOhAlQW3CLlZfIchShx+bNw2Yo6t4P6Mbpc/kyJCoNz2oTwim2V7PgCaJo8Xzbzar3r6bPZDLRZ85LVh02AMLsP7/BMbu+T5SXgX3uzaBSwtldYJePm0NcUkakoWGPZ8yXmGsjeXS26T21aTev5aMVIGq1soOzpdQrKVFZPMcl1kBouAlPAYi/EARKATpZEt05xWfQzI8irQKW7RpT3ZJctHVwBbFo+IkxIjYws+FlemvjypHHTwERB7cXmw3ghgDYXRiE9mf+Lc/2Jg1ucyaSNxvuI1l+eb1xiUEs+QSvyHB8AT1QboYLwmsahBegLiyrKHvsJN16OBvMunvlkzrZdNTVcq0weDU2QmWwF2yVkBuYn1byDYrSF6fFAnvPSecxSmgLzKpohjgXy7k/5Y0T/F4MPeBdSlgw967Ej8NTMntQOlV2wiaBNqeIVGaNFyW12SEPJijkDH0SbGgbYz/T7nPt1L5y6Kz454W2LuZO6gkTUv/XuvmLT6QvlDIOMEQgRlpsoIptDcn1MfNvXOsGXBlIOdTPWoztH2aqVcN5W/1plwfwIx740zKLOqN3+GoZT++Hd4vBDb4Y0++K9YQj+vNtvFaNLUgsLGH0V8dfLt7hjudvpLEpleeVuGFbrwRj9NN8mr2nwB4P8Vy7RkB5gvPWC+/V607EfhPeqJ56dB5W5HfOI2MtmywzzSm/ZOjr/TXFSPmhKboQCEdFjDoSbi7mo9pUDF39juZm6WdymvFq7RqZ10OOBBr2AsN5cpjQuoD90FnkaTAE8ea9GUSTmeDCR5+OZY6VVDSlhC8LFV9qGuuc9UmyscDGDlsky3N8Ie8ZtBFHXQwYk9Q5YOSJOkFBA5mTJJXFXBVAWHjcsPoCzxWvpgVpCZgWuMycmgxSfIP+vb6Ep+G0rzwVL9nuLpbKDn9/G6shxEWWQLkq+pXrdCzODVY94HMi0FDV/nx8Aeq9KCTgTBg1ISGFgJFjuvVElSwZ9EG35hdeKCIa2O/Bhe45aYGtkqj8Ug7yFk2WRAex1lqrL4M3aNzdeVAEYvKGOj+KX2D6rjmquhZpR6p/t06IcN/ERGQPnDVCojxZJ6P4IRBixk5vbsNqFCcWGFjVbuTgmRb87+c3DCL8lifXfi8uQ5hpO+BM7wVa/2qtMz3w1WVNbKDZuAs/fNkTOiYrQJBn13W6R2uC4S/mrpDzfUz2Hvb67B8614bCq6frsgXv5zWIRtNgAyOIbRBXp7ZPmdai30XZpkqVOd6qRnUp7YTMo/Nd3WAqV4oVuJUp9gOa0rt8rkvvLfXn32/FjjiWgTaClXhgJV1/TJEa3XhBmNMQ7nzMayr9FR0QlZaEa/NYYkgd6Yq/S0C0QRdye25V6unw+z2H8xtT38H8nvgJpKw2ux2pmK7SRM4ClU6tD4z0ufoBz3vUx7xtmaUthMwQD/+SH5GIwfYnbSxGsfS1IrebVPzensU/O0eUKnYZVdz/BGmDhkvKdwoTiqWLSQcQemxBjSobLbz8kHr1nNfM4LUFtAnfzAlZBXVogse1zo2e8gQ5+3K6iZvnQv9rrxyeaXi7vgGUGzuxyfi2WbLxM0+KlVoc7b5BxhVYCcU4j7EQjozxbrgKv9slXY7DSrlTWEHExvHlnpURf4aAMgbTHIhpNxGgudhbO/E7WVU8PiUX/pLo8YNZeMaKE1gpzj91wucmhHXyYBL745qiOs2MEp7gl5F8UKoPGCsbefzDcvnokpXlFMj7SMM52MRsUkHnAxXPuyvx+t+id56gjvIsXuRkrQPbN0UlWGPN3LNgU/zDWzWS4CzzRT+sIatyQhoSaUQYY0WVR6zzkH+fSvLpIs321Q2+MWj1nHa9actXhlil2NhXWnt8c6sRHcxoZyPU/JOkb5HjHyqheSf7R3A5jPVErtHoIJzpG0TdfpgmXZopJVAqN5mAquRWf7EDGA0wGUaeCBH5ZAqjB+/qc0hFf5R6gdaxGYopxYcKdGBJz6eBFm6XaM3DaWlihf+Pme0fTwRKiOms295l/pCptFPVbIQSVGsdm7quBZHMaJrkLaSF5ZOfg98SrRjZ+WsoizVxAjxoO/Hid1gLJ5h1TB9KbvPK2sbks7iLWt9aIuoWNhctxcehwN7mtHvNiWCZXbT9l4LMpZPGlWsVjx4nzuicoXZ6jtW0lwcAg8IPjj9o+HDc4aPw3M47clFifsqNIDK5h8cTol3moh+WtL8s/UCfMcgRqMSYxb1tZQ9LAnwUQ0/k5f1VwhfhrTdI3Hry04uXC3M28fnwkfzYtVT/FXKZV1dCuGWdi4eCe7pJjH1zGgIQ35uj5weuKdgnBpB/6ImAs0KR2BKi9rbJhKFggdHeDDbQdo75P/XWi3TfjmZgFfBS74jT4vPyZDJK/OmtaEj1r9ESSS6JX7CfuDXwm2PZYbMvl2r/4e81ZnCA+WSHfs2AtwTMPp5Y6K4K/N61oGSc01yS/dY5atW+C/LGgybFM1YM61/j+VvJJ/n/z5jDu2M/kDldWxNE3ffJ8L2H+VmBslO8i98nx4bItL5C7ULg9ObR77TzzZk4KzImX6h8MeLN+KU45uzD2u/kVupVkv2RrCbMKUpNSQF7Mdw4Sk1JlfvkU+c/HIrKFCTXIqe1OYATz/yJp9/5N9eCqI9/1mstPI3jUPtGARBNoJAZCiFRhixson0xEFrn+rN8x3QaMSHUSGRM/h3OT9H4j2ThOGaDXHJQpG/YQD/Bne21TK9+svxe5BJrlLCsapiTrLVXbyktDsPXGp5rpEIRYeGzZNydUji3IHxJyh7jeRj7aETKZNJ83LQRxd8uLFZlWx3U3DQk21qubxT1i5PhchFkB7P1uKbY2Tqdw7ZwFWdQrDLNVJ5ztmpYOheXUxbUwsViFORy/TC6LvTtLO46ZqLLm6Ggt0nG3z2y8hIfqcqePJ5fZZXHDbHkU2cPD+pL3VYOwbm4flY3wMgBCsMzFpkj/z1gZTZODAAu2DT8e1x419MDZPg+GKD85QgVut5qDmuA/WGMb/W+4iSZpWbVhJq+kjpeWlDweQrDJB9vNTNqg7umfi2Gjzbj++ZvOF+yOdmbcSfJXWBIkRgsjgWRizwcgZllhAiHOll93BfNddazFC+yvid1lHAObgN09nEn0RCcVNxzX97fiA1PqKgmmpxhOf7AfvPZDb1KdrtWLpJwNH7tnj8i3YfwCM0I1c4df/lljX0aYrX1OZOmFFOkVLXpeFoztI0ktMEh68lgDlad+hEKjYkRXMsdw1VDSJdb+zsKpXCzQBJtmMBajCa4BJR99OpSBHbxxwf9lmIaXOKJoQyPAR4lVq2LGu6eXMjZBHTzRVWeWZAUQkbmdPxuDbJpb0DBV77WXojac5HYtmT+e2XPXL5f1+xm7bAo/QG5Tpd1UNv/7ApZFJ7m8GNO87KjXlDsmSaEklDjKjGc+8xxF0/bqVvnxQYIwRiCFjMoE8LrkYO8l0REjleipU9VZ1/Gr7MDkjrzVfbLium5dBWGXDSA7vZTNqdtuJinmDvVDSZPL9L9s9cOA/XG5PkV9ifTMih4lOLeIbUE1EPCcCBo3TLqXZSmAchO8/4wGIizDcICX6VEEB7pa8Dy3TEqSFLQ9QP0iqnbp3ho/2t0Js/FiEGlH+xoDEDCK9LOfTXBhB5pmPdzdtO8NOD8yn3jP2qs5Yc4WgeEmMgbXi3k3yT+jUCELI0Xpc6W0D257dwKvTrfjmn1q9JDWY2NsLT6lYfVMkIF5BD25dGZYMrMkITkk+TtdfNd7sFq56yvKfvgdtTLfGu38rW4br51L9XQOUDs6iOCLZ7OjjpBsmd9k8dWjTkEP5+C5gGlNco1D66d1Kh/VbrsvXVjio3K2puV7ffLKE1YTGrJgTwWyWPTKIcmSGabs7akCKyasImiZAtAZrKv5Berk5ku9VCniX/H83SS+2/Cmsng1WaQEQx0FwhkMUwkPp0605c69E6rmpErZB0HnRbeZ+B4LH0hiOg2r/ZiXfrZJqQQInG4fOWyFrB9FBqkX1juSGN+kK4edTXOFo2czompHoGu1dfyKlZ3OXmQv+ujFvWmMsYul+RgEBWZnBwfYsMf8d6qPW0MuR9/caVJwk75RFHzDpt8QSeuNjq0kwz73qYZER0W0skvGn/hpqqbR2oyFIC+tdISaI7U5547J0ZMEuMFEgwksaEKnbWug4/7aI9ltnplrWm1FTVMJgtwxkCUYU20mPTH3qnoT4Y6bEEQw9E/6y7eocUFRvnOtOOeyZHtWtTYtVZ+nX4JI4h8TIrMyq2pCh7F8PPI+dMxa/rRsb6VqCIslKJWav/YFTdH/tsQi730q+E0Irjx20/bjIMrycrpd2ZjUs0LWHjSRvJ5A3OPWlJWgsRVOML7yk15gG5BansYdFWSTnhQQjOG8NW+5d5vul8XbtetxrWEXBVyWU9/iwBye9GfxG5YzvtpZc/hxmFO45hPbKVw0R8oPuBhWMAycq5VR+fqJLZ1aEs4A3T7X2kwhGmJ2AvLjhtD7VI4gi/VeTGbAKaCoBpldGkOGI4NahbeRTmzKbpSr+dlPjcwGvsHgxIt3Y03ImInrGLeJ0ZQMjDoRPH2tWpKH4p6iHhK/ft/pnzZtmjTiaa15XUCNYpdSpyWqG4oe7XJZbNbZN381xgQiEuVG8VTnXY1GiF+tS5kqcDLbbvfhEciDcylraj+QDZfO0CxwJ0qAhgj1uu5+trrEjuIGK2vYt1rWq8LFJPM993x2WSqvctPMVAkLBf1rS138ERHjOOanbvmZJ2/OSkLIm8oB6SQUBN3jIvLRbsyVAyV6Nk1AvxJHlucSdmbspA4+cLWR1DUH9o9FuXRqWdXJHFN1STEE7Qugb5NORwOjQ4Oxkq0AUPdE2HqNxBpO64p0/4BfL9MUS8xRMwOnUOG3PmRnFNcyls9nkxHkPyEEIK/rLZtjNg/XCauti3s/+MMabDlMMZMjnGjyw8VKcRlMWAEP+dsthbRglAEhZ1LMpeepY2gICSqYD9HCQ58K50731JNIRh8TaqMAjVZhKeUFGK4YQ5+N7L8Tuq/xvw//SBQ1HdNyODV2ohjxq0t717WH9KjCMLnXH2Exj9vceFvMVjL082hm89h2LVMQTNi51lam8ZnryNIHpsvQEzAJBOQnz8oO2wdPRaXVgy6QA2wS22xtJNn4lqrtVD95c1oSFc/4/oDgh7yqAFFQD676rPurrzJ8k9/SW/ojUy0wo6hpa487z5HQRaWSF3LmuTcZH2fjo1jLi4lSrzhGzerk7osqtuD+4TcSbjLQ8qzuaYc0NWU2jCBaA14NPxpPmDOk70x80F3vCmozZDQARE5JKKykaNoypGNgv7m/sstl57LZpHsEqaFwKNQto/9PZIEltM5G5zLkhMfW2/GaDwtIR/icz5m7kTb9oZuLdP23dWnVTig6IgnqfZQvZ68iQo8sh/LI4BG8sGfS5rkWY99tLRLFnvUjZmNKRoVlYqnPwexNjhxpFH4y+d0TTgu0WWga3sxj91al/9XMiPlPokZMqk/+E3+N5WOTNvOuYUovU7Wpk4/AXdUpY2j0/lFBQRg4dyUO9UfwsG40a2gNYlwK+AoBQVDhZ5IDkc+GiHSr/qLZy/RT2EM+qhdsjjxfzrJew67cXLILDyW71G1+4SC54Knil5DyDUbD7CugR19uzv7SQ/WhBQQWyOUUCEd9y3vhEkeJOuidFC37opvrRQFPm7Tt/KPh/S3iyFvFaTGKcxpeXk20focrYp7ufTwmmjcxIAkxEhJxJV4ZI7OjH68T2mehgm8E3p5fkgeM3mVxGa+1uaG3S4z5sO4DM0ZYbGjhxxI2WN4eg4fWZggwUzW0Jc2zyW8wfBCWSc6AiLQu8ZBVlxPNPrmCZsf9weh9pIxABGpv01KvSLsPx96woprdj++zw+HbuZnkXOHsvx/RHjMDeUKSBxlv2Kvz8iY7RRYDFXzgpGduXQTLDMtpgE0Pxa8Y6AbwYKiyW45ySh+gLBAxy7uNjOs2U8Em2ZJM24lEg25LNBsUW8kch8Yo3N1NEzvLIyp/Ob9oMSm1wfvtiWk803t++kFmACTvwFc7vnWJIRjvu0iB+7lVDguRPIbgWTGdrl7NsNSeQ1SwWQDiU9ayek5W4ydaouzDdSIjGRu3rN9i1m8TcT+EzZWagZ+MU76PGoezDylCRPg65vimun6H9b8zXsOaVqd3UE6YufzzDP4MYRpoE3u9GmEfPDwIG9uGfj7kyZeH6oQSO070TfAKLFWYCphPemqchmDIYWHB2AhVSjteg9HO/3mJn8oEt1hdvhbDchbkFBtQhSkro3xPmMDAjw37ct46uT3jNs4F+jGSImtIdcwk3t4G4WDgvTeh9kOtMREqPTfC2uKg4Ojmd0Wir9dYuwpT7IfNvNf9Eee8Srz3nVwuyl+m3gZXs5q9wAC3QaRatOlK3Lhmw3WdsW7SRB+nWZUAm8yCgpB1iNeNIuWuj+ryk0EGhf70l6j1ZKjJYZrARX6pvMI56dgKxkdOf7Bwcx/Q1y/fATXNHNpQ8KUwZSYo5lUDFcYwXhbMarWOCb4GEBzEccaozwmFSs7jSjN5XTP3f/2LYOEkmFgo7ut3VD0FNu87UK0sD9wWvDvqPhinpzcJCtqhQDkm26tehp5gseQr6Ytt3Lt1LDPG5/yWgTIXnwIhlpbue8QMRpZQ6VNgZ/3b/UTLZq3iQpUs7pnyMZIxe/okc8AQuWVIaUoEAAy1huslavc0zqA2IXwncXzDR6SmRBLP2mArc11VeGMPIiFho414S2Uu9E/HqOn0d90yGzfzQtux5R98y9WyWctQ9OjOWf5vUj1EZoEhijesH3cpiwkB1WCjD+8aEUs+wVJEivRm6TGvovL4RCE8+HI08Qgw6hsyqjmXI6aFSWnSLxHeD7n+UAP/U8i/M1Fz8QjazIol+kW0FR8hYf4378luiVIrHEhr3T8gWvTZvL3Dsu7WgAVcMGPrpfu4Fft+hw8+rM5LW7woM4d5i+tgyt8L98ctVFx/Rci4skk7kLxhCOTueFe7x7+esfNquakWXGkxB2DhcbzfT1UBEcquETIAdqQ6r9evV4BItVSly9Z6vPBAH0Z/+X5N54INym4k3xcSW1A/ErlPihW5yKHBMs5pqKNoOfh1BsRC5FFefVMyhH1qgz+8LF25NvaXKMRhf3rk7s4yl7IG//A9RchhMQPETNHnNC0bWg+WZK2lXxv8rRcnxEiSLiN+E32WjsHE2DyRXcCztm/yDpTsVIiwRRZTOejrxUKnci5KAF0Rvpjqr9Rl8Zz8ZzkSKbwUEwiqVa9P1EHPgOc5QyWc5mdD8+0MT6vEKat6t8vKcnN7yNWyci/aun1MwayunD2cG3U/ytXSc50lyGMi5WLL6KHLrjbNDs+GjH6S8KvyWMKjz/U6kDCqxYJ44LTX2zzj75BRAh76Ks0zhsxAuWxkUG/iYDnWGdgQzrfIQs3/NLbhFE91dFNi+Dw5HyYjuJSF61yeo4qhE0uO2UiLjEzZJ69hYVW9q1POdpztzCcQQeq78cpm6VM8GRm3UdCuemFxnyz7kcP+sqCOySh+nZrfNiDVwrRTOA0h7BwAsrQexGQPSeqo6hJaUtkOO0z4jj832TS5jtK2Ys9+wsf9QN74wGWjV+OTxcSmcKwftgfOBby//1aBPolIcuxoEZ+5CokNSdJbSwxRs0B+cjXpZHVdnLa8zZeqNGB3DgqT3m+WWvbXnaUCHD5cxOBbdVJDkFNMh4odCYfpEMEzAEvlAIpOgPg2i9a7D47q5gKplqb5GmA+xAZ3+kP1kr5fanNzEnT2vys/1h50D0mEoinSgOrONZeT601gWxEHqv2VSFUJFOEE3F3qlpGvpvSxoFIpE3RZJhMpgzKhREsQViFmvQXdtMHv2xajrqBJ3C3Bgub3BBeWrOiYcd3KFwYq+P66ezcNz62SErO3BhokbXtYiDAf2sSbi4zazs/moIoTVSNWrurxBDBKl4/WqX3RB9tywzz3Rj3S9gU51/mXttmTWeQIQC32Wv/6oOyUhmNSOsxngNnnABpOMgcaQw0R44fClHha5kQsRYFXnXJYO6HzQ2fvlCiAZmcPCA7znx5Qit3sQyGSaWyzdZVnF2aGLSKiucEqMjfu8cU0TWNmMjghpGw+vCWhtBpdeY0nxn6c2CK3WL5fOuR/WhkXjQ2zOaQ0qOaTXt1d8YPBtSvhn7aJyOw53hUiuoRbO3OwrUILR+wbwEZP3F7TRDJ9cnzpMG1sV/W68uCmELHcnlVOuQfu7eeaNSqPTPkobrCOdua0LDWGSM1Ufw13eRTiaj7sCW2bh11XIFoSW56UYluON+4eQQj9qOblXhaFyUdz3j7BEcmRj+Ul6x4FF8o618T3uSIalipHik6Zvt5EQ+/3QwxzbPv6pX6ixSoDHLcm/XqmscRcMUa06YuVrWbH682PG75n2luRPfsM0r3dVGYrTtv0d/NeLDIGpcpZOxWbFcd9c2k00VEnxPDkrHuwPC3Rjjani3eUC7locKGNAQiirA4qdmhZZ9L4f+xMag2Ibw3ck8CyqZO9N664AFDV56oknvD5Av1tYqY3/PqzPMDDEAVU6MhxTWRK8EiVfZi/xP+vc827V29+CUxUL89TPfWqvkxxwXuElrcq+p2Ix1EY4pwlhHYomRBhQrjzLM94b/w2dWwwlswDpNyiV3L93QxHeOHAjtESkcQnULC/PAFmkafNwIBN46K5krDv+feiFEKKGa48Aw5DnfVO0R+QMR8SClyidezkbH7qDfH2nu05RwUF+f/yylVrzlwWpKqvPBmsf/J6p8IO/bEnSyHIGf8fvA5cohIXlwo+j0LoB7qGRCpfvrIqBQG6UnGf7GdXnnlAIjBnN+Irxji9Jn3UbKpGUPAQ1+Ev2/W0q0beTqZ4d/hscvu5wMH4P23vJkOA478UFoiMCPxajG0ldktBF6MCwrt+/Dm3rjim4kRcL6aUHAp3OetzL6OrOP2yPQHkmgQGkjbq+S+nEO35zMyWiZOzk8V2JG+rNpWIompFYLpf9EmpaZCLShTXQpEiK+Kg1bLidU3WQjRsHCRK+NO9RvQCthC8unuzXTNjAnBdFjku11oT0wyDHePINBOjuUuqPyKGAvgQ+Bex+gJVS+5JNq7Y7XfI1GW9raR4oumYgJnlz718dlnZp3j2DhyGDJ1WiR2fow6CwaNgX6A5V1FFkAn2KSML+ikTYS8hwHICC+NQu//Dr5pBYnN5qIyfjaxl2fIfTC67ta0Z5SWnPwBG0t/Zbv7xmqETq1HwT5/rbiyRZsCK9ZWde8V1GWyfFZxtfN779f991sj6kS411dXif1ibQ6nIoBU2/FU6gsF8+yEYNKo0lbotMCEGWV14wrjMhHiDn5KIgRIJcjOik2CkXEn/QuFTm0/GvFHXBGdDWNVDyV50EeA2Tg4x8+TxKDNFlqjCNc7Dpjmfz6eray+lV8WGiZuaH5KBUR12m7dUBleyuSecn9/IALohO6GwBTBwRj1K2sdMQkTf7ANVp9vP+4jVo1OZF1XEMpw4RslP0kV5csV9Lns4WtaEX36BF0VPQ/lGXtHWdOTuWJy6lCQrJbMVHSV8YZSQvPS5ligrcevvzKEwjj2oSCSfd9UuqgZ9O81Jm9gUKdEAWv8Dkkcfdqiw3+Kn4LkN6tqgh4/kFw94C9YuUTF77hpHro8VkK2VrEqeXYT9ZDs9HCYoF05x8yQyZccDMfLYM3VhO4RoTCX9ZBajjhiTMf0xrzeTELxLg4Ok8muxTOMjS0upTecAOT1Lk8cVb0YHv1kkzssHYyTRAXxOsSuqMQ4nPaKlsBMINWbDp3PPmo6p8oK5OnPsejFpW5tgHwtgbslbpRQLaMUg8jd7EbSlUIxwSo0z3IWVLTym4uk4is+wzSYv5gLrZh4HHMVV1nUiO9Gw38jakz2a31A03OTtCiyY7IXXs7AzU6NfK1y0bD4PNdbtJ4QdcNWVnRXFuT0KZsstbyv5anLwTvPb1tIj9+Pa6g9ealupzpcDcHyo6WF8Ce3Jg6HDVPXnW3tKTiQT0R4w8MK0pP52FF/ORhSTWtZb376Yg7ojC4nPHkGSoSHpJMIHnbNI7eRBfhH/rjytiFsTDMvwIb5Vu9FFMj/Ypr1rPPC4OEg3n4ctrLxoWu2gfzRf51pU42HNUG4UCcT2risNjHKPlHyccRMzS7Zgz9OBjmRm3mXrX93fat53tsdImGQepkpLVD8PSmxiGORG703NII61pZMEemWDT1ia5wVyBJoPxirMD38ZMp2cSokUFs/yG9Z+toloVwN6Z+UuFKyx2DWEhGmIGC29CRTUMLx6xd8CYOmK5Cna0GaQthbgHnfbHI4xOJC6gQE2KansI2MxfQD8LRsCj4q053ggf8W0sd36SPl1odiCCdLOjUFHpGm+AP+n5+Z1CRP7Oi7oyfSPxZ1qR8RUDSdI7F4CNTtvvTtqNdkOyCKyZVMcQJFBmVUJuFUXGs3q0QK0dUbGxH33xZPXPGdSS0lRVZ+6Xwead+Ss9LFgxqhaqZ5Uw5jAAkrGVKO6A5aSwp/HAlIb12gehT42U66rmqrb4kQgMyPykFrE/YFyBlGe2RBDnyrxihQbjPcVos06UdIXVUuPDUplHl8/Y2zYnfiPJ/yKqwBHoB8D6fQ8ZhqthvQx/+m/+hSEV+2bTTzTY2ZCdNzY6l0Q5RoCYR/N3GWw3g3A4Vrt2oF3KwaPEK5ql+u0RFDgcA1+8OWgdL8d3CXUn7dIQ6n3tOokvUOi+w+NBwejddd2Y7tjxAhhB88WPxqLIHg4Gp/z4mWwKfnaO6flGBxvg/xigV4wZl5Ksm8f63qUrKP1fNcOtwEpDOYTf3HAwM/ZBHh577l+feg/3NXobayE55CHp8FJJC7ce5k0R/Yd+zg6E7g6lb8irVsF0lQ/PHj0+7pj5EOHGgAPEU7rTsM3gb49hwGvYezZomtweEWCkGfrE9QBzBI+awT0oFf5n9kDgjoL6eA/+4gPbczdvpi89ArBWZ+tK+dhrGDwxW40nkfzUc1XV3LuNo/claJsqQ1KILnjY0N1HAaLrwlVio+ItH8+VCKCEeC0JYhiyb+gtB2q/EICuGfPcaJKRBWmqrYD0dyc6kLKPeUgUK62K8HLyhNUW9h6WkQ3pQ4lu9RZlu8rP3PSd4g8tUNPwEK3wK70v5x51VzSiGPsuar2juJjzaKI/5PSIwP8VvPR0SidluPl2s1APUfMagucMDfM2FsWz/XSrGpWjGzfC6mmtC5jDey0+4MQJUCet91h7qdeU79z1r9geGW2hjZiqQzg8z+Hz129kLh1obBM3FO67XEZvvmBzXI5EWglRMmvq/ZndPquOzVlQzSuWJst/jzVyKaPCkCXPQ25FhxspM6c+PjaeKx88wCpQjVL7Jaefncn4O2NP2lOWzSZhQnPUPvGAJBMY5CUkpEMFXs2WtwB5gypSTH6nmC9NKgg+bVEjNtNdeHw1SK2ng2uJNttNIVojxj8KY+jF28qqViXwRBudgYbkm0A/hZZoV9Sopqei8VjpuKo9n44Z+JOyvPz1/AjXfuo7iaNp0LmL+MqPyv9W9H7mq6m/zf4AhgUGKMZKR59bd+xo0wf1MkNG9dWZRUOdOxlR/3JOQaFua9EmwAILmX3erCBeUV040+Pi40gZdQdz0LbZayiDDDEh5Y2oW6uyRtWundl8784kcoff+ee0TkzD5E7uK3NeV2v684AfPrE0Ni5nK9JhQGMwITAlJ/aVvlRFJiXQvbux4YGwWkrMy/nELltCP0jW8TncQqqIqicfBEaEqwuGlXRtMdpXpYQrql7FXnYbN8ckyp629cEy/PNHoAvUFvord9+EhwfN2PyLALBsGVPNTDbe7+2LsLT2YEvsXoGbl9XxegbPn5HbnX5juFKk+P7oBe9IslEiLe7OXgYmo9hrMMKUHjUAEcknuaxl5MYBlffa4ccXVoXe/Sx3ync3aLThKa7se9NJBeR6b8qxj6dvWkGlXKk8dzvzC0LIaXzfUBicD65VKsA2IjnIWh47DWgQiBhNthsbEdS2a+1KMp4/td9CQ/jN7NeO70kFcClZFuMth617SHw8LEzLEkmfMrwKAYL2uut4DFpoEY63fvgqRai5tcQP6W8v0Kzna5+sxKIHz+TIBQODn0AM9k6DHU/wPXmK/cVARgCr5AUg4a96ofvvBWohzFBjrhwU+6gUAUV0RyByQfZEL8BJsfsj4vRNmLRoZ+Y4QlyAGi1SdkDVOrfKLSxjjOGJamdLakMo+hSj6+h/De7JjU83G8Xpr7GmZtenK5JnyF6dfbC2Jhn5KX4jPjADL40CUF+tnyC5pMMmt15UX7LmzG3KUzKt47OPn7I03EUpQL19kW5ECAeUendxZdvxBEaYdjyX3qQsXsXTT7yfi7+qhe75rNev2BNtuzKvUrvObu60SdJ4+vHSr2y+hN5Ku+E+Z1puZeFUaKQ09DY9Sv9/MALoV/lp/UOFdNwkZuPxb6J6ka70I5SIG5UGesjKhOB6fwyesSaisViRZFHc1KYEUSQ4Z0/zRICMGG8kwmWjB0T74qqojrjekA1ahpF5NcGtFkZnWNIUGva78CT0wsAgjbCe4Pawr7wlk2oNiSF4+v8kzvTuvAAtKYpUfQoJaRCkO1cf/nQXEMY3qxJebRm8vkvrgcMvhNnFx+DNCaHPmxKDeWvZ3Bgyq3MhDXAXZpXfPUnxcLlKE0o8KFsoUs81n7vJcpAi0YN9iiteFY+KV7ChvgmNEwLd4t3LI8Ms7TrA5MAKkpUGJYUnaXaF76lrXPVIxPWQOVWkBt/4kUwYizZwf79xwTD0FAtxGN8XB35ArY9yQe2SI6ykK+LTuUdO4KBBay0/K+ItqnF7IDTMOvb6BRn//ev8BMc0Q1EgltuFDJ2R50BJyzUIgDGI4kg18V7aX5SenNNaloCxF8cLZ2Cbd7trBj1xJqtqAD3aprjXIhn9txK7wyYQnUfldqBrHg02nOg7m74pKMDXyw78XOGB9NKlomeckJZ6XlbndT4s7a3yjjGE3AkAZtjZgSWfOCfrxhrCOLzKTmZJwlUR+LGDZzNE24DLFe/PdW4HP0XXY9eRLMm61pjEroMZbP4JqeDjJS7/ukyTc0oNGby1uce5t78sCIvof92p4HZdt6qWnaEirh7DryiijJRheOPJlIi0Ob9eLSIXgprOfkFTEwi5Nu21rdPx6iUu695o5V5jq8+mQiXTFvZcBpn0UuzuXKyDc8o6ZexR2/60h5GE8Nft0r/aNnL+ySJd1VDo2UiD82IKH3vjkDlwQ6SPUVzK7wrPtgDHp9VMAW2kk1lu0xQqtwaPZtFuNWqsam1nNU2+G4zA1kZCjvNSi7Jj+U1+FCjRbeTx071ZUxeaSCUZeuprRZAq6H8py2HIQfivhhDEjHk0UtoH3jMMtkK3w+yd+1twsn5EesG4oWn5XTAK+oH1Fjox3mlYkqZOcrn8kQsKEKksaKzb8FR5y1IQvGWsAqoHT3j85gfLa8c66XmzsAQ8yhAgMLceLxnxgJCTLaBu+2SWkvZv9bKwlx1pR6JcXftrKWk8qIyOcnY7ydSpafykALfQWbLNogZxm44Rt4U/TyhvQSHHnsB0DGdFJJZmIdANNnrtcQCEjmuX1EuVozmOdncAHF72F6a7MwC3I86gyZPt4cXw2C+SSfc7Fn7xVOM6mGymnKEsXChExGFpPZvMu+KAHFKp9WW7qguyVmjR8ts3lDRwamxBObeUqawZfe1k0DO9hkaBDpMcFI5wxwmRhEOH8uJnG7Xj0ADDMvWR1IuMv4SWah128OcQ7K3Q2+e2si5b9KhtsVK4GSArdCGP5lb4P/Nkb61segQGXmABECCJCW7+OHDtNnTzwGmBDiOX0gZ0bhfzxJuC8C4e7ykO0zP2tdoLUEiaWR9Cb9e5xV5Qe4LiiFu/i0tl0uFg6dgxbAJup2JGCaEHy3D2RfkJ3BUUsTp5SlQ8LPQmpEBUQrVIO3pvVZRrUwHSN2VpEiQkUnTkGK80KW95ExGq1ZJ3fOt4F9RO5GDKhl3vyREosiOKdgFJApshAOSlU3n8DW3Gpz0XzFzUrHMPiVioy3J/UERlIuy9PcCmA6CxoOKGyXe1zQKXCbBOefcTvXVpmWuBQHdxdRTpQ7dOZ+CnNBqkWp9/uBVvM8aLMvvmvjC9RY2SrVyXtxxBzQoKKTo+4wjMRBlNDTvPU12tBNQNWH2IHR+ZJZ9nMlQQZuiW5cYLHZGWM07a0qJR6I6J9CqtnMzkGpXsz1HoU/G1zVj7JgV+0dBfDOoLCbE1FUw1MQPRTqjkCai7sHuLt9LXxvQvnCxRFidzvIErTEcP5lPsgJDKuSdKGo0GsJPfjKpnuFSmjPVu4Of4neTmS1HAAt9GQeM3nDU5uGXudKLocBSvT2HWnUcrCGzDyqTx4ukrTyAq3CEOsOQhclbPqsk1fn3elGDLBcxJ86rBOrdOwlKiBYoEoCU7OjEeZVcupr1lMB12+v4kadibrmn3Xl82kBeh+JxEiBNxYcWPujnVhy9iiTh95Ppj+iZOS0HWERJpj5Xz1/BS8C4vezwZSY/7i6GdfkSO0bxtZpyPTZ6b0ROrlpx9I94EqbmSWieu7ksci4SyGflSjf5LW+kTv6bqUenUL5MdjdFbabTyCJxHzc2/Ab0C2fukLgJXOjH1P1SYw4K/nDGTOUV7EKaeO+862lB49ytBiDLd5SAcjFu+IFnSiHdT2qr2WD8jpzKSj9XIGk34eb2CMieAkc2ZrW7M02FBZ/6SyQ4M57aECBL+mgIKFYBdIuCqcHqRR/d4uqww34wDqQjHr+h/QTxrcl9Y5b+RKWSo5bo6ROMe/5+t+0SDc5R0ZY/SrthSBuiX8knkLkUjk4AdQlLfDMTz+GlbEzUAQzoESBWkURTfytoAR5uD+Kj5Hg8gkjfp3g/sD3qGeQKPPuyxOrfl53UhNzTy8V1RRvPE8zpTZqooILhIdU4yBfGTOP+pOqIbT96ghGGlPCoOmrlO0AqNv2E5rYd7KGYardFRb77o0JP2A/ly/C1Y2IbMZNglzCKDmCGkdn5LpSEUtAVqxiPX8Lpz8qG8aKjOVgwjxHcsDpXpY1/YkDCGgHOhIjpdXNdC5o0Rl8KkgA8PT4OWMDclJ3VSARnjAy3LDja7BF5ITLBMwIMrQU+N33EXeI23s/XUqoExrsoxQabI7SRt/14vQsYGe4uchWlVaq5Ccw4CrNzlrKsGUSeqV7Ky+O3BSNnTr2mKlF3R8WY4CPDzvNGDOGduSGWuwISQrUGNIbe1GNdcfPPSAF+ZZAVdYTmwa7Tg+9h5LY1DSuz7YiSinQndSB6zOVEb+M0wribRewjCEjpcoK5u0uIhNQgBYg8qsIEkMrVTwuGrN3+LT5s7CWy9G9VbX1F/dXGL979WcINu7Cu+OdnW2+5ijqIGDTb6q2O/7MfHXg2IAs9xspPqE44GkmVAZ1ViM4rIJwRWCrs5E6CVwkhwDI2rQF7Fv2mqGcBoB5t1jvzLdozlwjHhbHHb5WeCrqj2hs304yYH5EPBCzp4bzfiaG7MCCxz1mdwJD1e5ZJlPyrFdfM9KUZ7GhoDJbHZ6MUaXFwBJrS+Ssfci0XqfSHHGZLMStWXry927l1zriwekq+W1CtYxDCpLlFeE6XyShAdTdhrQEES01P8vcMG88gshNt0XzjJd26kfvOKz3pKPmAdTlBW6AgdkLgKIcVy+eKNC8/2s3f3MvFjfwtvYBzy5xYvXR6LKevfnjVB3clqNTHBg26MT4hGi/6GZXlYSV6jDvVP9gvR71hqH0//lrhWk/qGTozRSgzJDDJKxsBB0BasLGLWPyV27MGMxs7lHD7IRDVY/KjlrPxVIswgpNaVHiTNtyjlkEanoYewvXNmnc7PJbqcr0h0VgO5Kr9v7qWUxwpj40CByuQR7JXWtzS1kQyixDnegHhBmD+Lxqn6TpJH2OBQ5COnTUMDYiDPMEfD+KBztdUy0P3SEcp75KPMGDklkwsLgyTNODGs6LRP786X64WoLWJYzi9ehS4PChv+mMUEb88hmS/x/yYpduLxmj3Qippm2nHF8koIhUOkzICEAPVsf+K76UhnAESLQQDWDdWAu0fAD4G4vl8y/ZV+atd495O8kPiZ9ROO6Fkd+swec8osko51Co9bdZYdL6tkXT0kSXmErI1/N92H0W9OlfphBUKO3X9Z1ORzQSHKLVE0vdPct6sGlXhkw3LJAq5QKR3u4QW9aIUijMSFgEbKfEPJB5RE/wyI7jqd6F9dZyhb6I0bpSL5I2yGbBtyk/YGQ3ll6847KxAyMU9ywoYQDYYoEQagETFPznrQePuXDGCAq2K8A40Ici/iD3MjhrBzfDG5QudSqXwsuQW6KQiWVFXbP7ejrHJ7PjIkfgKU5uwpWg11s83mAyL1T6ZuqIwwqrDeUYqJwAhQaREt3kMQfyUwF51BvVj2IBQIGMIq8UbsNjfn/9epieu0ssY5MCLcsCrDmZuNSqE5HBVc7PmWQB/8i+T6ciBEYKUQOfi4QdOpJ06vOxD+rfIFqj9Y62G0KqnWYN78JozDQn9LQL7KLo2j27HxcroG6CwCq5ipPU2SglPP58Z70OoyFqE5UDJ5rVoMavUFI5honEm0kBuWvh6ZwWQ7MXQtCwvRAOOEho0Tt5HTGMN19nhjUx78kw/1fwXhke3vNleByHPVwEbuALTALwXFbV40YPEyXMXvEQ972S/+kK5GSOxYtpjZU7QDytYA7FnIH+Njz7BcJO95vPhBoBMb+83PVRtqYJzrUiU23iKfrd5rxtsDI6VImE55r3rDICxe1zw+nJ49sXyux1EPCD2n6VtQJxg1KROxw4jnyIjM7L45Ar+mbM5HSmYA2r6W9rro9JjS6w/WbQt2ptdKgMHz6a50+yWm71kqqJ+IqGqM7OvaZpDdikNFqDCq1qSYTIcXr3Gp3Xeo7SMIMdVrJEZP2i/VUiLFa5U/uHqMxb9Z60koEjTBnP8KmWuCiWKgwyeD711UR6EZ+qovI5GRu4/A2peNRJetCIV2ekaPqQA/3hXvFlpHytFuUlBnB+ReG2GDzMbRZQ/ILF3ErYDFeiCoQCMTVsv/FjsH3D7HeMUTDhzn0D9op6CdB2s0ziukMfY9akeIEqqA6ze1G0zLOb0rdjkkXV7hNJCYMqzzd4p/+fpFlBjleq2Z9I+auLD+wb5xftPRSy2ofjlz6GC9nKBAvcfl2Zcy1JkBJcakvxoGAmd0vGOIBSgCOhsacFm5bR6tH5DgM5KTuQttS6WW5ZcZmZkq+vFfotA5x6WuExIZ0twhfDZxnEyy58/S8SD3NB7VAjm4Corf1Im8R8fUXXloWYSa8LOoN11JSOVPNo6hfDVqIbYtLaZU6LZeC3cMMO0yEQcRsEbZPUhF2dUNwqEE22ZpDqLGamtnDlVW70Dk/FWF6L0pfoDLJqh4jjKv3y+PaasypRr64nvzV2EFJ4ZVTRs323uvoS1H1aaG6La4iHJNa075Q8/eayR+WPJIWEW7r0vTlcpL+tZzhnHYvJyfmb+thJP/RC58KawAK9SsCdOd9Vut5Kt9tLhzjcP8qVul7WT2NxeswiOSPRBG6cOiZF5Ch9y65dpZnVaN2wf0+5MdngxwDAO/rL+9YX9k2iwLfqCvtxWVbctlVxtRBLApcefajt9+lGQlOtdayhYrrMTbyCgXEQmsWa+pztQiTmZgWpkXpbiDV3J/0oNGfYWymHC+cP0QGOW0yDlmfLKiib7Y6Y7BISx2em0C+/Rpjg4Nx+0jX8pyujOE+Exa0d0vyMLjZZok6VmmpNHYZuvHBo9kiXs8tTZLCYlkFyerhBDqbF0Q0DKEvuD/aUusGAY/43nhzrCskkdQNhmE2WSLMlfBt4QO1/3YutfvOWUviMNQa0clCuBYwqhVlhIUg8A2Ftwrgv3oKigMkN+LVtEOwOMIFusgDVr2+HedyBtrMb5kJDJzdxD1ARtGU4bjePHFo3a7FGftOn/wFYyIy7zAqBfZ+rACxBWqvd3EjEyEB8J7zQ5ub7WwUTP/BBQdZpnX9n9l6DBOelZchaC05XIIKBJR2Ef2LptMX19Q/HtgduWFz3wOMOjk7/itQug/obzRWWl47G5MxTKrJUggzVNAZGxSVFKO1267HJU1JT63i2Noi/DUFfaNfMxACIGIIuvuC7Glwt6ARedrWUz1T8uzElqncd/4h/PC8pd6Wp/Zp6UOlMw7aGTvYPeT0T1fIVdixSKBTEeYrFr44VlouyBKfHKgziMv3mX/r2tmUSRPJz7BYTliEPBoZEs7Yv34MTPdycxGbK6Y51/CpmAwEJOZwvtXx0AdRAoi33EJiNE9V6OuF2ipSv4l3hGMlqSlCQwOuzrtN1XTzg6z7lHkP+5fFkbJGxtXqHRtwXjg+j1+Kb/WwSb1jJbAR/Z3ObGoE0LbIGeX16X379S4no1Ys0dhrqT+3v8NTzbKgXPCFaCRWVQPpcUeBsm8VHEMu2IrL6U7yVS+EHY8rq3Le5fTqRmVDlOGEz0gtTUnx1EkgzTqbhMUWF2LXk8+JNp55piOiSXahVmY8QIsuWikteKOCynUe2YOn6mH2f77xhiajbx0vU1P36xaamyCG87whpFyRqXKEkn0ZBXUycbflx0mCaxHUEGEj9OENjFgX5TiCdzQTSRTHEUeGQ5QZ/FgNF0zEco4LJGqEmsUXRJTrRgmlhksyqcrfoRNLhvbGZeJWZaSAdbhsUs/rwtkelweuKhJzd2RCG6R+5nBcxGXSHiXJ3pPwEpFzIKreS416R5wmCA0PeQHfSOrUZHXc2BH6uNQaQSP2iGxeHjvyztJ1nXXC6ZK4KaSSygdUqE3xjs7F6rAO+E0C91StVuVh4hVtCQJ8EEcD7507PeB3C5kqUJDAHBdZtzCpvwKX40Jcpa9eZ5xA+ne7ZF5cHShsR1lqvF2d7J7woA1UDhwaewUql9FSVrsm32vqFNLCInXua3WjH4MYRXYEUb+LY/VYfYu4hYqv06HFkWPtbyDInTZi5NLO44TogjjN8tcbvrMyltoa5V+mwN3cGi4F7NC8pYOrwuQST3adwqUf5daEM0IW8EVAz0qXsAmYzF6WO+htj/fDL7MnvzNod/NyNwN/L2FY8pO0DKSr5k8QDs2rKjbP5dJCLKNYHHQwiSN+d+QDFreh0k0qL9KrHEm7qhVmLjr80n5lTsjJeyPItg0U7/rYhfR41NLycTmcT2RQMWRBshFVy7rdyRLyHb5HHIwzsEIARdxPeoWb8OItdUzkUZ2cTGs5Vyz/xwo/nx0hBRM5X27sxObkr2zchDfEt1W0TB8VlrnsbUvX4Y0/OZqCNYH5+sGS0BAHEOE62XHwo/AQpY2PBeSBhavn9IfDPnaPjVt7UEPYHA1v/F6dw8jXKb+NcbtaSqRMmlcKyGo83A7YlySRnoXrdqKMr3PukXJ5N5+vHShE4YKWRAPvKFA1OVC/NHmOvxmKfsRVXgJe+mpBPXLt93vIz/7RPh5Ql94Brgi3fgl2CqVXyjcMmX/SKXQvK8F5JQ5NPwVPMfZWrEG89YYcidkrT25ElfLT2b4cIlf6Wsmi7iF6Fw2IBsSNGZZWib/v0rQiJQAxu59oNqeu1iTXQfxj0khXP7UYhSVTC6B8S48Rclvntb9WrzIo1RKy8wnbNbchW8n+ofTmXBVy3iAhJzllviIZXncyEBG3cy5eTJYx5Fe06USvTax4h70PdqiIjsrGlkwIiMGpZa2D1lxM7CJImREoRk8uz96Vdk9Zh/toFVwDMm4fqIyu7I3SS6IdsbHmddThLRqmk+wLYJxaUQuAkTPvbzjuARoqNQK4jq/hwLrz7EoSq8UYp5IprvgFUPqgJeey5A303nz2hYyrncBfx2mNxKTtSdbUjSrpqP4n3ayQttnA++lRpofnnRhEV8hwV0Xrtd+2TDojBJcEsvHge8Y2Gfwsr8ozULhRDLY2Tt+UmjjqXBh0rDb5DDXDeJR2qAg1sgkQXhj+PSL4QM6yDACFk4lneMpaTft5pBih49tZmVeJCrbuaciBsKk/+aIe/RK41W+g4mb6nR8Q5ThKNhsPnwC1RjfxvkdgzC9WXfCNBgguSOqG/+xAJpZu7M6d9KIQo7zNosuvBx3yhZY2parIj5ySz8ulYoUbKSOZ/PQw9M+ahHjHV5QMTwBUdfxh0Wwf//3IU3nyxu7BWKtPpzI+1geygaU1bL3HHW2h70Q7dy9PAQNQF+DKbAf97O9Fs9US5QkoWVFiIJ3q4huGMIlLP432DU4OuxBFsia7HI1ctucnorfN9IUu4EuZJFvhuClCID+Nb8r+pWdqC3SN37fnczDxwmlWl5ggzVupaWeriYXXcaiqkRCKrU77lT2vJWmDCiQN0kH0L/xuKpy4ByM+tyeKVajqI5vQHNnZaZoJdsZWelIrPXLpH5kjpfAGX8Tiy7KLIB6wM5vPySkdrQ3CeiS7wKKV744BrkpMZX1ehgOR6UDPmVQVFREiSQD5zTxaLodJ0E4d1jZzr8kzZDNK8g1FywFguifGXOrTuFi4vrM/t/g8WBy0yI9NfnHLOuBLBsrpZpLqBGbMAXWyRoF/VAjvtXPdsvplKkihZFQ2i5UvroFDsmSUriZYSaN2FW5PvvxaJ2kJ+7xHPYNA2VyDxBUffRwfUWEEs7Y00E/UNJ7L2IeC7SwhML1bxv/1jnxuWgDQuevQPqyJKzgniwi9nglNt48ayFkhP2s9YJ4GEc2f67yL6OKten1f0TmeT0f8zJ4Gd5gwH8+oeSWJZL6pcmizB7EYopALHCycZcafSr8DeZ/McYBmU5JpNJbt8RbMqPQNvFCwvuO9jePemHGrmudp832K1utrpfmnuipb5heS3MIlHeyOqPL98x/kYq+RfWLg3KeXzPxQaqW22yaW6IZXfSaPCX0kH3xAMlol+ss055nXrX/lknS4u1nmUb/DWtQ3FrCQgUUw0e6yo0LLNTKz3LoX8S/KjHHNN+vTJQGcsvnoJYRrFh9/1oQNmdnUKOfPC/LOG+F1SzRcm83wvbWPsSjfb/BV0dugpd3QbtTLuMLQq1rLcg7sw3vhqT5FmkXO1W57efEqbOkX0HBvD4Syb5Ms0wm/1pUUwMwd1VFXzcNpcL+jk6OW+LE67MyxYKrE"/>
  <p:tag name="MEKKOXMLTAGS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5"/>
  <p:tag name="BTFPLAYOUTENAB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qMECtm4bt7VYQCJtHMhj37iNv5g/lAF+vcQ3i8Jl8g7y+tFlXFvVUDrhVc7w74sTUwi2vlizSOCJe1lHsLsU7E8edfagjdPoYhKEOJL9lhCFHPCci94cKFOJsl/5s0NQt5ej7h0ka/1Vx+IAaJRbniIZpNyFAXwvzSh4s/Emin07rIlUXoBo2FuceJkM1J6JfusKRfedoIyO67u962C1OTqVLzkAyY6P+f8uxOaI1MmtWXuMuN+jb6Wilq1ZEVHtcpX9Utp+3IBehvZo4pWvxfyGw7DGvAJPZgkB6Ztjj0Od1YTpW8cz0qbeKwx/TqjnG6tCcEA2XFTDCdWfZehjrzgwR9G2DZ6ExZszz1WqkISDgdq+v0jh2dIZuS3CpeS0Lpv5JcgN+Ch7sywBEOKaWK/ZERhyjNXZkkFsodEXoEpXU+SmBY4FyZPPyBdLsQfQZPkfVbm5nfODejRx5ZG437+xXi3UL7KnkQ0RKspZbJNmVkt7EasT4YY+EJxmjRECtcl+x0GS20W+wHjqZoqCfuziGrJ6OiHlGPUznEUSGdQomAzwX+ZuIlWWuJ3xRuQZWT227LIipfqxIKTQkdESWDaAJvtHLuQwRazeqOH2c2cBwvqVYZ3nnc9xeshO6tgDVjBxK+eFTLA8UqtYIJTnrCuts2qNp7IRKGjSBDHqfCj2s02KBigr3NaQ9sjc9swZqgknl73UTndYkbQJmPrdgYHS5mtMBLr9I7nYdENL6Rz7FRiuaid6H5VI9GvgBT1sZ4syzL6CHEHvos2IJ/9OUNs/NOQPkw+cKPMZjfdvIkuTJ62KgboH1ziT+bD2Twy4npooY+QmFIBKex8wvrKDx4OFDjT0mkWvnurQvH+01WAJ1MpX8booaGiK9VYdgIoMqc/5oGyJRlBIsoXp+f9kUwWRe9EfJgmQmikp+aYFmEywmplA55CZIkZ4I0oLHZ35TeZBqWx9dTfmKCArbs49XHzvC68KcxX78RC8RBUTQSWNc85lgZC4EFIZpYb6f6TnbWXbsMjQbbzcvWBFk5d0M/Nyz31JpgfQW788JdJvcT/MTsr47+xG2/Vj09z6BS3lWxJifK0rF/YF6Ljx59UOtAveTeqedPORufE9hf4S9eoZQxxflK/nlHM/oETRh9aqkPoLeBHN2m9E1e95kaN06QOrkAjF0PmKlInlKPyq9QcbO40A81uRd0gNlzef6V/bgvBkpuBue1RCobbeWy4xzCoohMqI5ppTIY9XDIkHl2hpnr+eG5nhH4sNlAfRAUmrzkvcZA9jaiI58gxXfQZQlODuJA8hLucpQYBV19w2jYCCZWAuwlKxCUZ7W/Yj0PiIyKD/cuYbUKLTrFQPnogpq4KGezYJ2EnS9pQS4YEhxv8MfJoIiqqwQV6K6JZ+iw+lThe73bQ1t+2B9vnQ1++v4RNhzrl/etH9kOrjr8W+9a/iGMXXz//6PgbJwPC7NB41fwrNoHO/usX52u4Z1qMHEe/hr0M75uOk/zLWKrVgnf1rbY7j3iW+sWqv4qrAR2EW4B1BmYCSd9ebg+VHEwiy0LG8GgbVW1UkGdLAdxVsclbXJy0FCljp1SSs5ubhnMU2S+l2tOSDQnxk0xxkwDe7H+InAh5x67Vu6YaD7ocWgrGKwovqbqfggZfwrQ3Wtg6457Lia/Xv78ZJ0ErSxRTSoX6HzFI0eyjKQlEKN8wncrLwnP0hwdyvKnfSYKPD/dMPZBj/O+6b44l11/2EcS1DcxGABp9DDT3JTW10UxUqcSNmdd/+iNcl/zj0WdHArCqTa+t8c8KlGJV65SKKwal9kVpNO+jDzHoHoZp2vqhMvW93mCsuHS2zoJkMPRA5HPibeftV++lggduebDBUJFrFsofzLsjPqIjjq8c22f0xRP2NslUzw2+E/qfbHRmWVBhd5Ty/blBDLxFgDVF9biYm5AYTSVgq5SuylkrYA6D0WtxZfMgjjc01m2ByhPcpqql2qUDmmQ8QzHDMAxGrzyUgfGh5r88isSd/rNszbu/hgvOfLOSY41DpYlb8CrgIgYIwOvwPzdKuqxWZYNR3e0NtTP3Kl8WgMBvdG66GLZFHpI1f8/weIyRObCjZuuJKZVe3LfFDup23ghZtrUpA5qNQwvu7eR1ljMrXPpQ8PLsom5HitO9r4GBFH/9evJLGA/9nbFLXI59xeNOgWIDU1PDbSksh8Zzt6AtdWVA1chmFb26f6oiWxYA+GfQR6fNeOElgU0Aoz5FONcGWS2pY+/UBV82WdWD/SdhBNlURpT3wZSi+Kg+gfswDt3ODZ6L3gxB0vUh9kR9rvwelshRUO3eegwL4hlxl0L8ExVGXRe0xXmy96hd3/LYyQ1AaO6uG9EoThafP08z7Kh7KbVZc7RwYgWieT12yz/LFtjZWLF/KmDu9CMWkV6whqmpz+YdfthddCDrlL7FfPOcxVPcZfpFQXO7j1cKmTHQxJBW+sxubs8S90InK6M0WF0YHvvb20eQkccgtJv94xxvP/HcAhZXZFeWRiXB59y7cKV407pT0TqwX5h6H/V4KoL1zf5mkzlnG0z0mdXZ7KLVdnWpuZsSOx3VeSGbjwbyRjgOMcvT71zPdw2tRIbOHDVGMfx4Px+w0mAUEcwJFumeeRiHWfEXAb8XEIZMkzHYMMux6y2gfjwKaMTElnWlhz57ctLVoz224Q1sZZkRzBciC8UtibF//tkee1EIf5vfWipP1lQ5T/Bjdzr/Bg9kpDSd9/dbiz4sZEKk66sBWaZfXxzWdTucCzTIBVexyjfdgauicH24pag0i8Kgg/PxXs6HVHK4UwHU9ail5bRqQZbxCPRGWgA16dUXPC4bunb3LR75rlI1JDZH0wngsIqJl0zllwTI7z1nwQOLFt6wjTsMBnCMvwkM754qViwN60CfPcEwz6QX6yJGj1XUGpWnQ9++1+ketA5kBmz3hMKHnOZ+ldMYQKk9zOg5b0mI/Xah9seteODv7Kw8dm1FlFJQjHo6SKc7VScHPvSxAFE24qTSut7Pz32tL0dm8CirlSZr7Gn1uOrU/X+1y7CoiyWGBy6XH32xlf06s/6GphCkRa32HIqy/OUfriUVu1B1z07xg97hwkJLDJBqeyx61A/WVzQfpCBCa8f3OiU/KorvXIgE2Sc5yL6GMrOar/IXvA51nhB1woZHYTI6LBfWBCedpVyZuqo5MkM+rjsb7qsH/Odh7FKPU6khan2gvUdTGrh/0xb35TKjk58GdtdJm8rZMsX3Nf5wmD8D2X1MaE4KRmQNCJ+7mf8aX8jYT9BO3BrnbNudugEf9grh+LsUoNW3Z58sGdir9fkVshbZy60R2l/03ApFcvwZmv2oLzGMaGMzmV9TjFlx6yD1fLk6L57iGBZaSRn9Ys719Qan9Yyj0V4bLVMe64TedFPjAubMHsunAwc0XzOJwpaSoGbakKdUO4quTgKl//c+U/Z4pkX9G7Axq2Eow19zi5sE4eswaYtwwpKSDTcytLAQ5NnWcCHQbL1dRh6u4hbZ8a8wp9Vb9xYC3jYSh7TfoMQ/s/6G7NwItPqYH9wAkNMyv6afRbocB3VFsLpU8yxP+f4eBjwod2J9Zev1M3kLOzmqiBXs/mBuWIzkbsi8QPPf2wfz9ifQWgDUoFmZEqTkMqYQztEa9J5bp56dsdkdIyRhGRfbai0XlQ0KJPOEKlhhyy0BaOBA9dfPx0qEv+wxnsUN79gtqIjB8HdkXSQhhcMVb5/XY9EdOoWdwU3JtVq1VTTxIZUmb2XHJD0yaRoQDNuOtksRIlEn+SsVxUmLY3+Ehc74JwtP+/w4pNSd0rao90jjqQVLwmM8kYQdFr6DMSECZTjto5V4njVt3lpXUqVle62FGRn84qu5skKKRqYVHY8vYkuLmyJ78UMRSE9inCAVfdmPMaVmSYycpcvJP9oZlf4agJ294JI0Rps16nWPUEQm5L5xmu+cmqjgFtlxmN3/LsXxsaNOxpEa2ybTHtpCvUYtNschIFPRNTRYehSKGtj/Cg8q+hiKVwr38kQTc2kiKDjLe7jDvGWMOCyDNrkswqOwjMr58Qn8oZC8otVeuajJ2STvcCT7qwO9GiZgicl0RIMHj/R/1m0ETg74SgMec2bi8MZQjpRJP6lmSYb/PJ0CKIA4mWzzmECsNKGyKHuXA7OVNJ8SG30OAUM55S6KA8QVM/HCXf0YoWOegVxnIZcUEsK5KILy+RGoMORdDAzntB2yD0J/01k5sioFMHpphyh4mEb62YbhZX5V6h4ti6joo7sXyJpz8YhtLOcrXPXG6HkBqUIDqi7QTISM48jeQSrHPzeG1twMAGAeLYB/jDpGj94GyAky5fBw9hijbknl/W6Xq223S0M9L3C+gWlqmtFY8y4wqJxUGNmbs31BCAKu60DShpz0IBLsNhRNwv/Fwt46d+LTTpmLZ56gc4YX23O38FwThviZMI6wUxyjZL89bQ9xtasqQovI6xXL+jDeQIDNBXgPS5k3L6g6+Y9cHrBFXIL1EOtGOJpDqySDVmgK715ODxcWLorAWWGRN8hJWlT4PVmZkD1ll8fGikeDRTHIqAJ9GhNlALC4nYNEQxa1K/cA9LBTWpq2LXDthYyEEsMHI6AB3RhBO2+KLXY5EN1x32L/HKwKwrAYsfXxaB0d3biJFQ9lTgGdJBwdxBeRUYB3Qz5eWGboQTYefXnO7ApuuWy5CWQGJa2Weoq6KQm/nTad10k4rFMnPUvQAe0U9frQhj6vLCnLf8m4N1jqr+Jxym5OHUXIqS76woY1d9J+iC1g9Fj4QnJ6ofYJRrh4yXT4HcHlXlB7SRR3DTkukX9g9sZSKedG7s7y3BXIsjs8eD++2wlj3EWMDzqp3aOgxm/eeQhOUIOllfeWk31mquBciQURBy/aAi531/B0zRE6kdoVg+Rz7gCPfiH3YSKopHP/h+s2sC6Y+3iTMcGSOO/gldNfY5Zg51HdhdJHKCnQp8v+3wI+DFDsUxoYG4RSY/zCztjmartgl9CCve5+FhcMjJ8KnsUVo/J7slHC2Ig2CZaAk1aGN8MMMm68sNlFhCqH5res+lxnYdOI0voX++e2HIKcLH9ou6oSZMvpKlTqyE+bm5i/NeNF/Bd+3lGbO+ytdwlpMGB8otg39jPG7HSYsygGNDBwkf/oPgRfNkuhInZeXYLECkhL5siajJXQDE6K3dBK7Jt/kEhuMNCEdnDBPyd7i9cEyh8IF9UAouFNoAFL/eaJIDYmME93klUktZbjr8ugkrsHxC/r/kkMvq7nXNfks3+OvamQ1ely4Wr3SEYeXPZa5MtEyCb4EZn8Y5qgv4wStIMVT1ouHlsoCrA11/YXNBvqmatrsNshg8MIW725gZ5aav6BRGSBwH13RH9tLg4J210NeSjdmjrClVnZUQK4q6uG1Skl3EM+F7fR9V0Nr6ZW2to59ykqQKa6ooBJv5c+cqf9ii1MkfHEUbrzDeTBnC+FJB7efpRlgD0GmU3nzvUqX8q9sGLZDXL/54mLRwOgQgBuUHk1qkklidraKK1jYpHXINZ21V0dzvPz+MBbVx16J2+AXeaYX+TVQJwTJSa31/AJd4uix+yiEHxuDS2sIjUfM0etrnsW82oQ1ecPs7EmafMz/vH9TEm7dNnFtqBKcIbD62rERMFBVAEw+xuqYJrP3LKY5i5pxh1GqFGycfYiglrsREks1Qb/C5Ki7CH53SxCKG8Kw5G9aH9FpBIqN0gcFTCdCKxLM864tKAfWsCfDQq2tGHyiJWTh2fPU6HYkZGa9xB+oWH6g1mD9gWUDyK8dX5zXLIDsQMi1UnUl97EkupSIfaWVIyCN586JsR2krXE9Go61HNRLWkUiufiZIH1CpBuZShGjTcr50x+4PCZ/IPemna5N5/LbvB7j26ATJ9TniaPwsQg7Z4MhcpkNMddLbwTu78cPnEajkAdImWwPIELE1AesqyGWM6N+3zbzASzsbVX8XV5/iBhne3r9KBl60LSID3qbzsmw3XbSYpIYy55ApR/toLy7ke2UjxX+IlDEgMfFMHzI8i9COdYZ0lA7B1LyNJKj02SSjeSWSFpWo0RJql6heH7QjdgWFasdcaeOxuILL2jVA1ndtrP05DUMG8Px2ajSLkp4r/bEzGwvY1NAI2H5dh+Jsps14nOFguc9lS2tOe7KEsUqwGPR0/9YS1+BLX6KM8MmsvRbyS+2b3EFYJx+zRfsXCDJs4nXZT3Qc5U7G2jcTEDLkw+aXwUrK+GHcZp77K+GWWr1kmLvKTCs1oSGtLQNc86tTUbgWxt99SSdBT0AZl2MteNWCZIhTl/SBCZTs8qpcyOuaZzsZ7lQUvdgXdKzIG/Ly7X7bHyRQW4Ql29cphrrLNXabkf9MNEN+4VwyQrgfVLYfy0Bgv1JAQ8McVu4VtU+DTJ5t6+rX4OOqW8r04j++z76wm20GGFuBpt1XBZ3LM37MUtppgmprD9gsyYfbX5QEWvTsov1P4XEC3GiGjUNIciST0ReEsYUsoq2G8Liv9ci6Qy/n9I5DJvf4NRGnsANfj3Umx2gSQZk0N8/POage7OHf4etoEhuPyUzd1qa83sz0CXXJ8/Z410RE2C+I/5vLeMhgwROoDc5EekeDdLUyrMthX+XDX2qU77Fmupg9SowU6cVdbSOZsdqGtycKBPQLGJDn7o21Yx/VFfYNCYghd+EWIICFvmdpyPGEl3SIYhL6Mg3KNTdz+mpvLZQdzI6VnMOLQEKeP2DVwIfk3ZvXle0fkwyMW5QH5/RbMLStl5hmfWNWVhmGMx5MqEgp/xUAuFw3RVdWheySv2U7HqTYTy0bTVuZH5/+mDL5nNhZLO70hbOTkR4qBuinX59OKCf7O1SYev68fCHWTGUEjHMjr7ysIXWyr6gsFjqDj6xzjj4bmxpEO/9uhFrtYrIjhtT3XK5SrUvKtpVfZBfrm0OCA9hwyacjKKIidgsvvtACVk+k5Umn5rpeYRZ/16x7vx5fjNDkROI4XWcXNApwXlHbI4JF+dsYfjw+XLNFwRy4PXYVPozw4XFDGjplz1FRUAZPrsMBdjGLVZPEPfZP1vzPnDkJcg3F53KN2LiO7FoZQGaf0ZMxUD/NoMJf5ghU5CkzeHZP09aFFWfoNyqPk32tdRbQJblXH0IVQ1PwZhmAn+6DZ8JcAiz4o5Wo4FfxjZjezD5NZs+DWGiCoHoG9xNOKlSmwx0rdsLr/3sFrVf3sz8X55cDQiQ21b3abfOMxSazujLwIBSg3PrVBy8PsKnFTtSM5LgLXu9p7kMn7Rve2CmUKrNUHF2eLkMnc+JXKzAfxPld21gCVnCNwgcI8AVqlWmP7p+/Mk7ma+bzc39N+oJE9YaNMYduo4aloMNjOwA48lbiLP2w6nqFSKpr4saDfWT7GF38r0jBA3mJopBUtXDtkb+3jC72wq0FkhOucwdOKnyekbHLrFeg3/amLmjtO7H8gzQEKe/+3MNqzZWo7ojaFMFqok+C7IOuMPN1WVHgZU7jQoQg4RXUmrg79hZais2AQyDQBBjjJ8BHauh3vUq6VTU1Gk0l+to4alfMXUGYtqGdq8nczePOY9O51zDBr0VfFve5VvjzE0uJXkWG94+RS+zwi6igRSyi1q6UvrMnOR+95Nbi7s+mIyrtDfWs6sAJLgGkWmfyqmyvXbiHqmNQ2PHyJ85hIersUVx940y81l4oNAGroOZ5pJ2vEi3GSuwHB+FBaq4VwyTfSLljuaL5QrCE3w8K+ArnWzg1fFJXNAMZ0Lxyf6ORpXrEGFOJTwZOlgD1xrRMyFF6ecS3E+tAheOnpp4j4fvK/rQvJGfPyvJmUwtuuLaBIdwGzB7wTyahg9TN6SBYj26+DIhvUk7kz8WBNmh0Rt3AdYnzo1o9Pzt+gcFgisihW14zXhfMC2gXk25S65AGXQWmhYNHC/D7XvHthLPyFLDlSfG4OR8sI2hA/ABMqaVU0LY7Saq9KcrdVqMDymY5K+9pJVcZ88/cRUh+DJR9vm3eACHzJc5G4RNKHU9/JDqAbAgZO3HV+1h4Q7Egfvlu6zGVN9x80WbWQbAkcdbjn5+cUhcVGt/Zqw7zUErieeMGPyBGMHb5YJEC7xbOo5l1CQ2O46aFt/T3IigiwaLL3o0t264EyL08xiGBuKcQNJBJbSagiPWrhcqT+mvU+MKe6DozoXIdsnJy+91PUAAXUVeT6Qx6C9tgmMM/xd4606oMzK4YiZnD7MesHjDcwyIKYjtIhlRqyUZNgRpEBg2beCX22Eg0KPuaBbB6os9Ns+f6qxuO8AN/t5UwKBJLbPLcFtBb3/tIvsPG2e3GBlnTYIjd00cIEtn+W1ghotZUNhYaAHCUbs+BU8NL+KrdmNunRiSerC0PWyAylkwu0Ed1yrk12AvqNLX1n51IOlvSnduPrnYCRFL2a/cEJ9macKiUj9eqXYNIIwPKnASfHNYDZFJeWarynpnPmuiJkEb5EoUo6CwMgyFlCq8Yp+GqtQDtYTOR4Ax9wTq3LEt+ganz8HuOTGWIPLJTjFGWi4UrWb+qsSSqDZnGa0WQJRGV1ZZ0akzexVCEgZJwSq0RIxOS702W3oKt+T1hK7Bdd1S58BXYlNzFDKXKzCpRq1878IvnM1MDCSmvnoAdib7AVERhsIzSB/DdCoQCUKEULt6naKkJ8FrBwjCwCv/L0qn1Jgj5Hzq2JPsUrRIWX3bf46Ik0EIQZ/KsVW4KjUB3Bbaiyh4rfx+YQAeowWkwWp6fDlMY5+Yoyp8VGq8g/aIpwyo+N+13gIk+Z62Z0oMK0lPK/yf370zOu987uwC07J7H2qf3Xsl8CTLE23BQ/HVJ9yv6dI2Cf0i8ANwW5VF1/uQ1hKJL0xPuCEOCXiCbxG17qRzPJUn4f8Rgt2jyhYoUSDEqlEm35AlXY0bawSiaZSVp90GILTYfxpaLRZrVwJpro8/nDbfX1AtbS/OUvvkKGK4M9RvjFYz1S5+46uWjZyO1rX7G+67dqD4YNRsFPQs854HXQ7gCI3MchQYkrWv7EiC2VJw0BzhubJ9nKSrbGI5L2bGsi5eUowi0RjyIsFIn7gKTr2XXslqPtD8GhR4qCQHKxLY2fvKgNUmjaTm+2blYbc71s8BGFPHfKrXJZuH5mTcusqqoKMHUUfWFjcEmtdWQVCt1CibPk7SAZ19ScnWT+CBLIRBBmqkPsDhjsYzaHqF7bQ8KG2y3dzWH2A65E4OcSJhgpbFE+LWi5jza2s37lSdbqnSUHZyMbmsDZTjKgmaCmCOc7CgDxaRD8gQkQsUid5mbgd0Jwd139Ji8JuOnMbkabuBQHxj0xEQM3ix8YXUTFt6HpONIqAKMEIyTRD2laJe48vFRVqbbEw+ndAVMQ8TikFXPzMrshcpQYVuzEVhj8+MtuMwbZA6aXVS1T7UACojgxKt+mzqzy5OdpGXrmYi68kn0Dzpb3x6gsyCLYVaYlF3m9e9c+bPRkFtnbQPqCtFTUOmQmKPn2YICnIKowPGUPHDzMMVHAmsvgpHNV3xaLhqZDulxwl+iYCRg0LxVOSWwts7VbeQBN8T9wfUXlmEiq8melcARzmFLe4FyAQcLfpLFP9Og1Hdpg8luKfgroBwUX5RRn6Be6q6sByR1CTn7G8aZca8JFX+oqcAl8a/DdHWSz13YJ5bdW0dXHvE2GGuq19C/FKCbZBFymxhY7S5nLjeGMeYJ9VVvfYElIKZuuNIimS3F3aJnpxkVJjywsdENc27tWkgmPwyUs+wHvjfaRCTiuiCDksZqSZKZYRg89NTZXMh4Q+FG2Xui4SLxW3b4lhfTuQnX0H8U2s6PKxQE4U0icgY7AH0EUmOKGPywV7f1252U2dHDMjNs950jGdjp1u70i9ZY6Scnggf2SLdZyl2Fp0uDdxrDCK2NrKzqbR5wGuZag60/BRbDn0EyDuffMDj2Pl+r6SSgSi+jSuX6O+kzCmRAyS8W317LEhRH/pYyIO3mWS5pMGWSZxWvBMq6uxxXeSn6GQbL0JwazxLUoCXQ7BJUNwaQfro7BJkdZ9ANy3Nf0ce4tpdgPbjhOM1L+oMuMyOH2uc4scTa8S5nOu/RKjGfPuV51rndyKweo5zq902XkigaoYGeFN7/3bCg3wUQRRSob+krcOsgiCXUMEX6lOmBGoJjzx7E7KlsO4VEIJtFKzU3QHtZBpYFPYvqSk5rradDsNUECLpu320UN0smDTX8fr0VKL/k1oEQ6AiZQJ9jqsouunSQ1VIuzC05n0aFN9z8HxMnKixdsYurh9ZkvfGXxJEG/rd148tIMPj+kr4Lw0dpfUj2lCmqb6RXS0B25e8+fGS5YPoUY02BYu4cweEyhJFtor709dnCBL1ez6Y16rKt8gqnvg0v7E0p7JKDraICeG/CDgW8SVmbfyEeNzhBEW0B4VF3pCHlOPb/VC1VAVRQbe0bINKbQRYhKP0kadm04gMGigEKSEOIC8pz2GhIbHFHH6usKHpjBMdWoLsDL0j7WRxD90gKR0+b4mzg2keHaF0LpEHWsGZkQWZFm4dxWpXysdQzdUHqVabeoeZJJC0ZpAmJn6a7VKVz0wlGDgcrSzF0gZ03HEHpdIAyH06Iqh/lwcg5v9ewpitYaBEfvSam9TAfJeUhdpD/S6vAxH3FeraEd5tcdxEzV/SKfWIj+ByZ+9B7FVbZ3f1AvD+V5pVhphs/BTaCnBWc9/WephdrLecSQTNnb3A7DMNr9vtvyyQtVn9wVEhD5v5LgtTAu/E2MGyfAfu/7GCRt+H9Bp2Ks5qbeNzoeaGie86mTf763brwW6VVYJTLp5ulCqaqVJuk6qm7NOvpVIaDVD8xGmvS3hJovaQP4lYEjlBNfwX75M2CoUSwg/6jhelb9GPi4yS0QsvyeH76tZqhW29NQZI0luOq/Y2rC3nn8GIRlR/S51P3uvu+7Hh1gGL8XPK80Mov1qOnf0hJM0nkCKYsVJ8T3i/2SXK8h9DrySY/kVrl8MhQO5/LykdNx7pQ5Ys6B3nlDELwT7/PXUTE+ybNpOZadYq9+n3mSci6pQvPzXhXAgnVd13uh8EzYJyv0CBlCq0j8RUktteRYd7IGUIFUdIYR4etQPluLsmBFTl3CHCxuXVXjFTuMPifqx3rQGqNwHjjwGTlwV3I7asave50fMo/lGvxKYbB4SR/iRovhvbGBiQRDtWdjw3yKKcepvIRiYIMJ1FxRkOugvwAdbOx5N2yJp0MwGgvFf6sVcJPMaHQrIL7fvq/QlzdcfMX69d5FrwG5lpBw0xOIeNRO+DN/qK+lbX8RqNG91PJn32K+g0nyluSdrAL7FH3rQoJLAaaSVIQ/Kbs+BcPkRU+cJYOCs06VanZr2wQi2he35aeB2MLx4OuyUrFCGCQo9++PKNRtRRhJCWUQlvmXpzeKP7PQ2H7Q06eS6+hpUglE4fFRGDKlfyxPsOnrcKAQqGgekntrUSzdPgTQfCFLZTnX1lUhbjAHTOi7h+DBgcjZZ9/Pde3i1+frzxMOVhZ5ioj98sGCglqf4QdnskGbl8z4ubONb4rg7AyAkR0QZulRW6fd1+/CK9I6ZAQyndH9M+PXtMj/8Dh/4lSTT+sGVlGAN/Aet3TkFEfwDN87piR969JFkjcNDEBGVNWZK8O3VlnkEydQfR6rQ7WRosWdaW+opEYnQLkJGY1PHv3u6fgZ1u5yW2OJEaNCIrloQW8XjOJDlw2oLV84LMV8oE0wzHuqXW3ILgV6POE+iyxsrRE8kHTmdatxwWqIahLfe2PtKLvCuvSH9GMikzn3IJxmm+TNRmUi0fzEIiIn6EYaiO0w3sA3p+fBthAGQk7q9res93twFzj5PWVik525NfxHxOP21MVuuclFG/H6GuVZF22ZcyCr6pRUNf3Oz0pN5we2iQYajTyXtmeybXke+R7Wp4Ouodb2nnwH5MeR/DbHsxNeSHpk7oV2nm2Ez9cZmqJSwmUx6xVXXZ2KbvXfKrcyDeH7OhYGMIz7+6R4imLNdci9wGzuDYAWXXl+6pilofPSzRKqWPgqFj+qH60euBQKKz0/i4HF+++185VC/pt334GIycJfjFCs8uPU5RLTnmJEc/iJzzIG/S9Q22zMgAaJ0lW7wtRRtL7M4W/TOj4+GP8+3YLYBtono/w6VloYHtsDXLefHFibJ04ZsIb0eeXuMwrzNo5jdHGHUwJodemZbOtwXVigEfyl2U5ioCi6XJpMTe3cqwvrizDaRNHqCYHAzgSBmtdSBA3o0Bpx3uMIKnlw0pu9ZzdygDgjsH710uGwPXibTLVyF0QFGY7q5DubiPU8MbRnFy+YM1WQy8WVkZQ6/0yv+MkJKykiKuuwRpZ4bDTeiNVDYFXtyTK2cCmqqvT2sLmLJnScdLONZGbGENSqQWl7eSkEr75WMwvtZGUIEbhJvFQFxlWp1T5TtRYad0ZegOsoRg0ubGdmqbom3XLbdGhxUFkgdhPFzNwzZu7ZaVL5IFruVoOHHdteS8ZC8Q3gh/wpAtotkzIV3+rf2uCZ/OC5tsGwp9VNK7mOJNuK+3nz8xnicTR1FEfc51URDQTCKehJ537iBbY1iEbogSMR0dToeISiYkhz03gz/LwiQ6QLA1PhaxXJBX63vH1pZ356gOVYYcfJ0zI/fo1+iJtkBtMP4tD3VhBQyfjAJsr+4Wmzgbu2laUjAo+474QyTC8OWV6EERiIXlpYsnS9eJn0g+7llxEr1DquSOJ4L241njg4E6xc/gfydDQnsV4+fXothN0WAKCzv6uxOMjzTrdPE9m3o2eE0wQAxK1Ps+2dET2BlT1xboidZw+6pxiegldSNItWEP1h2JVywXN/KVJ5Zm/oqfCSax43MSrpSW2YqMTN31FYZGqUVzmIsISbGYz/T9rmqqhW1DXZOandUPTvNgHlL/Xqo0qBJZxVo/tNwhT7G+tB+74AKCyzfWJ/qHIEbvyikTliMhsbIIGXFND/Hx/FUo89iekbsdrLxIHb1+YioBLrWvHiWtZ+mWJlbA5yD6oduaGm+D3inT1xkUn2zJzgFuN7PgjzJxKRiTe7KdOXlJDo1TM2l/uDcAZ3MzAFKKkb/pZj1JDBEoyOaxwwPrGHcl2So8l0wRezcnxVHmmWPIAfjQ1ExEIW3gG2nDqkDdultjbsv4X2mYraz+ixWCKp8nzzWV1m0NnhUj3j86yxw7IwUk/UCidaUvQK6QXvqHU2u603stiC+3iXFmxRnJqx83ZP0hS7WTDBPl6/SrFpIij/Xx0zaIyoDrgsz7r2/5GsW8bCfU9eCyBJBiiASjTXl179EwgoYkb88L9iNJZDF0+kkddhBsJecwYFzSH+WsmwXWoBfD00i3QmwKXb4I99Ch7QrABuTVSguuv8KtWi3jeXF2w7gfVAyJ7NoFK9n15S72U4+DuQAt+cI7JCEDV09GaejUZjCC8h8ptDvWbcW5yVC5iL8uzKD9oBcceQNEbhlsEceSDwbq1f1VSbNlSdSPslptgLI0FEf5w8qVWLjHMaiojfmjBYMKb8i0f4MGiNnVZsBZ3AtzTUt+yYx6mPhH4rgJ0O0cWixFwOvq+ro4wo5fUigU74y9O/K083IYaBAqVYFP4gqeyvXFmnxiwaqoODfC7+JMnDJznqGoFRgcpNhZUQFdPxpoZ6nWIT9XszBKYgmrU5U+prA4gGOxPwwp/i0n/sZUAMinGSR6otGd4e34KTer3Z98b7qouFdMVaSw6VXHL82pI9oUEMSzD8HZpEsjFtou8CAb1OElLYIygkgSHqmt3I2FLTkcicbyP0YI9ixY/7DIIAGN4cQJgHN8pyLMbQUp9xWlFvSanm2EE2ha9mqK7IDwhw2jlsgIrUw/d4JWZZUx5s/lYqtsxa1pyDnijS6y+9bcQZz4+FNR+GHWNRSc60En7Yw6xVynjcsgGKsd23WQmcm2EqoOR7exEXeyOpTBrDn63JMoyY/hexy3HPeeBXZSy0MbFeBchA2QFly9K4L7aYQPHV+SHqLmtwekDNvynIAAxf27pTRi3xU3rbSiRppDpiKhufxQb5+ODPyUs9qPIHHMnc8jVIXH3qIPKKEhb6jFYqpbHL8Uk8AAQHH1M5AdF+TdXI1X3/SiuausScXDKA/oK/aXhVRVAk9/RJT0RWQZSIy/WOYg3m2NtK/vFolKevzf7feR6DCMOk/6Bt4Y4gHBnnIRpOF7twOdKUiqWF/Do/nOO9Yv56eUXaJoNbgLCVSX97MBNyvII1Xy1FbL/KgrQ/sQwPse5ZAn3SKZOfpNZBjlmWVNR3mlxZfh/sndrI9Btb0HaBVrOMycDQkAUNbpTXsUNNzgiAo+CM3fBAzZSm9lH5PdTdTfb4uzmxfYNQ8EvFoCkqnf3hcK2KZ/mQOsk34/Ij5Rp02SE/KHwrpqPLuSTRCeuLb5tFWwhUXQV0viPdOZCimJsM1PoK96aCIrRugrPm6Bua9KVRWw7CAcGAL6ABZLbVj+zmzXCTko0L2Wapk7I1mear+qNvUGxwV3QfLeVv5T4FCN7Nc2kWGh+riLiFND3qf4QKxuWJth8e78Y7/WVgbWgFw8m8fZ5a4n+B2yUf5DLmSGDMgVkXFZFr+Fu2404X/hteB+BGM10zeKGb0qyQqPs7mY8pz0D+HEhiSjmVuxdfLcDkuIJNxm8EADvhpGEoscUKAPtvZLf9Zmweqgx3iN15m9IJqAh9BihCSzp51NNaXMjMnkF20JQJqNkMcxPyBllv7AxqFF4y9uB6On4PlmdH0zQ6+oCPpSU3QBNjjz4W+ux7wnwCfJY1KKFXDgu2s3fnB17jvRDe5t+FOJQyq1HHFTYiuQa16a1Frj5lHT32/mJc3zwT9XwiRFPVf0Gq5GQRM8V3Eh3EuGpb6uh6YcNHMKxP9NETbwA4tXGc78LqQR7L9LR3UFott6FMnGgjlsuc8jcjPLou0Xay1RlRo3s6Za26i6mhff1NQroJIFCzTvgYgENETusuhgr7bI3vos+4w/NbSd4c7jJAXs7Eg4jR2qNha6g64aMwkUxJnE1g5LghH3sDtBPI7SRUGL2deYpDhoN7TzzCy5iO5qD36Xji1dzCtbkASRiMUK6odm0vCTlwWps0xtQXJHL87qeJsaiWgNNFNwdgsXdNCLKxNwD5KmjBEL9QFNiJtJ0VdYYseNunMEmtC7BM9/xTBkOEHKU9elkOQhbZAecCmqQbSPDU5Ie34fgSWzi09EQ8tph17YOJmontgeivZFto96MYH3BGKzNf3SeyzUle5cMLFhCtBoNZDgJn1bGDPS7gDcpQtD07TjofoOwSMHn3c1S7duIZHckT0SEWr0hCF94YuBdQ4XEfFoHADKw4QceDVmoIH90QBTMGtQ2eR54+gc71yXR9pnyXpXNsmVBv/qd8nLqvDd/ABH6EkcraVbxjuq//4VEdmxWtpY68JsAVAdHHyAXxOkc46Lx3k8fgvI86F5fHp2gvX1NYCNy/rQbbkjTfBWqqStl612uj5TA5ISGGgoxTOw1v65Qzwv0WpZHzU2HmvtcgRJtIq4AvtAoJ/m+q9Q0HxANslI9P4fobnBse6vcL8DGV7Pdly7aWHSlOC9oFFFVONucadmhv1MZDHqRWUVBl6xPD0gLWt5lxNuFL0m2rFDF+G3lTqF8aOMIynHADrhUFBSd/NKVw62/K3VebgHQww2jPygSYebd3eBCYb9PtJmgtUiGnfyYxEKvm4qxRpB0cN8B1jJK5DvaT6Hq67Mjx7BR61SsCcn6FpNzRq2vNg50SMrgOkhyEvLVZwAz2tumjS5mXjO7FyyMbhMMEz0bZZZaYDy2T68EQl9F1XmlTjllm0n9c6acjGBK727c9AhyaaTjmBxwVAXyMnpyI2cq2ZohFIbjBjYEAQb/XfHSLHb3O9tKXoScvlgrwVrbk7kvVel3k/UeBcUCcXhj+Sr7pI+lz3YTHR4NcAHfIZ1jrBZ+NF99JAhTXKnyGgvy0+oCx1LypHq9SGLDWPPdARzLngBKGTAumJmmHUabuOkCzCVSyM5dBrEYGB+Tp5nTJzTpsLJANjbXlR4jiHXUOXdA5CEAahMbMNZmbEc6xt4BhKMWuK734AENX0b0QxIB9bKcHDdPpPzYyP1C7qbY1fbcnPMo8LIvhNgGZzgjvYifapcQbxKgBVNqJMhgCNqR3Vy2DX03Kl8D1Yer2vKpuMWT32qoUFjAPFsmxFRci7TXzaRcBmbQbEfEyrxpQgq8jeFBq5cCJ3OjHw6wK1GsBT73hp5y0WgPm8NC+q7TswhituN2sCNdukLy2XDoxTE1rUdbsaH5HuhfRUH0sibA8SpP5rHxbzVK5cbiSUbD2tiodNOk46Dw0/zGQO8DOE3i7OjyL5VcZZFGKQFHWcgalCWVvXp5NG1j29RBXW7VtEnLfSqsMaaDxG7FopCevGYfBJxwQk9+nOMbLbp9KWsnOB3PZUGBogCjJKVHIEPe7ZlQO//h0jT7RbpNX6IwV4n5iVLIYXqpmWn+U3dEtW1TqZNtJhr1z/Sa6ndjpoKm3oSeHJ6RjN1bgw93Wow5fGD+Zvx7Oo6kwK7Y2xiK3uKXfEcC2QwZcPjsbAUptpL/yaA9pfLj/3V8C040sGaRlsjAzCZ+5z4l8nLMQecqzCyXp5EwZiJjYgF3YBbex4MDjnjRrc4ICAS4uabtv4Nc+ZUsVLfrlO8oqODDFPeXFRLpciW+T8Xz1Fj08aTlZxxLQxreh0/mtoR1RPCnhelzH2TQcA4YOujmCDmgv+65CD05DCxtK+L6FGkNPL/8KG8SFuTyKgqNNXHBUYZVfDS1j8/WKeDTPXh2/ODP4fFxcBuYPRvidbbJiBpokgYaIj80ZXiCVjJh9JCHd+FZzZDA+/i393HxJkZ/CLzlxYvRAfi3LUkI9JxpvA2LJVg6Z5ZGEjbhz9ST2yzJI4hsGpKXD6jnFcOdlcNYauWUjfKW2SuMSUKBvTgA9O29ilMED1HXDHpbjSam9+U4zEnhxBQXUh7A+5K3N6k17W0kOcolwgljuwg0rML7GoTZsj1bg1NcXNI2urlLA9YRAVoor2O4QFntcgpOwhbuBfmyiYLQOCtqLqj74Wl/k1/F2nAy+rIHUWQfnhwS8nriZ8qfoVeYabRDqCNYXQTkhp4JNXQBXGWcM4/tf46/T16lCcwr4y1V4zpTceYhvWkuygOctwndvjliQg1ql86utAk4dOIl4d/fiNrEMPyt0iXyKy8V/YVYfW27YYwZuzTC0bdEzTUKiZ21kasNoBUx68MNM/Qk4AIEqfknaJHZWdyjTwkCVLVK9+vAjvbhqbGDYT1f90XkzNxr2GuM5a/j0JXPAKLkaHgR51uMNR06VlArOQdjlcaT7tCfB/phnlRctRtajgNtfbTVRK5hcEUztMS/6+/DBJZWgSj6B4VzVxKrr9zCGMW8Jy4XlEf1N2ZICOHy5RPFoeYC070CzcvqA+dLEou9KiqcVm6A6MSHOq0y1BgYpLKYsLqr++EmZ/c+/zLM2RgO0jo2eEAPy2FsworZp2GBc25QrXohmO+SwRRTGxE9thZyKnA8jM8QeOxpZP2HIyiMWTY7VwHnqZasvKG92Z1ilIGfAdnJHpSjtxRl1Fkvv4/I4AcazCzRI4uETvlja6hu/p/ayLNlgZXJ2BKy732CJ1cgmJx90CK3M9giHKMva2vdG4gAK/fOLZQXiBI0LRsZin4syYIbGzfINaIYQv+pYfgwvmBxVEtbOgiXksGUEojlsWPIDWgiHA0cip1SQMS27mwoTC5eDGAdWnVBYWNDTB489AYrADZQnV92TB3epHF3WRHToZRYkgRZ1MoVbL+dCmKtemgUwdn6Y6NsJ+IVSRt7i9L69C5WCqHYpkIkNbqtnc27iOqyRRJ9oSCLukxeEmceYF6Vfjdu5ZNEktkvmiQ/QYMFkKa1oa/jvGRr+wuBHoNUq/mwmCk4HoeDhrp2CSW5oiRQtEs4dYMhWpvvVlK42WpJKE1Z1bAcp4+SwBblnvHPYvfwJ9mWocF81pztmn8WrT2LmOQrwayImYrwc7RSoaIC8dEb3xR1UmGDhomMYpRWw2Vs77oXzNV3+4Pkx2kEPmsbh6C5sZqiaYWrgO7y7/hR11a2M28/a+thwQWpR6eEGnp7PPjRADfVCz/G9uw0V25WF4kx04i9KCr9xHO/HV/Dyam1l63pWpfUIo5/UCR+YQkkeK5P403lFAs4sgGHnb9TCqoxfFiQNXCpWd8uj1l74EkjVR+zSTEBumn6GJ5CAeNeEUPiazmgomrdU9tp1hxgFXC6JUhdSsXbzetwuPN5OQ56vygOqGmyY/dVgcI8pGAR4JjaqTHgyJzh8dqF2qwoPpIfCeJSYdlsvBot5e9SbtHeCzRwbvnvZ2k7zk+zfq1PxSJX/7cjB6eVkwY33/x951qj33gAe86ZFNd7cOG+koluhqHln9vQHFqtw9cRvUtHlVnZC4Y4KZ16F9pE1Kg/3fDbHVxLb42c/DzkYXlmUA4lDLE51Svwgkp6ZBtcdbIEIdN1erWxOQXe8uhps6Jc/Bv4UfuF9pcYEcamDgYzr1mCb6wAyLncSNyFYuUflTMiLO/v/oJqwFU354Zzli/l5ol4YA1duabik9ELtwcDXbgvW7H0vhmjmJvArmJNbYNgoyhYecgle7pOh3/YfZCXFjO0+Fur/rZzBMLZW74Z5UpLOI7CFA7HfLOz5piIJ8/oPvK779nGp7DlLQPtrjxJ9ZGHA8nLMGu9TCtBbRXgIw+8t1dv+0/5xbJeARRXUKmYyF7Lfys6sAPJFE1pv6bvUjuUK2orzWOmfKwa9w8Z6W26fIT9CWHXREp6HAhn5+Kj6fAwPW92luxBm0dkBYSE2q2d7m1IlygocdF2Bf7TCez8iedXXPOqW95GkEzGNdwoMcoyo2BDfXnrKJQvxlE6K4G2ouwlIDmLcOpUGVutxrb8h5lbGZgc+ZaW0rN3ZCJhLiUfUrdWipqkELEIbRH3l/PIyQ5sBTBgeYMpnBqAyFT7xBp2s2p+p53j9mKdpnb7do8DAIrGO1W2bfA6E1/P/kA5TKZdOKS/e+d61ubi2IdCJ/EtPSdTEhr0mNpOigwpizQoj+9lZQXZkBq/ZSYKB1IFwOkZNH6QuO/k4kPIpJPk8BnoLlByCuWFX9+DgNw4+9NLl75gnIwyN+dtVE1rVBrZScqYdL3jhyO/vPJxjr/kS8uRgfCR/kRQFp1ruI6IVOj66aKWdVvk8eWh868WJKRLWM8obbtRI5vLq78fkpt0zno1xE14/8OQZDPSVSaJA3K0mbZXXJFYxiBbZelHwLcqNm6hpAmHKD+JsUkL0Bi3Hgg46xkTVURVBBZrDCSm+fixjAruNazaNzgTaKhfxpR1TKV5ZQUlAiDXeSLwpDOCY6o8bEnCdS8xT90b6Q8/HNiYuuJ4ZfTBOpVroQWpZtUSffwILoUzH+PO43ZIGz/cpHO3rGeikBPCl4+guH90uumwArqiKH/akSF4RVH2eCEmw7YYw4rKs09DwHLYDlxH0huQUwjPcl7kaNokWwedUHrBBegSqTZB45MTVyIzhG5zSpjMZ++kpul0T4C2r4f1nszLNVXgeA+f6Gp+FdHV7dJhOh01iRZUUSBYCPN9pkZ4wdAQYRpl7+Ny2nL6aEPtHZP184kaIpfOkJJggrdoJdUGdhcTLDkX1SJqo541/z2iben/KiiRsHGW2lgGP2hP6GTzG3MsmsoQBMrS981drWEgZTUkh2dQAsy61Sn+j1bybvE42+MDjfYomyyb4bTzAUp9LhimousSeoM3p1QCuxEDOBOGpeFyY6InRSTdRe+5BI2dOV7/znJCCNBWubRjAKCX83dvZvjQ6mNxeGKBmNq9S5d8bSPZLhBEKhk+OcP6ucxWbk6QnZFDw49aQTzJZSAPdKhUKmuXDEFAFN1VA7Ah3UG9dw0zK+v/fKhq+hnpnesPAtpL/66QXhRGzDLOjbTLPLgQsWDMi8sfqsTDyALlIJ/oCeIZctvI31CODUWHs2c/7eTt6X3PuEKGbSqUWVTap2TvVcMvlup6295hPEiNGsitAYOzqMw2ixPNFLxuWb94C8+GmT+G996xEWvXZmJkl/BD3HVpgZPTgzfNy6GDMdBe54qOG/jGzjAb6fVqpBzsVE6kqhTqqVSBIx0cwohjvNTJc1BHHq7QXVJVLwtBbhYqxnMuLgvNZEwNH5R0LwjBXVBpI+Wtco573HnF2VuFXhWg+obVDmC10BR/esZKmI91fT7edYMfTooaQ2CCucufnBXtW7xnGUR1xG7OhPnPdXGVboj29+7Qs/cmJyAszTE3BmTeHTrCJwyniIn2mnDANkK6Wd8ExGv2dxnpIzMVa8MCdfcqRG/4J6wp5qRuzbmPJA+uvE25RVYppP1juFRIo+sgttJt+kpZe+2ZxShuHTaWaByzPa/3xA2de1KYCTMjLIyoZ6Ho2HByJX2y4hR+S/URwZGk1udF+0E7u40cVHlDfJgmZyDWdfN/rqzVFklMWm60AwacF9latBuXcaoVEd0ao7RZyk5CtqOutTfGyAt/CXm7CwpIGqoeV809eg5sjNKJLwTipG9BhAD53AinLXyqkQN2sDtfkhUl6h6L0fmvPF672z6NUC5BTv0wfV93tbdhDRQ/Dz9wtSoVY3i3yPNvvjpyqhR//bxj3EV4xmlYtvWULC2390EghaX/BWmzpGw7DpflbYCZg9HPAWdE2DwkiEmMV//sZMXTsyPMqCX1BdA/ozBgZ1kqaLwiaLYeqm78rdcrmBcuynm2PBMttFSpy4Nnajqjb9Lap5rqW5y+XWZMNCc8/OkzbXSWxsgCCnsk849OMJflOh9G5qIO2qiwNPAjuic2IcqGbEd7ILTnCowMIv1RnpZc8QhRYtXMl/FC9IHiJz0ICyQlwhtJWO6POVOsn1cg146wUXJ2jFmnoUHZlOXRdDpVrEnoUxNmu7HlG2US3yrGx2LPmpKm/qTlaQr7gK5gmiV0p13LkQQpkP0nl/O0ExAJvDaUT7KJZO3AmuJUiQuO58RXgfFm5YNdEKk7L61+5jwGewqZa0Oy7pchimej25i6BasbuG26VltAbpHbDuUZMq7uiX8Wb4GXHl/n/wGfy6sE1ycKPyWLZX5qhy+QE7p0drx9QzrCC6w62qCHy7Lh9K8Lpha2RFkBXt9C9s5D1OFzaVT1RwDzZaNHmoCHVWfb2GC+gOiqZAKtoPswLzlr0zqiv/ftbdd6FSp+/8pMCC2gwToi+CnSrm0dxXdN3qo2v5FkCtVKPWU8kvj23klspQMHJT3/Ce59Kmw+cklsVpfdoMCxx0A2YqazzsyUBn9O8ba3OITZWx71rL/8IwC2MxNsGpock2/VVFIoKcbyuvR+t0130nyuY30AseRIw9wF9oewUbECI6iL6f2FEyPzGC1xqRUAUvE5+ks+Upb+LDROG5o66BYTUsNqw9QDepEAZU+vvnIqepO26WBoEw2D1g4r7gDfatAyVZXzRdH902NCjJ/aAQL68WC0KaFRoAD6Ih8/uxehDDp6+FBPnCCVjkeZqJ3WMoFWrb4QQ5y8TSHwai4ln95gBQwhzTwqUdkYLgkqET+bwCsXB+yZXMFv9S70Jwh19SfFwmSutRpHBtaVfqieSOkD7g0PpI3j47xTbLFymaC5c14gwYMSDMRM6VC3wZ1DGgit8RzNpf6f/73a+D07vAKZucP3rgXTLmq1FDBKAv3LgUeJ1akpneqF2LfSO5yEtwLdDOqAIF7B3mdHJtdfkP12zvYUCf4XjS4rywBKuamcc9jktt0yYWeCh/8r4W682l0JJxYUeHhwXNzw0K0Eib1KOLm2HWaHC7hVzjCq5x+8WlPtTNPogPAoTxCqGc+bm0jX6vZTez8vtax2NLhVKYk8sBqvNQL+JE7GCobNmJzDUZWx35NSGyFzevW7KxXJZOytpWEAE0sNHqfuKIdBeEAf70xPnLrHGMVGyaFWSEF1S2k3rOFFJTqPhVk8UNj1T099O4/Zlbn99sWOFfN30osAZ8Lo7YhNXUBDHMjHd1tqSRaoPRm1kEh2eke0mahbQK8nXB1Wy7vE+RDpIxZTk+0EOrhSWrdnpWQBPrPekuPKFpQgt/G0RoacaE5W2LYe9Yo1vmALx0DR/GcbPDcZDccV+gIFh6zSLpMb0bc8FzgMPl5dJoO5ShWgLQr7dTgba47PQECycGUaLzXaavP3BLnVDlokKuDeCLpRiCG9quR3C/A42LUDIKyagqLWQ6xjh7GoGXvuILXuZ+6iqHB9xZ3ZsIrSJznxHkE9jVjYy6rqZ1+vFPbQAPEFUOcPSP1T6hbEDTYCw+KhiLGgaHeAmMLUNd1qc5HYce+YKq6i1nucCfqN5JlVpw/Tq3HTodGRHxOfFv6o9d18902WqpRla+3jNXpWkR+VoLctG7PLvZyZK/BxHgkIphE0p53DH6RVUr2zumsVetJbNsPDFQyflATfjG0Zw79jJXv3D0yPEBwDQkxdzIH7Cv4vMq25ewWSqz5zH1CcRaq73fOuEmuQfAtVdLhJWcteCkaOOmxxcy5/pJrzkFFmE11BhKs9tUHaRIWgJs1uSyc9hhra7C+IEvbOtSytCXk+MCaKVj9+WXXW5qOrLx8TDUv+oAPkdm5qv7w405MUrg/e7hxer78LddeObXZlAtdZFHENXeevExhir4RA04ISQHpjPFj/fnpDpiVRICugu4GhAgd3lPuDVKtcuY5U2NyEK21UgK4cQErg7nABrKyDV0lo+/f3irLoP8VTlobDW5x/7US0KxTc0WcmXejc+5MGoW6E9+b9EwfLXMnp+Abgb1cuVDnMqwJvm5jLTc7jc5/s1q8upnuzqSUuKO4ymB4ilgvvdaBkLoszD2KH5GmMUHlHcCRbuzkGymVIKnSFYQrkHXkZ+dVJvMGGT6jgirWbZcya38g8pF4VJBk9ksvR7+gbdRljHN9LYfzkR9mrOUnzEdqK4tSwJb7Bikh5a4kC2PVZdw380z8ETQ8X/i5wBbBPlNTmsTWvt/2+IAnhPe5M+T3u2j+fcwNnZhNjvJo7VvIn5IlGXmzX4uyvikawtSFfElRJ4cWeKpVX9+bwHPdu1aTegDYSeAdvEjmpQC+DU/+/oWLLReMi3fDZFAq07kBXulNJrjmZ3nI6C6S1CIvp9cPnbtsbctRVJu6bQU0+Da1T60Pzawa2k9OufvOYgojoahMkYSGqp/NQ3Qhc4SIpgHvsTZeNLXJy1wPf4pXLMTFk5gVfvsjS+CboixB27Sh1qcn6uDlsk3VnH8WTSnF6TDlKnmqtR+8W5EcST0EJZU95Ec2y7gYry70u0Rvgu5S1zqvgJz1i6hY8pClvCZBfSHpyHwvkTBkPw5R0k6bSCmfiiI3BvmQSAkmohz0RVJzHJR9d8yMqirQLzxDdJ7usYR/nsFZjwzR9U/MT+0UO5MWRDZEWc/SwQt88MSDa4TtKcOhRF2fQVFFXP0SOJlKELQQAQiqR3fChyzXwjel1wf3tfWHkhOG9e6acKhythQSzD7+lQH75xw+8pdi8rH85fvfAbDk3wArkS/YnShtN685DS//y5BTwvirtZlfxkLwva3Zoq+xOry+3JATCrdYbC1q/vWGFY1lkQuvcz3WSKDLLw1nviRwZjrIq/Cadij53OXW9bf+JgPzeDfANqI5i7BjZ/aE2EvjhToYt/Z7BHbais/Z04qdEcdjXhjWBsUSHJHDG/IL6IaYuehkUgQPmJvMBNDNtjHNEotYP+8GHkWmT4F0Dqf8Psz9kWzxbNO+g3/V9vQEStIR3NsMwuFDaD4qKb5tfCIcs+bJ4UiJrRHYtWz72hLSs+6PQqW3vPoTRlQjRpsdU+FVPfs5rFdsYAY8lmYIefxv//UgjPsjeYdRg3HzGyhUFPn9afqycc0r7eSstXq4inGkz8vsU4mS1mIg6S0Wvw4LK+bU9AWF9mjXkunioJ6C6smk9fyQhZy956vND23qdb1gg4jqbtf/LMS8uRis58OtjmthDqZy+AsnHJ2e0R32hvVM4j876kx6XHt7jV7Ic+tUJaW0ZwJJcXvjYYJ7u4jRDeR9HzCKfP9FyjxU6LpOO5dTCAvAH4fCx1ag93Q5ytrqODrqHxgi357FpRy4DlgaHt4ToY7h3snct4XgbwpN/8HJmvy219+ek21/sF54LZdeJukp2DQweyjmef6zrzSIsn/zkBOduAwTGltJcuZIoE99AtsPaTKVNhhoOnVVvCzm/tqrSkAExFLb3z987A2RlVVt2W2kwidIIyAtP85VBAlvOOPOXl35Il+YjGyYv8qJ0jK2epwLijQatAXEd5AmsvzkouhbjiBXhrRYOj2y+Hrqj9YCEyDKadnTzloXhIQEBos6/DLCShKzROFCINV49HlcMN3y6HZA5Yt5p6PVA2gAg9d452kyKEOcH0KlEjImrf7nNE8Ojy9XUIQn+PR2TAwt+sK1kNjlvY4dOTwOSCcQCzaqSeN64sABozEYa3BNTHMmN3bjROGTI4maR8aJpE8K3ZGVelreX47do+25hQvr4R+e0DOo4AxeRlR51gYuvUoMADkgW+vS0boVlz71cVFcA9boa+GwXJGn3RPgbqHY9ncPfQ5cqNNfZCNpij3qpAl2OfEyszPCgftvXS6gI+vL1I1QRqXe3GF11R3lu6A/3qwe8yiqdfQaOdIh93fZSaHlYdPondWZ9hY8Nce1PrIpK2TUEW0rvecyhJyRLQc5LzdylHYiEis0KyFx8CP1Cj8k+2/xVuHTJqoije5vQ/y7TNpAs9+oh/PLjnyO0mork6aXHy/cO+yuJalbkxrcObbdNiw01HnFBcC8WVBm+EXkYdI3GCLsTbQ/Eu+0MrVa6JThAt2w58UA5joX52/H896jQ9Jtqr6cVNBhobbJ3lBpEhg8ruS7odQEJv3lCT20YbaRHOm8/qDlo5ofRes02uYWj8US2iYAaS6wFOvMtJ2BC7gWPClnMZX2mq2k/5RjwL8jRxxBgpzMzOQdTpd16GLLR3CpTtYoLl5Px7JX669Q5/MylxXdeBTl5w7zf0Lo6inHaXr6R21RjBkg3UWUyfR1N8rtEZWutrv8dSBq/fNGmQAQ8JZZJGTdnyPtHrrel/2qW7sz5oDbLKN52eOvvrNCgImpLhPrhwFhxUSOyu5a94dMowo2bXEmP0BuzGqfkDAmn3JneGqPoyUruNiB1ZWs8sO32UBVOTix1bfPfwkqsjIbxSt/Xdl5Dajfu0w5eSrQN5wdraTfnAVixyRsztyDh6p4fETLWjc3WilewQBWo/37ilDnbmZ/kHmc4S2nhsweasCwnOFj2Q76mMGqLJ9ZOOuuBR7UcZJT0zf2nM5DjDFlTrRWSutAjEGajUMS8YBxQLW1NZBzOqbdh5AxFO2nue8iarTgpmD3d/YiUl5ABVqIwlo8kbx47q8oUKRtmbdjKUisgEpqxsxbY+fuAagwzWO6wvLQBdlYo0+ZiymaEu1kQz4OaTdIOPHaVzzw1DenEz7Hu5jhbyrWI3ZkPj9hUEAd13C0G0Abw7qcQ6ELWS+NMTKui5WN9Sw6Gp/WP1G3xlyUoGDj/mgLsKN7BOElYuDu6mCtLmgK8W4gtYspnNrSE7C5sgNmCUzYlGP4pP6XAS1cX+rXV71Jv+/s1cYqbQ86DjuTO8V9gyYeAX6aWzW1Wp3MD7N0AyCHYLDv+UU3xwzqgJTv+QhxtLWfJ7vn9hCOEo4lLl659D2rqfeLnj+uLwxxagYT8UVQZHwF+Mbp4LP/FllZmFxMonUCF8dUXm1yW/uvvupkkfz3Loy39ccftiS1I4f478egjpnEwBS0nBb6nkWiDaNjZSSB1FuA8ZfhRAz4Yl4MZUyVzw+t5R01R5LcGeco6/UNem3D60+UwpJvr8wM3jjfYPww07pgEfT2mWB89hzE4KN0CLHGw9+BP5WWDbSVNNHjxhb9zPAoCQJ9ZSocoChkwZ1FVBt7TIRKkB/KiRgsR0R0jpzbWPr58JLxMBEyFT6xIDq7ai1is0uZ1pnwu1JL1Vbv0rc03yqfiKufDadI5pYrKCBbOvM2xOct0ejznCXEh+Cv/uOHLRSPiuJIMADiuyrs2kpx50pq+vNH0mJvIbKeNknj0mMJvhsBCI0wLmgRtijD1LahVSFqdlS27gPdPPdd6TfAObHOTMmZfOBfBR8rG5LV4t7p3BKmNfw30H6ew0c+KcdI45ZSPOVGDmBthntsPChpLQwmH+POktdko8gllXiUutmPY0h8SneifDmOOOJn21b1gCtPRh0YG5WgjGMKIjZCxN3JcupxLwND5qsNiWfcIoFl1k4eoZD0NLzrGsTpw9TxsuBnKca1lHgHd5LhMTEWMkx+q7nOt8kngRJ7HzdgzNvjECOoSHNrn5WLGbshQNG/e8nLqKaCXXkoHYnfmuK2oDl2Wawj99O0OVr71lHVaE+kWVmt2C3LH/dEK4cKuF1XAvtI6aJlxOebvH48LmNRc2W9GB1AZRDsCPO/W9TFTB4qnn8dL+TSBpkveTMYOg+3+/+m0Fes5waxL6k6HvqsADz3zuyMt+rO0m61xM4zGeTFOzeL5sWfDeRPEBNrmrDF4aCVdGwvTZhEOspua6MM15uVe41ihTycAPQzs1lTTwaoS9kiXW1666gD8Tl9AEn82Y0FVuJpd/nakPZf/LEBG685Gc96o9fxQCAG7RoXljvUEYuxDfjBl7oVH91o0OGjVJt74t6sRFsVjV6tYmxCtALZHtmALDCjQAsdRJdvJO4hzFMrRF1QAwoMpjz8+wNiYiVlYmUstHqzkqm970maLjgl1Q5MN9WNGk9EFo318ltU0FjZJhFg/kx5hCml8y2PXx9PmGb1QW2n/P5RZqCnD8i8ma3mtXz+nldY26BL4WZwTYshUvcYTxNd/Mv3+oLmjjbnXPnlF0Tmh8tHC2/ZsW2cKk5Xn4gbRj6GeWrtex8u3I9bHAa54+viGKc4aqNpvxq5KxYXzAO0iC6mG0v0EEQqkU3IKB/GuvgNpjycGXCrUwPYpKmHP/xC0RmT5EeSpe5dmqarG5iYd5BvulxfvaFNE0T+EKmt1L/SPmNuGLZTj1okZtICXsznTnLpi4wClj+GvhamhaKgNsbRJ6T6qBia63fXfSLdErS9KB2YfhVMbwcsqHFPMJ196IefX9Al85ANmWcaR1gINI3scwM1vBuBdLx7M6pVRZ141d+eljh79cLuCLzcy9IXnT3TtGgNBrpwuEhL+hAHdSHq3AF4pl1F8qNp9ds4L6CEUe1sKnk6O3YM4wGd/nrZr7xET7BzteAuyha+rY/Kv5gPRLAky7J7ihsanXwGcffEOwc2983n1TIchqoHcEVWwshpXne7fMZzQ/wRk+2MeijX1umg6e2m6wowpK343iToxoUmL7bKEnnH4iot2Cuwkos6olUo1kLZxcm1anTk0vrwU9kvUZgX+LfIar8p0AnrPiFGKwtnw/8X39mTDjutS3HPMPkoHRHtAxWWWKoipq9xwBPC+64TAEn9Gkve3cSZpjpqkraUwKOxLz500jiHrWTaevD8YGIu7sD1SEJlp/2U0JQhy/NTk2uMTazhcGdQDrDJgWykAleHfgY6KiE4ROh1ZemIC0SdcNWdIlWjpwWQd9wM2924UDdBQXg5OpvSeK9Hwa2Zzq1rhDuEt2vqNb/wCie+3aEYw1xOIXTJwXVfNReisisANWrcrCHf0VEmuSMckJ1q4z0978jsF6iUMCaie7z5obdPCRqj/0zlbEg8con/x0gNPg0JU5hvdQt7BvRBCSjiYTwRUxxUq59mR7JZikKJAJczsmakqcBOPt0dylOXsvGZNH1ANTdhzBfRjlelp0X0J5VsoEtK++xjn0X7dTv0d+T8Erzr8PJ8a7VA5xHJ6X5FMs5xB88divaHvwG4KK//mW77wWyg/DvvMtUmbxZdNNJnXqg0kVKezmmuEyz2hfpvk0UObmk9ohp/yXd4hjxVyqEsFStIRQwh9ENMIVy6KmCKzIpZLIYhozM7ZL4r5hsGyiO7McswoSD3ylGrEIhIJskOarv7HkPMYAEBNafPON4Tc0DwF/Rwpow8RRVjbcn38QEHWXX5x7jji0bYzZjk8ppXjIwBMfDz9YPTkBgHJjKagU2TEiPaxw70jA0+Pfb+JoIUMkJ8z1+4b5d4Xp7i1mftKW3J+7V7pVkELpwf+ZutFAc9kZt3lUSti6748xLQpYyQJDMqNk4F252hvUBnYPRytEwWcXF5xDpPVF0DC/xuLWPC2+8ie7H+gb1I85+xOxeBxtYL7FG9ETUnXQtsumat3THIq0wif3Pvw75BzWQFE/XltCe8e6M6ExVLwmXqBTNbH5J9gCXXmHjZvKHdDWjw34lVVbiFpxST9+g8K2XmIIb7aoNB9457qO9GHGA6qC1yCYubdFIu35yzHhdpECslZ+TjrSKg5fM2mAoxuhsj2dbYkkhaoSwT+a3QqbeMCmcg+uK/cBZSb1JRcFfg0KNF/kJiap5v3A8qRXKZrcKWQhlPqij1re8AfDzn0GqSOKfN1btLUGX45VOBy4mub+YNWPMM3qBO6+GZa7dwM88OLA9DhVog7lmPxpXsCkKfp5gK8ShR+WiGx0okIEOPlDHb8aUB8EnJNMBJMO56P1eEcRWGhZTnTwVLIk8lVCGvqLx/UTPFNvK/FD7dykJwnnP+LcAz89joBk89bR4ancGlFgNSgpASzMat9jVZURsDHoPxsnpSTrrPDD8IN4DGSYk2w3kbU9Cx+87e6f+JeCaxthHYRyMX9TJezB8o97nqzdcyIYfToLSqGTVqoQWEdC74BCaYCgMkuGQTCoKjzJ9AIR/9pMYJJzCOIdUBVo9jP4YEGnI+MZ1KBzzqCHLuvL0YcM6trbwRDNVs+Mmo10VrbTVJAaSUxu4pxzwnRalZLtyTDatr1ID+It38Ex8LfLjVjjyCrIpzISPeLTQYYyF8z4/JYxtVBHR5L02K+R+uStCntfQ+eEJt3LZx8tvCOlFQDbSiR8Wqwk5Ouqh2fe1c1LQjVE0JS4JEr5g9DbYHgtAxpoRJLE2fF1pI5BQ0eVeGFGRkaHLlf/VGQqtdY7M/IInYJTxOrMPVs4pQ8WJ7MzjAQ7urnDHYYIMjt8kHutNzE5ZlP6eansJ+iiA8o9xT3xu/dA9u639DHjKXX41TNf3+w7mLVbvLMVjNoLtSqHccxFE1Fm4e+zhiIkKJVemLGL9x+ExKj3jvrJSyfC8uft/Cj3bU+GlxiheZrnuEyjK8/ffecXUxjoKeDlLssRhcQrXjgQH9z3hOmHA22aIniQ9q5dKKCPy4ATKYvInuiyoE0wV1caPd1KideERJZOHTLy+BONJIFPh57tsWaNFLu+WGIPdD1mHjJpfQkL+A/DsPj45rdGuQNxadW7aD8axBJm5MNWMGsoUnc6GasNFliw7KovbVM61km1vPsJz3g7pjVJNlspAQ66M0DVH4J9uNRPLD9uH81jeqDKpCbDDS27OJTjgOEXZtvvVmPTABnTy9AejYCLTUNiN0upWIkFwE5t4ynl7ddc02Ha++VjMtWiw6NlL/J3Q59P3HRbb0jHLVlXifxRk0aDN866UH9i3TczO7ZuV+97NBUV8uIBqyaS0iby0Lt4oZFXA9j9WexIj2wM2uFortZh4EkrbTRTZRlWmoOlhZjRkipkzjr7Jr6NqgRNxSC5DqUU7FUZVbUdxuCAJqwl+dPOhzjm1d4v0qjXU6KzYKr/O0Wt1xcnrvFXlIO2XR44bFShsRJFBOy+ARTJyK0cMb+KmoW5bzZeSNy/rdZfUSX9EZwW/BrrP3KqMfd+IRrxNxDIXYjrV56afjDxcUbYi3ErZfbATyfc/l/1hjh/OxDiQmtBG+4URpymMHC8KaCh0WxBih76UeRIDJoRFOvig9JbdFe2S2Eb8mgbhafYY+fJHu4W4R03VVldjgEWi09dD7ayFrbj0qp//0Nb2fjUv8MMmOrnQgg7jv3W0w1T5C2ZzRNuAJNTS+lY39/mWBU5XXYlJWk2DQRqVvSOIX+4BvWmkZ+VvE69/2EdO3VAjNiWNhQFtmTq4ficPoX/Up4Vk1zLAsplthamp7wsoFf8l/kuu5KawfmJYVZ+/0q5bK4mP4c+MEdgQaj+zs7wYDspfUjDvlg2e2suu+H93LQDFQlnDKPziJmUNTXcrOc6GFFvCVY0BWQ917pNVTeZwGXsALv8d1aOwm2JLu9IznPLtcbz33Wmfz8n2t1h+33ocywsMniSwIxjZa5eNQanjeO8rexZ7K5wSeSFNqaRW2zEzlBPpa3Ql9uRA8oS+XDdBxoiR0bKPs4e2HqxOOjzQidqG9hPNdS6YXioedejcSBhc8lxMW6et12V0KdxlWx8UNVHP8edc6yVb5DxwVa5lsMm9d8cUE9kkNdq7phgZYG0LXMzvj0yg/2e+kN3wx1pa9+PQVgyA3uPBYI/HejbZB8rKv37jiLZwKvbh5Zf+DMuHqjS+mY11JKS0uN5wBn/cd2yZeVb4guJgqeml4Fpl4k2O97IbSwFOXfKmagXnhFGUVCnxhFbdSIjRqTbUMBXbaFxVeXJAu/bgYub53IjA53+bjRQsskvZvPoPI7T/6KtvyV3BTADLqqJFQpqsyw1eJEDgfhY7a3Og6k6x/UD0dkMYppvh3ePy5QI0e35CAMnODOtjds7CYNfP4H+GH4qc/dz6WHybhlwIDXCR4sv5hzk7/PzuIlkf7LVETypAmP1MsbRGD0eEH/LLuyNVW/qIoSm8i4NtbcjMcg/lSrUbWBrv5XaGfOcJ0JrMqMO1M6fC4ODwZzykcQsJqx0s3OCetnAAxTzajSqr/P5rMhlj6CNePC7DGas2a/3TR+HWQ0dhmyodgkuh8MsmBJmIA+2uIrYbvAbcCGrAjJzYtDmhN1uN5Rp8NZaRCN7nw9bmP4lOLGQCib3kJKtmvjXqZaQcGLCX6NM4MxhVT9+pRwxVva342eITkVh9TgpC6Xggh1CYc755X1WzxG4aiMvBCpgeWLT3N3+yVmQg4oirD+htRCh+vhWpllzrGmzFq9Z2y4S3elH4QZ2Lf1AbTeLjCLzON0NqiG/G4AcrFOCYcums4rjuu9GxuBSonXEFcvbYQyUHqAm3o8Cw9ZSWm+gMwQD6w8bGMaJSM44YNu564ErdD16mN/jKg2i9vbhz220fkLld+/Fsl3W1nUFL+ygNIiTUMn+nqkYLr3bjglxXR1w0AxUaSfI3jzkwtTRvR8NbZqBFA4XljxuzlcV0xK7SeVnSXOZtXmIDnpK5L5t9bIjYTCPIgIgQLHuaY9K9Gt05Z5nqAey/8K0zgkgvmEDQgOqZWq6hIdIcmOZKZOu77MlroNX+pFoFtOChUcXIB3HRuGAZsYOdbuprEWeP/F4C6cp/dcN/Az8zquvls0WTzxYxBPsAKXMD6FjOqcto9WWHIBgsdlTmqSqA44Sn0TUD1ZfSxvD63abCM8v6nh8rqSOuzNhGTK2WAKnQ4Rjgkjkj/uVdpeRc2D/oOb2ydDXIcQHM4UmUC1LfrwhLLm3mc/Tjd5Oi921L8+XRUnDJ92MtrRuGJfBg29zv85guIEbJwCuPahNykCyna23ZO7D/Br3+azvvdIL+HKz+ekCWRVCukcSRQQtssPrgika2+lv6M4YGSkrFi4spcNd81qoGDW+mJghEAl6UlM5A148i5UTWcS9fQApl2fXRU1pDVcBRpBuIJ1mpdf3uPb1xcAPB0nUEKa4buvm8qRK76mOCICwoLdqXsBt+UJhNLw4IA8J/4Uyuo4ms/+tHD1SNv/syAMhDoBv3N0QH1LfVi37pqi05ktAkDIJxMA8q+TWrSvZ6gYHe2pOLOPGAdnsZwYQGhpGqGFidqC7pDDQw7qALuqP+wLwDtvt8uHPvThGY6oTl+z/Hlli2RRCWUVUjGVjF4Jvkb3OeVqOzDZOpL7ASaG7y5qlOtyalN+WlGnI3i7NUz53ash2cRe/u3g4QfFKNtoCu9gw/hICiFKoY+a9QDBNopNmc4Y5FX/sKGvnSD8hOpyi6+HniReGY7nT/ULJsIzg0o7tnuBgvDgZ0sJNVhCG9J9oUgz1Am2IQoIAwJYp8cmowxelK/a8TRkbWWY0SihBE6+zVagaqJo+BuC1Gu7kzVhG8XmKlsNcddlMK4WYwjS5YDgBiIFGSLzbwlaZ55ELcufEElkp9O78aiky2eefxID43LS06ofHzIwVBecBcLftEaQ1RnGKhtBpdcwTMHQMS2Z3dpkcmAcdbuGtUfMsUosJKh5hEwhbKB1ojWHyfEo98meRZHJ3N2h9P+kUX1sFM7m4nLp5cea3Q0lSP69dJCPVsJaI934uHV7jYqn0WgD1YNeaYbigTLdzDDKkFlMxp+Bnbn6PRTnId3lKX3E/eE9j2KE7MZyQJwNJr+ZMT3jTBEj1wLAGRupgvBvuZreRvVV1WQPR6v3QShSkackFv0BTeYZvy2rZdS486RGOc7cMSSG3OVmIAKXz+6yF4eFGBDZk4bbQogUbR5B40HTRLHYK9rK1EJOh6om3aTBUNChvy1V8dpuslxrBrjzDv4fflEpJc43ZOFZacxQJ93DwTdbyoTDrWXhRGxsbqQeWFvWVzMVSCICfnjO8HGYYhBXeYHV3J1LgxthKOkg+wJxn20DBI0E1F9mejcHR5O2KJqFPfw7hx3HBVkb+r0AxFLMS1aUXvcy3iW0Ww5/ZHyaD0RcwSvFZr09TS2Osdr2e+P1Pm5HW4WkDPgJpIQkbqYP6/M8uyDkcLeqD0iaGdxXUin+6WiKk6474nk4eNa+kuDPvsyln4lfJzfUrozJf1+XfOeNZHbIJ8BrEnMd4r0puezVX1nX4k4qqiJXwKtgKpqzMpd7A3/6RsN3Sl7YPu6guRhyt5DX+rsr7GE+fUh/OcaaSotXn8C2T1Hty9pPHWr5r1ix7zB1tMU4ySKgj2aMKnaDGQPqHGt3V4LhA4cvJBhb3+FGr5DvHQUAcMMhXUkRTGRQw26BTCWqXplXB28ZWSHW2ll2xzLIH2z76v/E2SK5bqqFHJe2x4SMhSvyIslaHuvC6rc5/mqJa1HdVd21CRs81mcBSF4cCQaNQJPfbA6icdz7tBErONyOKWFzFN/eTaKfzqcb2wO3Uec/5FWTOOJ1u/tjC0tcdVh+nASA6qtKdNz/1sDhDbnhC+EG103ienMs7P1MmHAW/nSTLwP0bRFbh9auPbsN28bRQ5rbyXhRwRyY+vBMt+on2gsJvpOw7R90U1QnR4VFsTDhLNR2eLCwxgZ7JfECZ0RTvb0990cuSwO6ApbRivzMC+SBtYdsJVJQm2kBk0sYyLHQTKXhQrG39a6bxEEsNrgOuj9qnh3o00H7eqAKVamJCtVelRhyjnkP6Sw6nqsCNGzCCPRPTgK06oEtlgHwaHw0+cWtpk3dvjzYdto+XGHsnz7zSouZfqlRDYqIrwOl0APqUuF29qavltSuMcbafGiPimc3dox/6GX+6jgwldbRLoUpd4yheEfQ6ASC24GmeGuh5+9WWma8xVKXo8s4L2Zw1piXN1n63sXndVA+U21l200dFMLPatVoQTLm6dNIUSqNhbQV0F8XiCqrjK7ouzk3jDjtMRuNJabXFY8u4HLQpwgeha23dSlgQdItxrAnNyTibQEWIKDZeYtC62uvsNXiqlgYM7MrVkxl4AO/AssK3nTDI6OQLV0Wa33KiVWxuamvaNG6VvCRynsOY93BHN47hL0cXPzED/1kRq2qJnitqc7L/TpUjihsb/R5cTFzENCj2h1BlZEiY1M1+m+VImkScvlk93AZE7Otnh1two6LjsXUWkpClCjq4N4Y9Xz76fu3Wbc7cOCOCMkx5pGQTPMtwst5Xo3COMAp//xna24hEJNOUNLKXNXr+RPWlpClEa5MmgKP4gUyggOhNEMksWdw+1ayiAfTy7EesBiDV6EYPLGtxOrp1pYqe/TVVQtUkUEujSEg728ub9bRllxu0YIEbx1AWt1rA6PbiJXQMzXVmgMbhd1holE4GTNl3ouZh1UqUIVmyGR1xv2imhrQCCgmb/HLDVvvXroJS4Sw53up8SWxFJ54Pp7b/IagCxTgfYbmIXs+70ETi99mrGGB8vbaaVGWuE5KzKx2LGbuAWfPCjYfAbGyoo0z0ISCY5WnnPFYm96p193xHARLzd4+RsdrICV5Mf7isCrxuJqnCfzGBHZxT9Ir+FMVO5be4SIpeUZJlGc4TCOL05bBqKBMwxOuAwE1VhSZZ52PPjzu9C+eeEOZQP+gJgFjkYXhFbVR1UPIoORG1CWfhfSJRiCHdkpA/NId8CNZ3kDizJqo9jP/lTJXmTiSXUrmzo6fSBjsjMeLCK7WkvZ4YJbv54wjo+0tcT9qwOMg1Lsoaz0x5xOSa60PkRDabZXyydaOmeU5t2iNgcsS9sdRSYeFZnHUPzoLlP9nL2IODDt9KNq7/eOn6PeErVNVca0ooGDQKI2GGp0CbTw8SW7CGGBTiJwJplT/5A19n2Zum2mCm1/zsBuzmIcQSBz+2wjbGBhR8/36IGPdk8pKF76SmjoHdETSauC6VyQ/K0okzvvm9GepWg+KA00kA4cbXdEezbH+BSG7g+Lb5coy6uSHXsR4Fj4s/mst1rmcl2Czy3M1OoSvIZPxHTaKVPUoi8CCNl0ZUxuORa0k/ESjDYQ3E46qZEjLjTJPgH7F+JZQlX1z/IayKZJJSxnwwHr0GgWFyY13LdK1NeyjgLN6vMwYnZpCugzeqQSbvu7Apo5t74soLvgTtsXgV2Ny/ohWSEgckWBTkgic93XdPW50uYA0LIwmEM293+dm97+xuflVifrEBAyglim+MstsNUFdwKPeeCSG6Mu/GZNdT8Y+pizLf+FgVh6i4REpxeicAvbksIr8fJqgWFNt7r11ySnQH3WUBp7CDS72bd8P1EI2jdDKfq3iIJ5AGuruXzBx+m9jUtLmOnOqyYbIMOgnXB1ILjUJAv5eqtIcTMDyM3mzdHzfeija4rlasVPtXAF2IgRPonOInoThaQgSYEOjKR9MeU0JoloTKH47UoM8K380ZdCpSU1abut1CDroSorMKCwPmNGoKO8xNrIU5l68pxEozI79tmakR1Bc/+NDu3RXftxAk3Dp8fdelAKax1aIVmRxr7KS1OwHYfsCqlbWrJJfjaDderxvRmNRTsPke0IRf7ka9ZdiNO9z2CpiNpFZzsPjHSARrh0eu/l4yg6kTeJnCDpMKzRxZpaekiww/oCqyJDKg12uGQxUstyedKARWtaBofRvvzZdEd4nlBJhpELoI9mGLEz+6EZvehQZcKilDFMIlLVgJyjtYucLQF+a8sPQd0PbIiRgPmoQw2Yr+PkC03rfVeH+BxyLMZm9FEq6IBL5qgNlJ4FvSxELYAioqwZOainA2rJVx8ZwMBgCuQprUbblwlnnCoE9JNI8gjwI/YhOQZ61fkzL56M5viq2OGIkYGNFsuzRk93ACqL55/yVoTB9MoHm6oDEk3qrMyu3z4TbOyRfFOFuf7OZqY+pNi9b0/YZ3zP0y5pF+gU7XYwFj9UW7pJFqceJ8Dd/SXMUSlf0uuhevjfwJX4mWS4TI442j5f/djy1BsGJi9LhYDlZ+H+TfdJgGZcv4Ah5hs9WlqTWVHp1YKamaHA7Y7AhyaWaENJaCYQjiSXCrv2bikHdOsQvcg92VVSFXi7pZcmFqqR/Cyx5/40J1Sz8zTe9s/6kAIooDchEriQJ6TCvjqXEOu4GCB3/GEwcIf83jS99aKk4DwMjHagz0pHOxGGcBFPCaoWyKcebjp6rLhy3WLna294VVVJ9ZY27g4yN7GTfYWJpMvoP4uRjVF3uw+ZpKbkcfVs7DMEkp/vgcGVfxQxNzXl6gyrwq33y6Tk7YHhvcEQl2R0GOI8eoDKJt8bvdhK/OJ95VE4xg/6UXXQqiTQxtHh9hCnL7GhOsnvAqhr60j9ne2TywyzfnwuGInI/5E9ZdZ9+HtXk3hDVbMVZ8Z59w99kS3th1QA1rB2h6iFjyP/3gHewJkrKb2yNgY/E5tTC13tP4mStLpwYtZ78wQLXoEPCrjd9jS2dEGB7GtMhZT+5MTeX8qP3h0jilYbbAmmWQzUds3oY1JbZGE4oVBZu09qA7sSNJ9hP6QdWuro6gN5zMxWWI3tPMfeXtSinhutHBUgI9hLFPf4KhrgOoHMOkxcX1f2l9j4fvE90WVKidFD4K+fMZQcW4HQEd5Qq91Ie5MQdW1wVvU4YZ9gKDahYeLbkMZ/mxeT/YBqROLmF+Yl8BgXoubpH6bG6M87aBWtifd4RfaNhs84WpK9NeejLb3w2jiUQv83By/kCjDICNd2ptZhl4LCAzbarNnIpewXZl79hTytl6ssKHo4hGEgMHcc4uS7s1fP7Unw3dJNJZqSC7blmfEewZytZ9OtQUv5S1V/dUx3PAhKJ4OyhtRq28tINOZ8db2iqppcsQkrDOYouxXeepq0FLRd5gF2J/o9LtcagL56mPx/V+4p2QkDW5OFwdg8g+heQe4Lv1SpyDTolf0qAMTyKD/PI7RUGP5O6XjcSX/RdWTw9eIM/AABVGN99Z/ICaihki8jmJso4ak4dXmsuVw90xSh2HUq1nNjZmWQcyQIQfnD/kLnMLK1wzDMGC/ANkukEfl0hWUazdO/XSW6F78ymG8r4dSwGMgZioU0CLhrMJhrfG9XgnXV+GKfBGfvPVZ7rqC40mqtOG9iPJMsKtHdg6mCOPjfAm+A5T4Y6ZW3zNR81vucE/k5ojvhcvQmg4nX5DNru0/QVMZqyn/aRpqZ7nycC/PjAjC2Elt0juqpq64s4J2Jk5Q5hP0/LW4Ilxm3I2/8rOVFYtO/IMOF9uq0nejeRrAD+YuVUTXe8biwDoW7aJZ3tuNsaZbe/+HOh+GTUOBEFuDQ3uXtV5Vbo+Xytkldhy0PtsxsNQk1SNVXXLSh4qzRV6cYnv28PUWxiEnoPZCp4GyODO1kdbwT5/PEcayceTf718yVStU91BJ5TOAwsdxPuXJxG2hBs390bouM0kQISZuUzblu4ExgJk+yeHriSaHkSN9tqfINFsFFbNicUyRdRx59VlnvjQHzqIjes/HxWgiRofuYXjA2YodK3on52qpEyVoEQ89WE9bq0Q3My9Mf9nn101VMu8w3qsszPYbYbh0szGlK3HwyHPUgSja5WF3AclcAEZNPIttw0AJbprth1ZRCG+2m46XMxG4ioxqghiLPJiOFIQZj/TDwKXDWT1USqqfL4OxsJYw19UKOlRMAbk7c2z1Tx4PCN1PQGDPvy0jiAoHt7S+HW1rpVUWLsCP6wQczBDgqJFwDVC3pAWJRVxkAGWSttsFgd91/1COJF9JN9W8cifkNgupsAUESrY1P5rf9WPdqdgUAenBd/wDlZZV5HlJWKBwCI2uWRjRHNzRsQLznlsUGLfIVUPOONmb1fve1dOsmX3Ufudr4AesqbN1s1dKbS3iNgh+2qPJUGhbthzeX3nXLLjRwce+B8RktJ2PQy74EuWYfqXAmNqafMtCNsFI+ytgQCHVzpkLBqiLYZhthzqxCHMsZkqXLHnYC19TvND0YkeI6i4J1970A8l4LqrYZQXGGIy6mwK0R5EwO5JOKFWrGdR7nIB7N5mIR4Mo8GjhpTfSas1BjPJvnfWgsRomryN7h9lKsDc8Lrw+ycK5tRwv825QQTwtZbTjmXciZ177WtbcU+NFkMR4QvYBXkurpSWHaPPQ0YnODT7IMghNI+K2HwZbRnX2TphqGSmklSJ2aItjTHCQgoy3SA7hvjdL45gle96wVX0h5wOa6Po5Le4lZAtT49q0NNrZ4QkwCA8hKSSgOoNUkQ5ewsYCPM6lnVUJKGGGZKVXu9gjFlUlZr7JHFZYRoHA8YXHJ6q+Lpi0YWB6PtNcFCHrfDVtKXPvSAFbgkjvpc+ecL3af1zt6Ipt+RX8JXnHTvpficVXRH7VRyHMUF4rBv73FWNUZKleeCQy32utGMxRepCVHAf27/ZVQzev13AdhFHrQ8iDDkIBXAnhWgvxGBgY4mWOcBKPgF4uQYmXVR/XVP8QDXT2RYLBuwAeZfJMiIWp5+s+zMaRDOhRLOMgfupwp3yRPi9tASaTigEdJp1epe0yIfKqfoPoaVoE6Qix/wNL2zLszJD2k1k31oLqFfJLrdTeVUff5IXRv/6Bq24wQSXeTAzRRnTos1a96C8x5+psujQmY3GimQUGHLD0aI5b9rnGwc/BQkbC1MltQycYeLoYKFx7oIeCZd7cG0l1qSu29mS2H/7uOhk/2T+cS8fn1uDGqXcJJ0XbuDM9mjcJWyxhtCfcJXoeWg9Ykg7kW15jav2hxexjOEsXxb6wa6gqwsPnLukMT45T+L00Pkj0dEHsFmMAcpAkuQpE/YDF5h8lrTbN9dcMO8xHmdFIXC/LMDXy6VHmddBow4QedkCz8QXzTkIFo+96kVvy/uAt25Ilz6rz8RtB//1hNuHs/c0GvEKPFgL4ySu4GQ2kdsPQEDB/PJoHcDdazVXWWPs3zu50CEnlHNZjcwaihj6+2pInDQL9rq2Jv5aUPUvCb03TYBtkVVlMRZOx7DrUJgj8vyFt4Z0roywCQ+h9dMEIZalwQdWiErld5+VcUCDGlpW86vRjNF8iG0+6ajX7z8wslmqyg8c6OHS0K+m0Xl1xSTJ5Y0ECPW8QTrPSTcCBj6cuB3n42HRk1bX+fFb9+j+jGuCgiBUupv0o07WgsNxWMuhdtadi88z/A41W62vUsEkho+l3HJK9rZXap4p+NtwNqNcQxVR6mzVjQ1gaOGzGlr+o1JPPLmwP9bbgqPS+gFFYGjpz0WUDk9drFeFuWw5QoR5RcERCBW5hFUHOxwZxd2qvSZGhpatTNoLLh7wZRjrtenSkw/Kso/wClDEyLrz+Wb6hZztL5ceSfKvkRVUfx65rxQr/cMWt18iA6z/JT5kYMCXqLM6kxE7sluX0H87z2pVme8146VcNsy523q6z71WzfcNdtYLAyEMI4qTRPCq4I8Vd0tnEKl2e0V+lQ9VZo/Qu+31mporzZJtwJLQYr5/73JgeE7zOLddTx7CLJ3ipCjmLchlomYOrSNTiU6W5pNsHjOKFS3R1H70OPdaLvLMXPBVHoJNQ4921XaikrjQEAvEASqA7UPnc0pNgMRG+K4zS7pVB2JuxmYsnU5boFV3RrqNWLg/kcqCuC6pLFSR+uzbf2EfBdfU7QGpZihvOMTbbrkh3cV56RCWzFMfIH6q99JpBemhl63t1zSRQgLfykz3JU+XUBpsTcu5JpnDunfP6WWEvyZIYoaRPgJmRPgm6k63+sbRyKAMjzy7uR4Ou8N+7eODHqWVsx+WKjsCXmFLpk377LBZYW0p+OwYTNqYRry84n+MKNU59xfmwmzFvcDzruae92KfDJFfDC3swkugkBOcN7oTM95Q0aLDm1Po/ZB7ZkUvNEkh0bqNlQVeROHCu3qi53MlnbPxvzf6aTMJypwI0v0nl9pd+aHa+fwnFmi1sF1eDqM27jGuJOA+qjfkkFDZz+QbxWAyIG0lax4zQ84C49234doVK0Rv0fujJYPue3bcD9ru2S9kIjABUEZhK1UuouqNbCE+1HKkoGhnyTO6COG3SdoAOoQoh/virlBScdXm4ijQc8BEBzQVcTspw6+VC6aUu+EzjlS1mLLhi6B2QVttYjI0iuy57pHDa5PvBqVgEMjg2afoo/cudoUlMu/KX0d94xUFYxuTqMxITbn7BINR+zgM73+auzdbet2rT0V0Vifj46pyScAEFtnZUnjkSsgmfkVqLb0Uqlbeq6q946vQajOz7ujrvQXdhOMXerimMGg8qUXrhvjZw5UqhxxhNJk8nQUNBmXpS/Xw5g/4/y9GRwghGZbYHCI67NziuxC+SvrtTypZfk55ceVU+jjCis7f8w4pSqmzMaRW+MVVmlTVtzWCR5eqEWMFSM+bYsuP3HV/tonpVzLvh/f3B82EBkMessNI0ZWMuu41nbUS7/XdqfBpllZmx+yZP1ahn3GCJz1Kmd+zNa78QJIcVXV1Z4YLDYQGQPsMfjGjJRKj71ka/GGTcXSK1hAFkS7xBD+pqvKag+c9D8bTGiprcBwdt8H60U9hNo7e0g5D3WiEQXQcQS6MzXXBjadGiaDTGGcoDu4upuImmKqTogxrzLxwm4/uYbrnMpxrje4ANNfadezEWLhFQRgpx6oA/bmZAssGn042EzxI9pBRvaoCyDBmdd1xN4hxcbTePV+/B2YU7IrpRpmI8dsLizYw0tvgFrBHVJYuxMFWxHWQMlA0rRqy+zAiG32F8KC0C7Z2/0DXohd2BYYN+8nMkpf/TrBOoNffOHH5U802YAzVdLCl1cxQdplBdjcaB0gs79joyaUOa+7Ew8TFk49nYyYgZzJWE5BhBycO16W7UHjMZf06ZMHS3WeOoWw8Z1y0Tq4r1DG4Ims4xvEa9QU1O0vQ09WWRgFVtZVvOatrU31phhnTQsTsakY4kK/iXJ77dOMaw7pLrqvzFk4nIr6yoayFxDG0nuDxY7Un1EqlH7b9BPPW3kakScGSJOVUvpD0NeVJTU1j5vimKN56R6X4J0Vrtx0rY2CSsgFidRh36CYnH64WUtEJFa++IzGvTw/ECtnP/cxi+CmXRodjDPZS16li2dJtMHJkKOXirAojdYq5yk8piHyqYfO8iTjct1jXdxNQCxTMRNDgGINmWszrjJnYU5X88X6EzX9h9u2ovpjw1yS1gWBdUQGC7Qry66svKtKKtpZcg5FG4GueT1CfKtF9rBx3Zuc3sBn97fImfTvw8D88mACy5XveXRgYHWhcwcosORxKF2vBq1uTRhXJ3P11sMxBRCm8FF0QDRY0+vKRfetU8ifjiPnPVmAwVEOq2uo1GFmVujvWuigVOKbD7QJAemUoyqvzYBS+w7VvLAX7x/iXZWGBcjZ+O9TIomc6zfwZZCXCv+2mVBKHHOUYXvDDcr3vC8k7Rskn3yrDIjbK28tokmbFDL93b5fOsxmcxhJeWgC7Q4l/ls/AriMmNYqC2+H2Q34tdlSUmrIiH03iwk4qpSA0/UOr707EAie4AG2ywCi53rXOcCSftCXWbl8ZfESlit40NgiAoqiMb0Un9W+4J0QSootNRM85mH4sUwoP/JWpPdRd1/ZjwYydt5iCRP8AJG+WD9ASsv3+Utnx7Spwsig9TN7fJ0ToTaqay0gw4DqdI66dex0J+vv2Em1b9RsSQ+K4ws6zxOViQYqX1OVR7f7iIZY1dLrIVt4ca6/WsFYBPcc1zgNMfsRpMdv62jw4JlLXAfu8A7Nhqd3vahHuKGk6C5f/nBx1GZ1a6hISbBIUGdLASImnPPa/S5O+VCw9xbgYMMSTc7LdXAU4frheNCO8w5+mBbuqWxpdaObEeiyR43HKkMIBmYXlgwNGv4+epwJXAIYoIb5ISACV3e4h4GKBt60fqAWPtVAUMiOz0reIn8ZQ66RzGRVuHCW0urAJmpxOhIQTi1JNUUP1a0vKNw9ErU6+JMRmecgKY0c06TnAqKMtzLq2k6HDMo0GAlNv/fhB8OZO4DUbTXXNvQHSnuD+2pBFshya+SpK5THfXnW5EqC18CHqHglod3fLZPFBgkYtDgQVsivo8YXVuA1P/kfboh9TmI93eA0nJHiREz7wiiX7Y7RbFLJFiXsGRAmRz8WBbOgy1C+cwwZ6fWYBz2pC9PPo8NLa1ZgVzylgbWEWB9SICo9HlgQKTF/FCWx1iOe3jbUl4mJ0wo4I0wdO4ekqRexfAeFFJEH1hDwcGa6jFJjzXJlBYalpN68mX4rVs62HDfrVLwIS9Mq8ebbJ4fq8Df5QtbgfMQnM/kACDwEcy46k+vCtZ3HGlc7bylF+iPgXTf4/KO5bZrwT6MQjTXxCpsiXIMfzkrdoL6uRRk535fSxla8ANAVu0qW89pJavV6MM+Jzr6OBKGjm/6K07WI8ig4/mVCJlsqhHsgbcH0Kq8b1vjtYlb1CAWwctD6spbKFmV7pVTMbmjCJdPoTs9ZzjNYw7By2PA/XShDb0ZLtDuMJF3yaYBZOobg9Mvv6T+lXLD64rsgFW6Y/qXjRv+uON13WLZH0XJN0ms1WKstqLXMiy+bueZnv+N6Ckt/KEYWLO+nq8P2FwU+89G6kM5tqX8/2JQUDroV+RJQAlnzj+tC9RkbFTLW+k2b5FyW7e1m8s3Yp4ddaAZDStm8EJ6g9saDQkUnrfyL/KJwW+CyI642RfolpLHNX7W/uIrn4rIaunJe/kav94/zJpbHITlGQT2arfPrVkYoY2h9eZwfHPpmzQWHFDnJiot/SkUxZ8G5pL+hDSGGDOYslX6j3O0Y4z6wP5+vDeB6VkbPognxXNGOZEZ0mgtQCXXQzLNzSa+u9rLc2z4M5szOMwaveS21SW28SWUnAEPfniiHdWgE+TFvBCLpUNdyRdQSPu59MdFfO9AjRkTGgBK/TzoZdzU1PqiESTAtJUThUTTyi+LN/7jTJDYJJc4fZKgl6+WfA63i88zCPGUpCpKwloawtD+eunMgewpLBhJ40sIN3xYyz0nXPDc2K4V2gYCQVTGhNcd80q+GEug5/lWOM5iy/GQE+FSIKkirtKOQUzePZbJia4PQC1cv1s25vSJVpZ91FKf5Uj3HOjstsDsj1UD7i6l6VQm8IYFDm/8AyiTTU3EXkMOKp+CQPi8Ye+4SmG8f6PWhno46N67nNbspNCEQz1oc9nGv/15YMXR/irDhCX/pQy5B4A3LVcG9PYT1vVZBEkeocjZFkHHNGdhvlY1bUzU0AhgcUtsarmmm0Uija/rHdADc2+Pa/sMaJcW+9LRivMJ42X2zOgtSklOIluDwyjAV4n1rI4nw6p/hGnmf1ufUP/SIYHuD3NUIvvVjFIPFV/wMqirNHWBvS/5+PrHV33kri/6BJYaO2/EiStz4Lkr+VYurohRlufoONl4giE4FuK9GaoXxqalRuMd02LtVuVEP6XoGlWq53jl4cB7MtZ4BQmyTq1Y7HT+UtBvTOUcsIMUTqnUx/3OH/402o/+lG/Rawvjeu1TNwDBQBJpl/Cp6xO4vMuprWtznh1xjnYGUBmLqGFW63E7bqErCycrgZ/YrmZmiVJEHxAHU71zBv9qppY9cXYcbmvRFOPTqKGT2soun5jcFJXfmCFwj5M74xxAvR7DK3COjFwz9ECbWwmLaFr5EGQ55HpNNbOf4wls+FdIor/q+5RR4Wzh84ahsazDXFlg/Ja2hPL3GWJACcHT2c0ZcRs/ISj3GbV0bOUFkjCSXkUmlW7CksNk/Y1nVI+kypyqoML0JHz31isJlVQbvpx6bHyFYtcHobKrctVnOx2FsC8go1mISDoZaKWFvNIyzdpx8GgG6j7/XBzo+5ktFQVTz/4T2ooEUHhkfolSQ1Uh6dUFqmEXhlbZRjM81A+ddPnh94EGQD6sWVdAgsl2q2d2RhizbR7rxom4xhCx5CNNgMO8YLFKnAnHDbtN23HSK3N3KpWu9SdNk45N1hvrXGZ6XUxHDje7wZ8vLA+rcIS40LPLpFSZf4PoV5UjYtUZFpndcksLhg8mUFmHnWS625tb0OxggNyFURc8k3BCoVOWOR4Dgp8K1FQTTOEtr8j/4/3oI4GcQWkVwVhMDKHKU0vfRWzfkaLtEO/iPDFz4WUikeeEVA8iglA639S7w9j4G25rJW8simmmXOHAVcw3ZbD24R+wAOl/GHnyqVcfQJ7e1IY3MATpz2vPf+stBDUg8g5RkeTz/1LVTtl4Hj55jO0+jeGTPkyOdnPQQs+RtRVpODfqhUvBBqWobov2mS+zwzu+0CO+LwpF7XPz0n0OUN60fnmvM1X4GUY59pftsYEKwzDsi3CZxDjd3ru6JB/SC6Opi8QeeX2MMftzmbaebxBT31kiD9j1L6+XXniQ+i9yn36pjFPD8W9NT98RQ8Jzy42zLFqUlWVDSQgbWYb9cVS4crqEjJhMRY0TM2vtbExvZTUbervaUWeZVXfCf+ZjJ+rbZzjnoXTg1lbwvBGErOv8sYDQEGhqv+1ScQO+7cqxPwQLb7mKbZ35AT78MU9GnyBDYZJ46dB8Bs00JDVw4K05eSv8mB55jMqCm0ZFl7NLfyvwj9eVmdaXypJ7hRYmLak/Z/xJ0ClNDmHAWANTOLiouDGYqxfel5CXCoeM5AEkrSjnWm/gK6YA+QHEP6CP6WyRyw1vH0py7pf7Cd4UnyjtFgCqroIscT68NYvuDz0AwyGFKCW69vp4FNiUpNu49udL7qlqNjqIb0D85TBOQx4GuNDmoPCFnIcfWWJBdwJQlzjA2aFhfr3Ol/xIlL8CncB6LODCYGJ9S+8sUIrFHclDqh3ASksPexn8bttz6GprV27ZzXR6aiQ0QZp1j7X5v67XetUx9AdDVByQyj7ZOwOAgW9JPjZP7jvBYeT/HM5doJZxckCwczhxppVWHN+oeCrx1F0s8f5NKQpCvXvPc3yQ/4YkT9+GLGhluP70qhXq3RoBMZxT+nszqSgYHFnv07A6DKcjvXcrm7E8HKjYMBantoYucmwvbuiGTEBWOXqS3jHcdZCceJzjNkM34qSrIjqatm2g3sFrfbATJth6hVTIZcwaUIM7QxHNWU79dCn7QJVLsjD1SdJ+iW1oxPx5I4Lndq1xORhIkCrFFAc8PcyHj/BsNK9ssAxDibxYTdRohAdfUoQrXRY8LIEpH3ilJ7/7G/PgCdTO3IYyV3AS9vWe/Wo3a1O4OldL0Fi8gMpz7qx+QbbudstPZ/W9Eqz5LDSnUCj4txFKEiIayv9MtqC1iGUReRBFpA6b8buT2MJM2ADlQBc8REzRzraoQssAO0JR2H1CAh/ESSKbolgPOPgjQs3+GfcztgtY0xRebwMVzFYDDKPPVEcEY7RMDzWFjPEg8lR9ajRN/Z638AQWIfOiwD2M2KgtGq8C8u7433wFyAlOt5JZamrDSsNoPQKh20zCRqP8BxrpWYjXv58JXYiBkTG0WaWmfRMgF6KKZUmg16mibQx4sqv5dO5O0cewPEinr/iZRSuQAX6nbvizIbVvVKTpU+uanLb3qIEDjRgq4Z5kaPjHYr7FyizNb6Wk3PVMmK5zKsyTvjtffSefBAPYpUWUalyHh1fvyCGX2RIYa7PBTz5xqJxuh9inCm0IE0wDdjdqksR1uaFTnbbxADfcUXZQQh0iWzv9VO/t6v/1jV4RWFF8gtN3KYJXPlZSfJcfe6eogvS+8fxx0Uz0Ur0DBHVnrkCAtNsE1LzDx3A0Kt6VxRUqzhuhGFKbIAiuSy80fRkZc45+Nluya/tb6hIV708fiqa00GzPfgJUmnHtKfSzVTMaeF1Mxa0zJM09nHFSWFqBolTcQMKR8AkjdIJMzI9iK0n0Hpa5fwvRcbK2AYQ8FWX+uAEjs7toUxHFM9EyBAVvJ5vmkx/BuAw/L9gqVGZGvaD1TUItkvc+zb8M9enUp8xdIz1F2944D9zIdI6342KB+Jc5XcsjGA2xE7dxR3xzwR+bD/50huzMNQiC61xY92VOFoBvWRe1Y6fc4nAhQbPtAbInk6PRWzuUe80pyyLCVb9bcoIgVFf9nwvLLpNlcgb30nP6Tq+SUDvFeGTGahbZxQyTKIpcLc1v8Es1adho+/89i9RtM+2LzefT0JFLmhd9xGYpW/Lcc5kyjQfNurcDdenn9etSos0Lr0Occ42YX9gwswuPO62CL3jdYe6qGzmy0pjNWbQeRowkNM6Wk6UofXAl1zcPIzj4srwHW63M1tppMgij9J4wDA6MU5DDVahEoommP65AroPZznwNxHNYpZbOZu2ZfcL0QDvnVaK8A=="/>
  <p:tag name="MEKKOXMLTAG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V7V/wylEnRSjNa0bZedd8Yjfz6TiCJG8OqoXAl5SrIeF08dlXg26VCLQSuMwFMmWGmihLwizelWVh0+YrBGrvbI9abCAsXIvQHRa+DCJaU1caZXRjzwrcHSZBFTLJtXIvAUZKjjZ9v3VdSF1YPXcxNkAaPO6arVNpTMUru7qJWPmpbWy6W9iWP8nm/BjzoOwjK2QJl9aKzYSn660o3rBhd3NYTbwNo1xOnuOn4AeqzfbkEPQCj2+TKs5vxY/FAcsdFQtrUKNfCiKj6myGvZiPU1ns4SH24LhuLPVdjTVujxp3hwtVtTg2+UBjxZExpY4bF98fyqiCqSUrAUq0282Lc1t0PJMMPhg3bcwQN+o8aJGHA1nWQdUJTj01Vo2NNQ1jeSFEzZs3CtAMJwHY9Lle1ilj8hluq17i5Ca+SmkeGD50VTCBKzSPJRaOsvR+kto2zlplkdKgMiIlOMMjtmYm82r1h/L0SyQou9zNvNnAwp6tvbe22PfQIUTih1Lu6b76QgUbYZR61UJ1oxRRyUt59n4lSAiK6lvv+FEC4zGrC/xDryg/SOTQ/+C5Uu0zfez68laQp1+76/lPBf5DL3vg+j5UGMno/aS0NTTuu4OsC0XADT6lEo0YCiVhM+vN+E8cGkpJcJQgZQ7JTgmEjDCycGMdAb1/TDxb2ktcpMvkeAKbc3D5KbHoD4ybPOOydM1KcwUSVb5VN42TncOSzGRKXswLLQ3wNp5NkbzFe6ZoODUz/3EfQQf6YO4767P1rU/jf/gYg8chJTqJJhcPnZP2g1eRJdh5TBnQrnFbvbE9MRE82ul6GauCsOqJ13vnV9YZIgG2gEw0aIPcAz0MXIehwCbKmUutDWpGBin6WHNpGw2OqSD4TccbOGZGsd6p9062mVdhp0Rp6kvFlUHtOxCDMxToVVEMPI9fCK/KQrhw9RQe77TbgEItIiK5heZNFSF+KvNS37PEEryDinrK9Z9BMKRbQkwx3RG0pPgjNng0iIt1HdFPxLgDiSMjgXhVYtSTabiJ+Yf5MLUk/bmPnWESyVz8MuMqTzGeQWsuXQrONBeqnvjjBVijA9uucuKUHILXL7eGjfzGaBlHIpV5oqAGaoQcouudaWSGh7Kzbx6eeLtY+BJ6aAwIvolwXPnKxlEX2Xa5gNx5NgRzrNVt5YlTDYepXNtMg/PD+lspl0p9HyCo8cms0Cm7HC2gbyLfdKN270o+KJpI6zkJKCTedJaV9zJQSQNc39yqOq63jKZAeinhdoeY5lt6DSBFSkW9NmoctU4Q6xhsmOlseNthp4NQJotgk8IT6IzXNHOMmIiJDZclNosnHXEmgtiomOoNuyisfVoQ/mUGgl7O/+bycmLra9KAI9hVMT4Xs+jv6vXOrcM2nMtYa9svH65ZkoFAZpCjBqcKgO5nat3CObxKXW7GePGn8bwe14yxXu+WqrA2L5fOl2HF8qoEwDTGODC7049gun7xOHLxasYiLC5FDSoVeFKMhuVw5DhK4MbFHS8AH5W0Ym8sf6zn7dNmOzd16WvrH9J6DoLd03i7A9g08GduTwzB44yVyyMh/T2I4uJQfSTfbRrCeh3Q2mQZUhebwUR3OlmAn3nezYo19ohxWrfjRrcS/Ah5aN1Rm7oxeuMmrs9WczX3Hd6iK2yyEdbaZH65Pdb9OUtzSJzDvQPbizh5iRx9vJ5LBFOGlWq46XGGkzMPAytaaMCOyCK3qp1qtdrFSoO3BUdytvoiY8pkpufgkGXRZSLOclF79skX2ZSOs0JxWazdhDbDNWnhZpISBXPLtTMldaqazLcV5vP2TVtN1WmL+Ca+m+JF5ws22lcEuWFnUv/98QZGTxB1rA530Ts1LmiybJiXui3PKoANZ9Mrts0u2ZDoZPdIKdV2IF63GOWGqOF1cLW+S6zViSdlcTxVbdldlhYEKnpxpQbvmlOg36BihTdsgNy04BytJiQI5WHpHH8sbtn6s3XJtgSzExdv1Py/Cq6DRmxnmUouF6JyYa8lLdcePJ8oSQoyPVQpQO0kdpgVkKZqSFXkfTh6tO8EIPDIpHL3kcXsIOEQystFC3JQ7yHAg+9wHZNC0BBfXmeuwcc5m7ZGnQa16vgsvBsfwtyWtgFYiyysZnHrNRG7zzzP779BVnN1hK1LNdaa2QLyJoYbg0Wv/XMlHqk0i+07Z4lhfhulhFdKk+SJL49yc66JSK3l5++n8a9n1RbRcf6bLHiMfR3ZbiI0KttJ5Owi4/wX5rbapWWCI4a99xZyccVAJJhcbJK+pBZ8q/NXMkTON9fX0Zm+KWZ3XInn4mp1+YYiXEVsAjVFATyquKn7N8r46w8ijnqnxpK/hkcKK9VM8LnGVl2cHUmoMsznyu0E0JQUXa/PQrbltbuhrrjgjCfvevZQN6WLZe8AEpKoyOctJoiyApmsF/fCaX0Zv1Uwr4N+xtShVJ67itRjo+6wxpT0TM7pndvJBIB33t1MQ6Tx/Iu0A2UvDdCm62dVwIIpurHA1B2Clsnx9nqJOLXNP5I5GTnxfwKHBtXKdaez0GvmhhruFR9e9SwtWCvYke56Pec6duu/UaiFcG334u/VhsHdHeYZm3deIdODxBVTdZp0O7oi7Db50ARi1urYDsHoIFU0fMyL4MTcjvzzvaLyxlCeWdlje6YGd+SA/HM8NnRtYW+E4X4BsFod4otBgCVohd9Wsx/0/MG6vkC5e30YY930cHQIAyor1udUvDUVav4eOJLi+0Rlf4lQD+EHdIyzYJRvsIO+lxdepg+pqcBf9jjOxGF+3DV0fGBQcs4S7LZFB7vLBlRSr9MVqL9y0Fgvz+vSsMusqCHKnWwO7k5J358G/qE4RsTMZDZ1ArUGX8vFjBdvCWgEW6ekdtss0JNCblvAXaHB/rgmEm6FurERh3XzLKEMNAGYZe2zPeUxexfIZ+1fB7wKxTthc5wf/GgIOdxxDD9aEeTgDVnLXRQxxcFmUtF9uQtiNOgJJOSShw8R/lNMVOF0OEFI4wt19BcgP2YbbXLt/gllRrSSaWxyMcjqikR7LE44czJgh3vKzGv82GvB1YPVIlWYR+S9NdtwpMY7+81NRt86JvsoQ6+hp00zFBAfiugvr4l/w42uRgYSbOinpfrhXdnfA1hNl2gEX7Cknz+zozNYbXdL8KgyopeCIi8Swh1sftB5xguMF4vrsWr2fJhPHiQlnrZvsG9/zSBo4JYfK0ohB5nUk1jvZsxWvzFIj0ESQ9nwXwEqd0ATmWgUDfZ4M4IsLeb9EcqdWDOUEC9HRXCS3ETqgMxnX180pydZpXUBo5QZj/cqwjkmaX7ZF94Ll38pkFT0kcFaby4KEg5Cfj5NPbJtcv3+eHKnCkeDywRaJWpI6P69qC3bg8bf46iwMrqDF9mdJGq4DJuINheGAknhUUiXhPTwlesh0BtZbB5p1KTYStiQl8ElIjZzp7KTJkpvIEwrEVn6vecVHLSxWScld2hdWyaRe4By3xqHOFIB9r2GxNcD5i+vbsROlrfb4ADbf0GTaFAFjUioImCLJCX/EYf8k/qOJ6wel8Dp/jWc8PP/j3YFA6LxS5aK3sy+2HsEOKENxluBsJ3MGVYNh6G4y7fVGOjbTq2aqOxUMOlbTCM2oqTNxnMjwMvTFGLY7jT9tlZ6P36HDlVPpfclr1RiaH95gCGXVqxLkyR+ITz4tZzF4ZQ4GbkwmFZA+yGliVI9gOV1iQDBOidv68qyKi4bjlAHaDuuMAlBXCN/GMVUuZvthYs2ki84Twiv4WlzSIXwgW0leI20N3ozbTlcJLiisoAk/KltI6Y5JqYX7OIe6vrrGTW7ulAPRgaU/arRCybJZ+Ecg/YbfONK9U1BOegGjOaMvC1LBEN1SMsEMtyKj6Fv259ZGtohVea1p8DXGFL3qpkXGqHM0E5K3adaiDy76QPe7JhOxCJ1g+CmMbSdySyOWUTOfRC5k5M7mYF/9grF21vxo5E/oXOpCDKZ7kFMjL5BKk0mwmJWQ1c/T0MhouALsaf5PDvndP+soWG/o+NZVLwx2y7zC6bWZvquT1HnD425f0MMj/UWss5o4nWopsIsL6XZKrSIaeLvc7hHNmHibrvRL7xb5XctnzalVM+2CfaccxBss6GA+wOryM+yzJ2ZdK0wWzZ7UTEeF3qD8rPDutLWg7WZJSS2anb0nqcht4t5nzxyMGvCCQwxatiYqf1g1F3kAiL79MSdZKxpgzHrET1GELfROmFmCcGvQZvfRlPN9tz3+9v6/qB2dQibIK65c8jy0ZaX9a8uI+LDz/WrBbhP6zabLjjEdmp/bbIngcZz0TdJD0nN/4khXw39OuzT6rUou2utL/bLKemktLknn0NDlOwJt89iTYj14Q2D9BWNtHd/TWdr74E51kMjOI9r9Q/Uc1yK13dlSa8piO7o4NBogcfNXnckhOBVBqrSc/wgoMEnJQyjdpgVKUljr3aSyuIuPjL946vSPVLKzBKFpzED8nNxRbODbXJgaeg454Y3zqtAEPOxx6BfdVbCKmsULai3LnC0aEsA/lNENhyAsDKtfYUGNSlRNVFWcPOKWSocwhCGj9ZiP2QmAiPnVgFr8pNoBydtVHx4vO8ztjZmHOufh3ugOL/tNiEV95KO+nOvPJEJlRw2VjcVsR+ooPiaJ7brWMZ929UCnlABrq9/7q0q/nznMfz1m4m3NvYF1gSRHqjuTc+5EjjL2tRLeh0rC/t0NIq6ZnSuklsc+7dhZBShrwa9YHucDXpkBQgqr/a5NNuY4QUfV7ZweMXLYyXl4fXZRNcxV8TaTXDSx/BiRhPWwxuShcLusOf8gH/6YajD5h6tmeLmCSGz8IBCmD6MiIkUj5os92DxfurIES/Kk/d6doOwQby4F4cLE4TBI7t6pm+1O6mJgQSx68wo/J0fwVLXKIBaea39XdOae3jdAr0HsVJHPFryh7XrZ5+foksAFWKLzTkAjdAFbRNpJG8Men0vsIkgyQQTZCkrrUYhDzb1CVrtv8BuWfZe5imt8UNKXJexYOktw5LFYuPr1lBQvhbcu6BFkfM2sacQDQySa/C2Uv+BYyQvIqTjZ5a4gvKMic1KosNvjbSDbET4KCac3UvZxggjCHh9din5Na9S7LtSHwuv6u4TxwuIg9zFm5wKMfo776HLuTvXEcHfzWXR1Ka32P60Uy8zzsRMONXgTGKDnDyeRO7ODS8Cv46bbv8eFXJJ2+jOY9yVs2kbLVs3t8rR0nhbuBu5vlLeqJcaOdKMrSR6S9YUgyqHoYWk2hjOzWt4iA/YUYhc44hobRJNRK2tEe4sCr2ZzEzPfZ8i4lE4X4WnS+1tdXQhQ0NLuyzRBqRk83Xc+2ARjHuRcqY8DRwHJzNJTuSe07/xudnxCiS67L+HAY8Fm9mLi9xYbIkNWCcmLhdvRlpXsTRadO3dCBWAKMh4Ym7eLHuVD/5oNoPSZIrpoq0SQ6ePZy5yTBMPahW1KDvZbeobm9KCRB+82vEtqAM2+ovH901IJlXT2KzAVR56O0PbPYB7edqOr8FPp6n6rBC7aVoWA176Dp5eZ2fu9qjC60CiXnGHbdlAF99gu41bsKQuQDFVHam9OkleJxitXkXk+yMeLvJFnvfnTsRG5FkMt1vPXkOfkPp+9tYNKkZhBn6kyTGrOz/+qSmmKFbDMNjBwf3G61Zs0XndHNJ0u6ODqcfuUC8BqOPqWaz/WKNr4+/Dm8wyXoiqfBu3mpXtOfqnXurHFS6PD7w2LXIdTGqtaxPrb0aXYxXjrMhb2XxWGBawQx0aO2fZILkH5Lzv+Fk4kc2IufEZ49UBrQK+L0gwnNzOHhqEMbAvvwLx4XMLGgdQOURVsJHHszLmA+oKVf7rLmR0T9F7SjaCkcebp6qzgLiq755SGfldAiaRGFG1sn+sakFZP6i7weCRMbhX/7Y2vfHfrNm0fSpgv4Zgvg57mjmoG1BfdXJfG9xd5tUnWDuhFkjrnL1Poq/cZVI/WC7SF+ia9xv4th75awIMX3/pnYo7bULq6EEEFKbbeBJwGFUzTYSUTjRUwhV5hwjS3t8Hj0xMcN07Lv3l3ynW1jxm07qEzhMLXjXpUarTl3ltL1Qlajn75KMyiT0eeoZOHkBG2E7QQ6RTXkKvXqZMrX4e7qgYgbX5B0PQ3gRIxAteeMF2y7U0OvS0CAkr0QmxrcUFe6esjLxMjrYFW04qWjT3m48jLepXicTTEmw2eK87Ornq/DtRPOSTy9dPU/w3iW4/1ccSNx1/yEV7+/3ThH72EEUotJF+zvnRahXWDYsIp0ickwFFvO94nI/Eh4uZNMfXyPH/P6n/baUnfvBQBd+tjD/wl4cADquXrpm7FpauP9gog2QhSEyz7mgS8tDlsaU02rfkMU/IaMnuOhxL6VkOIRjbxcaiIFqpBbEOUGCV16+nT2fjEpYnmBF/wz46r0wxpkLRY6IqgYP4TngJ3wWH4i78fT3lTB+AuPZT9d57/YPO++w9qiQkVEaq+9y64HgtxCQGSRnA2fjGdZ7CzXtkV8wudbQnloJEqUvLiG04hnD6eC+wtowrr7uDv/M7w/pQH/ETtcWSSkgOb+jWVKjjR0FUqAoPhguuTqV9wtCv/wAkDw/WmPiLNynuBPS0Hm/+j5n/BOwy9SSevjtwmmpPXNjpEn5AABKP1/h7FgeAeLjNusyCuEwNvU7MB6TNrfp19xI/5Sry2b4WdcTMT/qxSVvt0kVHdEZwg8Ygw01VCQkz9DdTrRzpJa7dvCZmV+s7ZWnBucWI8iqTVgPeUQjZ7QJjw9IVeHBb6ibhU6zClOTY5pm7biljCDJGHI37xxu6CkRwAeOHUo4FS8V8RjbJBd/E+9yeaXrj+hS7B9RP7vFjkrAsIwT+2ZsPNj21EyCgRUxxzSVCImn1AWQv/m9gYE3KescJDgW+YNyZG9bEiVEHsUhmyO7l0gXyuDr3TzSh518rhLYlcpHPRLSMluNGYjDNr25+qTsb7NpE6A8I1Zr2GG5D9VHxIvd9Qn1BK7xn+9ODfIXmYhtoyef8N32hIUMOwDhLRToYAIwUg1w6ChUvQQDWI2gSTPRMW1VS31mbRWS53ijR88yRqFNl0iI+lniQS4hSMkb01+9v5l8p18mU9SChTcHQ4on4t8leK0FAiiKxz/jMHX/9SQSQmx0BK6BdXAm0xebOULCQulV12Qlmh081wXdi17qN0NrhxpdByG23Hr96oiM5+rVFYOJLxfcZWNHk4B2VHRTcy1UtEAqSrE+BS59ReIKqgDxwX8xCP1Ro2gUUQYdqMvY0m19MTh/xGe+0iJ2z4MlmU4evffurZfSg1LrjFHBuSXV5rPs4pIC1/GJG575Jybxk6NTcWTn3aJD86dqt/C5CuGP7pPWoimTCZsdlhLj8lk5dmInBcT6ryPnQDrqlWZycRuaPkpv3723We67UEwrMloCKno4+SEPPXiEpVKP14PtjKhJ7vwc55cIr8HhGr2xgEDIIu+lObGloMRIlNH50g6t3kDv5R9KNloFBfVfDfUE6lKj+2tZobiCrUCSUV0yB5cBscEDdRk5XeH4cg27Z7CILV0Jullzzys6HPl1GOktAGy8Pqsp3aRLriayZGmMTLB8QnsGHZ3Q1z03WhOCqppnrm4JRyDbM0v0qGAhw6KxK28As9jtxwqYKO+I10NWO7zbYF7cHdTZDJC/KW2OCls6fMtzZpaWy5J+xD84GjrFsu9+JkwubzquFL/yMk8+TFiHEFLFonyQYWqexNiZ6O6JvgBNmvqaWmsHmpuuHfsuObc+hGD/l35XtUVrvJSadElKQa25LC5AodZaG/NJzIkuyickAW3t9FfZnjzF1C0MTjzYFHcCKeGiUYbFJ1rjcY1SvM/sprhG2kbXsxEwHYeCwB6/bOvP9BduGQrDP4b2ARctFWwYCqzOc85EyPr2g7gxz50WRkDqXPToWgL0XjnX5JRpno4/+RIAtmiuZM3DXjCaQmMfsCloCHrKB2wUVt8hhEism1OgMG9fEKW1VKuFIMAsbh8s62VbNaObrRZoEZK3neKqZYKvVx1GaxjjZhVUXI3IUb3rlqwGWMg3troWwDVKbjL5DOXJk3kU95quTP8TnbG39/HgNCJ8JaGEtqwLVkGht7b74yLaFmRQbVX1mrmHZ2n8oXC6uCttETtUyK+QXicHGl+L4QbfpyUuRQHDkIh1z51brrx58+n+Lp26FkoEnrJVkr1xLj2gyY2Eq380Jj4cWmR040GAJfmSAdhzsTqFIsWfFkGAsjTbQdbyvsDuB0/AG02lgG/F+mT6Ef9eTZPWiY/QVcHRNmexA8M1NLg1nB5gVdU+dWUDH8PErHC+h8Kq6ALJNOLdE+R9yQmd/FDENdH89Dq/QBiXg3jWLi/OwDILqv4Fpn4TP+uOxQHbnFdjvcBi/lrm4EZ3fgtGhCDdjfTh3ENV1DRG1Yl13zroR/rnl7l/PoIhQlSuT2DQw/ngghB/C3hLLOlCpcD3Kcyoob1bpUJJNa2Bm5T6GOe8t1ziIuH2d+AcBUQPVJuyFGzCXFmvww3pl4orMiKs5Sp5ZCx+QL7eIgz3b2pe+TpqLUXQqsjN4tlAzMYDSd6F6PBC5mn28YBmiPp2Wi1/Z+BeLYCpZOzaG14lh0qz5z6UTs72TTVyJrSbPralTkPzEsGT9Sq7AemvCzBYoT789E03/HGHtAVI1/5mIuvnNSM5Bp7x7ggQJT627AmKvY3hEz5bOsCldc7UDLlXXDxN72U/6dizniKdNAvb9FI93RvT1TsdWQUSI9iDShmpWVIuCKpSFOFNcsPea1vC68AlEmjoA7Fmb7bCw0u8Odj1vxbJS+kYK7P54LIE9JRnL+pu4XSh3G9a9qNLDnhhcp0+z501NVuFS9EaUTE3RvGxxwLD1GzvhgT7jAeEkFgvKpz7Q7oA0nwh6waMWDE1v4VGXuup7PLuB+vg1hz4VmQBAb3YdKvb4Rd2Kvyq1HiZMRiGzY/NhAiCyMpY7j3vGJrqcf62bF5wyDQRg6nfIIjuVKHUha/nDkQ30uD5n0qyBeXBv7pebVqr3rYXFV6xvm5Z5sqkYV58qAJYPM0yy1ZxbzITj1lFpWieFRKLfit09U/CtbstuWclRKcdCDkCRTE6PJyH+DiZCqFwZXjzjarqbcWETEJGXbJ4i7YXsJKU4q3WV+gEcI2rQbnprA5h9KVAYy6iwVgdsz1NpaEPcx7cIBieBYi/7SLo55DeLv65oVQPrS4/k1KBIb9DQQmSUOeM6c66BI8zyHU3Yt/XtJFdXu3+0VyoVwSOUH2hy+pW+PPgyGYsGqpbRlkRZQLhwJz0Ziaq/YKqFhCnZMBY4idM5cDU74bBp360NkNO35c878F4KEK4Cbt94GUtVPBx6FLqcX6mEECTcqxVKx0N3OTRRcLO4NDJfAxHfVrPiOL1jrTaL3menpnMatXqi6aTTOn6LNpptKHx+MPntDkKbtTce3c9LY6pwoVam2G69wfkBPKjYEE6/AgnQRHiIZxfnX4tXX8Igb+icQG/17NdVlMZMW8Img8aT/mVnwj5fsLo6hjmWcQC/eCmyp4p1AYLyiPN1zyMjnrlk4pEMwsyACozo8c0CQPGKpp1tzd88XNRLlD8m6noe3UmEeLjvN+0urmFQbUPpmxERCde/lt+195n63Vz9h0+s1D7WyTF8rbek/pLsOOvIxWv/+ovsJMGwZCPg9yHu2QS/A3bfdEZeJOewNN7kTIKTgTi+VGs71S/hfPTke3pByz/Nr7TfWsd3x4dXObQSTDCRfXY/4YzWsZuL3pTBdY2l87X6kVlHsuz78RkxrHbpML4hWlz8Jtw19pKShLQDKZd7aIzSaig5NXNAZHAD8F/Iv6vcYZUlqPcw2OTmwUmaytm6nfpk56a/hDVTIcJ9pDZuNY5xwq0kXQ9jzrPr17RS5MfO0CvFZVPGf3oJVjOTiwYeaeNUyabV6R+jTyL0Hil12hZtyUIkzlE/udJK/bUyX6yX+qNYJ2fdkM7oVUN4+AWJVfWjbJWE+yIsRr4d4OwkoxAXqHi4CvAQtaNmWPn6OGDQsw3AJ0Exk71LdllmwhOt+nbY21GPOed0IToIJNhLHyPPdiBYGZYbBjCKH5pqI7xXSYbp4X0gjB0S0YzzCHJ/3U7h68Jwhew69wYHp+j+SiFxPE0/qp/EZ6ePfvu/7GfMN+PH0o9Oz+TKGKF5Stzo7ryyJbyZ7CuQLRLOfgSrJ3ZGKVIooEYWwejuft6taUBXxSQsBkxXp0xKX2xl2zWjl6o8QtbvXA94JiGvoJGbdOhI9AX7L5Jts3BnvlelpyDjdxZX+UpKgMwrVyqxpOswMzBOZ2vrtR9ujJnkTXR6qx6r9rVnaCYImW3UkZWwexLKWbrbFr4ranRhlwonYSUzFMmDC5PWELwmy5usLYeIgYM8duOa/kWcfFHtAFqcQLQ57rjjtxbqgKHcQGNKY713SLjvbM2LNjbjk9A1N8kv4OQziFCeE6nf+KHIJmt0J0Nw0ACrgVpuUMn5ke3K3EGBd8d/rIY9/4r51ST5X1cUV75LVHp020w1JP1i3ZtWwXQpQrY27rOGKSaimLsC2saXiRmhACdD0WoZCh5wPIVUn/BKAP+C8zE9JWUzNRYb151C2REiLzh3Tk8ADF6Eqzt4zTTRwWhS/ieKcVp7ntY0QAGYopD/V0oGMPRVe8AWf5P9cc/EUvTGZVEcad3/ALO+vtxJYTvklHkDg443KbGgiJ5oMj7PNK46+PxIEtK38EZhtEN/cAWwA+Vvhqg83njDRVNdujI2PO8V6LLQAb2AKiWlnRgAB2Gx9zgsYZHn2b8UQRLUWuokr/opWKi99CwQHnP9TWQj1/ZoVqIhiXR3ZJad7pgiX0A7FUX5TZXvpJPU3WUgLXLrfWy/8QSaVzmIweOSWOZPjH/m2Pl7sWHKv89EoAtwvDxJtGHrZmu/FSFR0czqBqepnLOJ5VqQkYVoS2y2mHtfRJj3X2m8RssYI2mK3NmqXk6LMMtYC38XzM+PDzzwIj8GJJgxGIQyvXvxSVUOQ+82SBNyR4sRKyGOXHQGL8v1JApuRBJcJMO1s967Ryd7GV0HNz/Qk2l/XY5JraF5bl73RWVXJXm8x9x9quM+RuZIDk4VgzdORyNxi5fUzNm/6NJhiv8nJxudaCKy7VRwVDF/y05H7uHBA6ZfUZa9HRT53ROYwEj6FR8DD4yPhZLtwJkoXVa/Zoavx7nYQhlHasfewWkeKh+lZClsgSfxtcekY4BARQTPLLmZ9x6eUyzo/E0BKT2VZSo4t9SAyuu0IFppjCI88wjeBXReS0eT1fQdtEgYtdKK16FQKMV6IOssYBxMq7jNTOapYdngwmv1JObY01Wn1zEks6Ctpz4dluyPrAhZMG56tILMTFq10ZgJ2aPpgfJ4zl80VkRscXAIy5cmb+T4XMDr5G/9tN63Z3jjWx3K/3yx7TBCx6raznmiwRK6AIUP3dfmTx4fN3kPgzJeHtIrsi6qHn3JJ8fVXu+JncZ2aWPv2Cz9fQvG0aeTyP6fsz69vgcr93bCy7FYWWa6ONRPvpWA7/U1FSfPJL9c/+CzLLy14A1rOxAvxW3zZfWF8dDRrVTU5EcEC5XvUqvBevRUnpE9uOpMRKwgrf3T4DdT8TrNeKdelaPO46mjhi2VcROhG0l8qlIwZuQ8v6sZc/46vmv0oGyqrRoPF9gEfsTR/EqjApLlNwDIE3Y7Ty02O/wOE+ZXpNtWc39UJdw5N0XnMmYUU9+adMpCgEy2P9Y4W55opaJa7zo+J1LhV5qXRLi6b13InPlUy29vkfWpVjF84/qSfKwqg0PiyuDkvB2wIgXNgLyMTsER+dY9yMa5mZ9S2r/48EoBT1HODHqsPo0LvY8kGnmch7GzXAixF8+yRAesv1XgysFbSO51odtb0x06oacFm7GkULb6e9o/l/7eDVo/roFyk8ozjVygOu5/D4vbrs3nD/nGV/t7sXOn2KTaY8vD86arxjnaRJh36BVQeptDEp8aufGkArVomQ8CyO5w13dOjCZw6AsO50wPBQn7BCs2eLggJ1KA57C9qZiva89hnkCW4At4h2snAFwZjm5WpY6bqTMo/jhK6BthgEA1hEIeIUgo/a4eIUkAbBXRRZBwK6Av1Dc1Hw+pPgCyp6cuQ0yS0lI+XEAFi+3k+NjjoyZTjKp/bVNymzgGaILUpwB1X2XZMmkhY+Ht0kvaiB704ITvcgTdEnVj9Ca6AOg9FY7ggIxJ5V4CvyrZHEZNkCYzEDAsvh6tOy7vHGGoKldNt6+/TVcopfQ4zOKfGQcSg5/ORy+fztv6uEXqoBryWWWPL3DrJI/AwSiP9c6iMDsiFWc4a8yQbUHkYDPXtGHNUtrCvoGFUbYs6irxa7guwaAAoq05fnayFBPGLsqAA47jP+HGy6bGn15MneOqtVaAGy463ShggfwSJ4p9abMkCr3hQ//kT35ZDSG79AqFsYfWDgFcYS1NKcZ/GnOroSzbIpj84D+3bH8Az7bPz6uwWER3tiehb5s6AjtlsUEHohMGLcmSJM/OcYOmV50CEBvGwz0XgdZQPqonmdLqCmqdxfIKM8Dq6MgRN45zh+H1yk9TuUw7A86Lmxqq8J6O0+RiZKcL7L6UP2t7+wPFr0Dc+8oXTRkgAw66uDGgemdcxK3uA7vPya+SSjjo0AFaLPyxvt8Y6esf19CqxtZz+sROWFakwgsdRG/cFCRP+Teebfj9mXaBLYiAcMDSlq/T2I4Vbq2dWMpZHwK/A6gv/o9AbwhN+NW2JDMdHPCOuX3qZfszmS8ppaZaeKoNfqD3igviOEEJFM7oBzLo0veC+6hGe9PdPqftxFZstbnMffK09tTIF5G9JnJWXRelHpey3b8af1v3UCVR/SLX6wGnsw11Rp1HhJiqFDcHfQWH6lZX347Mm75xhNf5gwfnqrrbrkLX9bkN2+6TU3uLY3pS4/GSzHqNJs4s8LCkhtMthBqGUS/aJgCqeH4uXZCPLbkTLtnKsnsMsMQBU31sOtlsk2HyrSSwJnskcsDSWqcTGdcFZ2ZX9gk0YqmQVtDNlNrGvnVXuhlDpusG150Df2UYOQzaJkYQ7SVHIkDbppBRLoptO3Iqx8H1o41g0hjvZLef/gIWlqihiFKtnyXk1ibM+4vqai3uAAB3hFjZ2IXnpv3KAdAZrdwwTdmkdVxSNAWu+XBc06V77u+whDO+9DSLPxj/ZSLDRmOA8j+nbxM0CtjLOx8Z9O+gjsn5YslkoHZ7v5tRMkaEPJWplBK1PKice7a8AOynMIUKwiq3xPYQ4hnjsHXhbv6ApSY7xANZiU5M8/XOZEL/Xe5NYdKHrWJvKGa0RFJQ/rsppoFXXCmS6O1KHlsZxchFQjQl2zc2cbz3bmpG70i6IWJ7/6I2O3TJWOnJTfPtK+pPDAVecuXCxlc+e6uYG3TE0tcR+bjazKlho5c0YPCPK1kk0U+oly+ldVltmvTQTP/6Gs+byWuAPOSb255+rcsIBik6S5KSgKbq21RauwtFd1W6aZk1MFD2Kcf+UQ30ihfN8eynJIo0jng+SMeG7gQf44F8/In8nb4RbhA0Vd6jdNFtMhCeLY0MaDmeoAy4BYK9obQYGk7t6GX0qXwcuiEgA18eVmbh8JYDVEL85WQpufWIHzZ/LcjwCGYjWft0vi53fQwFb0ucH3VjUdGUZQK3EVeXH9+GK1md+qRgxbG8CIasLrwzwS2RPkNg3W8R9HkJaHicW2TJJaBNLIFTYk0mEaVsi/9eGNKBZrBD5fJXn1J7RR8ttAXPB8/+V4ktu7ZXiuyIuqGnH25Cx4BdwHrIucfJDBqW1gs0A/xnD7a42sfacwdL1+B9YmVdlTDMBdcikW77L97vnSyRa9cmtE5OVBVU55P0+rFJdFTIhb7l70RPv7d4LHEqJwhJ4Le8nV4tT2dUspUBw7FPxVwhBURqTTXoMO5QJezEHCSYcjdO2bHJap3xQ3mNF3FUu+w3cc7+blbRc3TmkxwwBJrmO5ZcSPR/L5voAyRcJGYhVuMm06Hj+knmw8q5UZy9INInV6zVYNv7TRfd2e8xOWMsZiR9tPYUrbCYpm211oVRtLOnZ297cdjolr/cTb8FKdpUierhLGUuZu/5StGjZKvv13kiPwOg1MB3kXGPtqvc/NVFOdEBnIo9VlnKueK6VYlooGtzShUnFo7tlg9VHDDEcyKMpkQxEl+d+WL7CG3HQ6x3I8/FzwuDxQAazIX3ReVzXT3DNn+jKtSCJ1y1IMtzg/zewc0QuNEpE/JIjF6lTN8ow6ShnNpL8zC1nVdtWmrH8LHlAVqmbHtB2U8jK4znymMiP+QZlwB/msk3rYXLIFT5ZuL86TkFM/GJhqrtotxw2f7NbwI4fw+jGXn6pg8DxgzN23+ouBVffVSOxwE2D4FuEBnGu7sY0+R5GxgVux1mz3eT3w+vlLSmuTYgMAVpKzrA+MIUrFY6xJbf5K7Xwya6fCQ/woCOb6bpEdRUFTensyZZz0ltyCz0p0vHVUOuj5rMFXJUrB8dEZ3RUmWqS6ltzuB2ELSHO0iZHUCbYbYVQ2flAvVOyB2ONSfp0eEXFVnLJRNomat/aD220A79TQ7oaJxInkH6tANl1ip/gUchWMbcxsRMeacim7xCbvyHshJbIAvi0I0QKUtKIOvwRIg5V/vyYMcw1rZ3deZFdJGTiFSa8OHuVV0HUlk+1aO9poxvMjssXEYwYH6NvIcfEclzcX0YkzGQD0VK97G+yn+7HXDsKZfE36hsgy3tOVGkr+ZiEu84cNCGBi+XMs+5v6ssDhF3o4NGPTM8AGvyytx+kI4odik8aRfsPvXAGmvoYQ7sGwB+dBIe9h2icM2lJOprHZTCzlV4odpuOyfIYr+Pcdfbhubjl82aGl4C3ib6Vfd6OcXjkASMcLreeU89pwonsNEYG+q2yDxcUq7BLNNNo+gxkcFDKSiZ9lFr9MfwAxWjzcyN/L0yLMLF4TC2qkG4TSQuwvw4ri4gBxmqBiBK3pkPoO45a/JFXZA2pl53XcnKSJtpWhT1ZREkuO8Bunb7YWO/LeCRvWGTPPiBGIXIljSf3Zwo0gF5WSWa1TVBcxqexdjYWqVV94YDUzf/DVf64xanQWXAsUAef1q7brmvntCNcIrXM4zprOUki8p5BOzec+UjdHjrkQf4rexh/qaiXXDhbRNfxqNsg7+IKKb/9/gnTHIuwpoPG1huW2jkKLtCX6HspvgdtlKni6xdPR3mT9OyXTY30z7txNvXVLehjh4IJlL3mxdFoicB0WSNceOtltqqQ+RgbkMhwrUdaZ5or+0Kch1i2JL4URJ++NwruXdGrmnminuDnlDcW4YHelBfFJdfvNqsbfBkrYncibew8xSYQyZqPXlgfA6MP+g0Z8XYrPugqBW+bLxIXlx9VyOPusatnaF6tu5ZBUgeHvwKpB2jdFSASRb/xEmLPcg5xOJvDX4NaFPm+ZjX1oE+NaRLSSgbqYOpVqlb/gf3j3XERCM+u2IWE8S9S5AEAOh92jo1Lu0x7QuccgOi+XcwDuQP4oT2kX2epDAo5aNH4tuUFbPV4TKxB2oA5G8XrDd6J6Pa5GHSJP+Ho66nY7bIMAubpo5ED1Ku96NNtFXbQBGOK1fEL0EbbJmT2Ix//sVcDmjVZ5gOXJtBHYn2nNYxqRZarYvNniI+hfmn7XVcN0d43wPEGi9glL+NgiaBS+CE8KSXJ0AVTNsECvf7FF+Jm8ijw3TWLcC2D9pqRd0YSenHlfewuYVtXj3nlc5SMgCyqM87DceOlqrqve0hBLAXdKWEneeY/Geljv8b9YaWJZqF46Qk0lj+lMgg068CfeIEtxPSEMpo402FMGgaOtc7An0I0EChbVCaKVotkfvwnerWpKzYOagDS2ot6KHhKl/WvrUX9u4NhebFN1Cxrk8Hr96AKGIDIp7fHtKmSW5+wrE2XgQ4ilRtPGzOu+mQ7rC2AhBXbzxFESfZyWFSzbvPpIRwKKqg/VGFw38LVHoZ3lXt3wTiY9uwqwetjT7PDHI58bKeYjEk4SKMgT/XHlei0RVV6amDG2Ds1XRG/VTlNvxNcdNVWU9dT/jLuOglIRNGlAs+WMUzsIm0pdOoh/YqmOx6Bn7gcf4sLcgpsS9YNPidwrVRWHNPfkba8wdV/M7dyzJR4YfdmT8iRf7DUtupZ9bBCBviZhLAkM4ILm9WgB5cBPlz/BVXNFtxBBBUaTNEuKXVP4MBvqBz31k/H/qGw+GAv1+4lTMpudts2XhTC4sHc1+lCEw8xwte+KmEMj3SMLZTtGq4/YsIvjc1hiiTALnbVea6YtHFWtD+txm6CeY6m5UGnoAmxSPtVB0PlVdm9c2JQB6EM7+kCkRrA7vLxx368eD1fwtnwDcwSFYDEf1qJlZl0Yp7A8rSSLa3BdjxIgHa+iGKUhOHOYnzTj96wDTpaSIJwifS/l1OD23WdrblhwtRUr3G21UFJ8iWUAgaqW+wUKbPyd6OskZxssRydNDQuwZWTi8L38mSe1kZKU15Vk6J5BWAPpOcT5B3rTI7Hz8TLUHCm1sJ73D+3+zeWaN02iX2pv7SEteFzxCAKyDKGsoTh9TIOR5W2J5GEuKApwAq73CIZ1kSwLZ72RbkPi5yPVpRd8LIcqMUgWGtxquMgocDUCJKod+jmH2UL7PQH5LmtaBaVB4NwHZIMnRAb6BEGytTFLcRbXLTcgvuf1mMSEHwRKtgpITCwMtUQRiGmCHcIGU8plId8BGFnAIgm9WuxYf7ID68l6H2UNoQuuuHgaxwD6lTQe2gHbSTPHoPQsb7nXhIi6bPbJUFoHab4I0Rv6+k8WbWfQwwJzhnpgHUAxrs3U/u4SFFrcCRICor5SR0SL7mWpQykbqpICz561/a/EUiyYAEG1XLXyoI3sSf2PXv66Df1xGC+IedCUy4zesvxZ+p9tr3nZkiTttDXUAurueSEp0tR8WTjUfcY4XH/aqnxq2WOnaZdYwB3CtjnZoowDfgG2QB0uFCFkfzcC9eqcOD15G6wJZNO4H2yX8Pmw/ZxyH28JzweRlGi+Tw032faG1L/825pq1GMMgrY8K72r/NTNO2HgaLj+M+JJLzpcxcFTCFKqpd81WiXPiB6SLsTIAPYNMx3nBBFR0hnfIhppdZEsShH2JDpV8WkwGV02D9wIM1xO6h6yRDyfdX+j4BdkxNph+wxFPN5o6amdMVq/PkLNWT71Ysbz/1vNNPNhbj+kqSBkGWCw3Gw2txWZZ/bcUPdmHS5W3NfNVpySMBcsb9iVwqWq5vVzT8B9rO+9MCqBt458RZQgKmUPOY1u1vDk/ca3/z0OPqHdkM+vAL0nO9B0akAkc8L5s1CDQQ43YyZ26GqfsFF9Y729heZRy+5j1DUlWLSnwo2a9msbPFTdSSjQCkCtIk8zjwdjmBIdpA+KoZxdxTmyugV2SP7Avfq2FQafUtpYogWLQ3wGBRIVSXjpDKuW4jgSCo8QP8A/ESTCtF/RhZnI2D6B1eCwzMeZXgO1JNOchBOXSgy2KyEG1N25Bm15jumSYVIi+m4NMlV8zDMt678OFonWTNaEfMG6uvB4XvDjd82rM4M1qGL5uFcjst0N0uLpXgOMThi+CEDJANweWO7on2ScTd9wOJm5wEUD99Iua6qYS8vJvF+PTF8iYXj+zAediVy++PywglAkSv5vKXOrLdnr6M9yJ3C0B5AWQa8PRRTi6xKOB10aZ0a6HuBZUqZHzcUqNOPcLH+9A+s5NNU4qneIYWcVQJEvD6UHKUHwrSmRFT3TYQCneVYDy7Pbw9ssuIezpaqC2hINTJOK6vGU+SUyeu5DzWx8XDEhEjvfpgfPdZbZ4wFRO1nsbSeUUp0dsoRD96kFoxy5TfvKKcTqT6FLNLuwJNSx1OTj7dQQgIliY82UcCqN0g8ZkfrO1xH1MdbQ+c02idZ+usstwPhxiqvqdLAY7MS2RTFIS1AWhM4KEpS2X7aVMs0wqPAQyYtX/Efl+p2r7nxsa/cypGrMqltFzbxZqelKFc29bCuoK47D55fQ7YRgBKhdOGN84sPSZI2TKN7/nTv/9b7KWW0fj48ciZt3/V62C3LRbD1OtkWwKfY86v8nySfAVGPhylFzBwdqqKmUfshj+3rUjYGiwRP+scTBd+GAASRkHUNuW+bIedr5FynrCfEJkt/I8Y3isjq3PAljNGq2M5bVVYYIjq2oMpWL0cGtWH2Vhhtqw91LpkivI18x5yLq723vs6iZN+HAQeuOUQda93nseWf4P4zDrIO6/v3Bdz4UIfdcvRuuiPS3PXtEjQ+Z02QVDfCmpXXbtLqUT/OXZYLtblMqBBTnvKMu+Y7DNT03Swxe8gLIwTR97MrrdxJSAQorUWmyyi7a50ckBLed9z05NeJmyNnu+i3W+H75jY7H6t33dboN6fRztzxnb6wDoQcVRKMbUVOqt/F7xxoksPMsqppNF2GcqhEvFZcpzGtcmxvPrNQHqHqXHtEwnOHcq7GS+BsFtWL48LEcR3tUZ15lHhb+IWngigo5uQgWO5F3prYbgxHEEZ7MYSWmyvI+57vnUCbAHsKhg4C0Ke9PjzG+re0HtkMqmuCNhDLaExy2NulxgSPRraG67xze682C5hv4IIhnL6mkuBxNUEh/Z18iS6+7eI52DZ8K+lEGjx1LXiM5UAcMh5/nux0634r/WyiWJlMvhdFOZKYQXYz1xKKPpN+qRIauFaWLCyrKsvDFrekwRqYuQs84O9652lq4gco+UeMLCn9Dbqdq5Qdu63nLa4k6/wn+O8B2/NsRaxkximQdkyEsRvDMg8TSBoKjeeY0CrJea6vy+GGy1i8COA6ICqBs1cG1O66yU5uOOYNaWjs5Tg6r6udXf2syrD2Ci3HTcfMj6n2fAMNoupjahfTfz3veslOQJVElK+NKGrs+PacYT1YCy4jRrSzUPKU8z9nNcCxkjgtzQRIvmJDbK7gwu8qZ+dK++giRkVSq6PQ8lhk3hQ0WVNpLFKiRO4Z4/tfqvhaufc56e8K/p9qVc23X91dk00oWcqSRkzFVbvXjyrn2OBAyKlrMBIlfEgcSbHqRjfAARdg1m/z8VDzNsi/0/8Btvoy58aNN2nLsYBS277PEAm1DpKY3Q6aQD1aXm0IXkmJvFIEb2vtZ3I/7mA9t+gxQCBY3AOFN5y4B5q9Ro3wAplK+gchw1vW5NTKeHjPy2sI1V95Q2453IuSp38XK21n++ajYP/bVy9vUDNi2XwsbpK55IZAv3+qUEW8ZzUSxtWvpycPTuOvTepXrgARjufCQMEb2nIdvA5BLtOalDRbpSj4nB5u2rGtBq0/qjnLX+sEC8fDl2S8CzgQWizGF8Z9JqRx/dSnPJfdEalB8uVcpbYMQcpHNHn27cgXGItTZ73B9/AR0EfLLQsZCCyDCld3XLMc4A8kIVZk7zDlPnSzecqS4pIL+inrmyoDN1hXX2B6Gu/h4ELbjYKGvqyDWIPo/pcresFesjs1QN4sAggxuO/Q6YkySoYp5yJ7Is3rSHASwCPkb9GR6ifv3VfyJkeHaMpE6OCOcRtWf5yNMmkXWCa4D5TBvk4Uq2jRgNGgWTZqKFNacPzwZhb5ELS/4IWA3F6OlHvY701GeFpMlp5vE+AJjFGWlefC/ZzTBXNplGkcap0f12U09yxXRq/H19netGZB19lcNt2QEtl7MaQIkLF93PRKJc/1fbZu11jwyeVakM4qn9lM4np3G06cbN1EtormEg5ZXgwM2FnuUvIXcQX1W0Aec0rcgMC3RPeGaOle4xlPGOkuYUFL/4N73p0AzrwssBRmQl3azD+KLscEbi019VPxWOgcPBARiE0DmKownU2cP/guYkM8dntz3QgmHhSO3p2LyeIFjnyrnw6vZxKNeUaxXkByTVFmMpA2u48j+d9PUmblzIp5pBpvcfdVz8WoXFckFraMuhb6LhA43ty1C/yzom3am4/sExAd/GO0G+3RmjMHCcLMcclIOObvngf/6OUN6Pue7W8Y56ID16CKi+nIjKWMq9Hnbfjtb69WI1vrSzbooUNS48DTayRN4WVyACcVJb5Vi/CBoKqnhUUd6otmJtf85cfeXuWREmrY9lySy9c3+DF0wgSIHoCH0z2z9sRL846ZNq30aQkj+GK7fdx0RwJ/Akptth6h9tijeqD8XzoG29vZ632BptE7movBNlh6t5S1b2lDcu0t6JTBS6Lhfd9qQ4PouDSPT9w5CBX8GRSMwkoO5ti9MIBHDWdW8KP9j7ut7+fII6JgaofBT+vtAljzJMAc5flq+A99kyE3WUmB58KwEtwtiLLRb12dk6ekaCR/TnbXc1Hzee+r+7vSnkoWft7f9G/0airi0zCK3cMzOBsU6V92xJlc6B96XTTG4uhPuHrwnHDssU5JmyweR1/5IiS/U+nm2CriUA4kpy61O4ueyLFPbggQNgDoET0QDHqgZmC58nOIx1KUag7rxaqBE3Q6R3lzG/enCyLJNyLpuflAvq1U5kOpLpEfLDE/hGcU62lbJVBK0S8zUYjnp57RGFwAlmczy8fu0RQ5W0gp9dJLMYx3sYvL8KQIE1jmDNMAEDZS84cGWj7/w880G5/IBXZCgQb8f60HBTlqKRLP19BqbMIPfT+BBfcqYzO7w2DzG41HhuwC6rpBe4gCxC8hoEg1HjGI8ZOc8ThOaxPjqNNQC41tRKevFGWw4xcBiDmis0TWIxowQN7OyvXr7WJibS/DgHmt0HD5A0YINp9aeOuNGUoFl/SvVaXPShC5HqhJaEwoCYGKgPRzbgMU/Hy5rDLn/VpCh9u/6lSf3RkZBXylYGO9jDUyTBY+68XP2HgOxyiTKy48rSbSro6RqmwCQzvFzbArvg45cCe4xaX4xQnw9bxk4yAh1gNW0/eRq/K4HttssxDQFbpGOYjfVWZFaaeNnS3OXhkiXT9pK7Z9E+mQwic3sYmObKpUdjHsEFus6DTPB/QKK0A8QsFaNPiqHuU4TAZWEJBEkdvkX2bOOqJvzHYkMpWc/nK7f6MqptvdXlSRRbcqBQfF12Pcis2Lm3kCdnsTL0jq+OYKf5YjYgUlGu5AvrZ8NmzRFzDALY1AQMmkMPmBU50omf5izQvpuT6Le1MHsWfoqT2O72TVzycKt33RFXK7c28KzEckjhwCRdNuqFBOv4h0pIcSH7gHtJ/F2cMpzVyFmY621WSXPoj6/XAa1hqzkAURr1N/7ul+QabEAaXRylNDyicy/3iyZHHCecmbqJqyocbnZN9G+v62sm6Ro7LJkJf9neCJnYrwASuvJhQpWEcfPqPGpjunsliU1pOQc2AjRpq+jpl4OaxrvPXYRfWUxk70p0Vrph64Y/Twb1RSWFxh4eBAdexJl2HMzJQeKZ9arEMce8hukPcmDbJoilEQpsudhL81xbMfubJQtcOm7dXT+MyK2zj/9vdFu9UI9KEtlQneq7bMbDKmimsv/qiKK7VyDYB+nR/rxX0O4H9X1svZGLmlujxbM/3DBdMmTCskDUqtG6vB4hSSW1qmoYhy2UFRgKpHE88WVDtKAOII8QB9MojqkvTq5fa312wSCeA2we6mlXncdy1K5NIg7zrQxK5ztWtgnNcQvUH+ljYcyGN9oikoNfBW3KChdbbFROCvzXUrOqMWZkwzBQFAsZKaWY+AqhT5MAGCBebgrYVLF/6qj5Ovc+fNVpEKDMamZ1QruUE9c4XFCWb8vL970KrIUJKItRzGeyH20bpJhfF4gcCO9eV1knwUlpy5GIsL/+XrBhGsPBrimubtxaHNt2dHpcEI/vRjO9Y9kmgqCVcT/i+VwwvPhaLZYRJeFAgEmTGBLiTJzBIlUCNMBRwsQydNlSA8ywg4HD391NNLRmWkecPJ52qlOe4fJy4bKZ2afY8/zyoTsQQrcuQb9iwSTV0yBQXJlJz1iKrYd2mwQ9p6w/vRc5+sYcyzSjyly7gFPZhSPe84HUmACTWyovc1X2ePdMAPuWaolvKli9orefC+K8GdDfV/zieABkDO4zUR4V58hN1qSx7M2TcYGQ42GXXoeRBmZW6J266UlJQAUbkE9bt5xsHtVEXc0MYPV8ZSiOuMqhboZi5EeBzLF2oNJMRp8CXzWUAY9ZGbNJwHNBCtRUwxoxYtNwmttbKlpYW4jzYE6D45GeoVHM1Ilsv4/yVgGJ46/N/63D01xagMb2R7rNaLZe6Dy/WSAZbDIXYZLIyL7WN9sXf2ZfkTzI28WdjsNRKe7XCvjxT1qz/01IlbpKglCYlyc2ewlW29LbZaY0To/SDjnE5CDsNXkNoNxU9k9O7xeWjFjFdiUv43fTsAG0/Nwe4GbRsR3lnmVBeAw+qWKTGI8Ur0itkHMRbEJm/x/+qbAOd0OAxuwcALPA/o14A+VYXR7b7E/S7SQB16/+umCKP1wNiGI+g6FZQgfyQbhtPSthJXJamWjeDxxVS12noth8G8b7hFD8bKmwdBs+24TLKwEFpHWKxDWAJvUzq+LSg5qZqS6Qxnt0d351b79aezA3nGO/g4uXBofpiAGqcsbYxIAZbB9IbVI3afhgwfbOXO8pijye+sEUTYY6oHoI8w0IyOY/hkWMepyCbqvfvLGE0Wt3oxbmS/KN4ZzV6gU7zSUdQ7R/tRE4w8+o7iZSvFMEvUDRx7+XH84p2SzcO7Opv31Buio6+yaKmrEh+TezT1PIfDjXibsQABp3QUvmhxsR8MXFS0+FEOZFJ3OZnGwoplI2+KyN4nGL7VIRcRK7m1ygdhlt2kJeXMdqHerkRppxOoIU6OGoD7sf3xGoo5HPNCeh9TizRxNUayjpzk906V9cbFLIPgS99tjExydqdSO4Qoag6HQ46JJVtt5Rn7QlaXhyCn42yoZLCELHpYBJRvRcemHpCMf9M45f9n2IqYGWG0Kpzo6SvaZG0vpqVXXJiwBM+z/ANmlbOmFxMbcRRim5q0edys2sMjClcdc2KaD0Mkx9Bt+dZLfcXAmn7bnQTVoncT3CBqY9e6vSqd/ZRaiMVUWfBGLwuudssDgGYSHIAYQqPn+/l3jcayQKZg6+pHHT/vKqVGvkXKaDqv9xq5xtzdJXG7Smgl5qvYqNSyW3ExL8UpLExctmmCAbS+63boA6jMJJTszZDhUSiwt6grNv0/v3m40G+7XMcta9Z45vR4ox5OLCJN9xBGpOMOY//6za/gVyaKf0oD+IXACJlFMHwhAzSHWH/ySrDLFTIwseiubqIQuGtCdsOTXe+t5SJ/PMGZ7Sh4JdtqdhMMYWYw+QiSpcF6TXW9UPN/OZzXBByuZOVGwAKwrL5ySxRzlkNPlbniRGcvKkjBATXgCXjxx0xOd2p2DptbEyiK2j3t475/bCFt7Nmnv41/oCP3eZppnsPj4HgMUOLccobAkXwjdFuUc2K/UEMqYs6OYkOwrFxJlA5gSaRkMDRdClwn3frCh1HTDhr0D3BwhT9h/XzcNGn28Qhdwl28eF+X7p0+gADetEqu2dHpvHtoD3cEtuTyJ9T1RMf5sVDeakr2YIq5NVDFC9B8TsE1tGM8OxxuGRKTLoSK/OKjKULEASXBwemSLoYi/2emioeOxpUoNqiAPMBRK4iVqSNxBG/ishR9XnnI21vqu2UsUkvyb+lCiLRdLMILg33bwg4xOfPHG38Kmgu3ZKKDsxp4ZWofuo7exyToUjup27mjQgnDHBeVrVK2V7UhtClPUplRY9aJdObUdWNy63y9uAqFk2zpQ+o0UAur1lrJM23SPXkASStUwoAT518fSVk/SW2VLD51o9Izwgef/yb84zKJMN8YhreTcSnOeLMbL8AL1S8/4CFY7iRde2ezfvhIrPwEncPDQAhQ+6OhjY5TGNjQu2BWM9MXkOH6PlHiUN8RzwPTD+gCWoRS+uq52DG1APn0G2t0lFTOsCblptfXIuvAoFdsgJkh88Qxcj2b1z8pX4qrVYpEWI4Z6CVzcOU+adcWZax8vmFX/ndp4qkHnKV1pZRjv5/vGhGj5vTTvhJkzazgtm6ISYpN1jPpSY7+l/DNxXHzLDa1h4UAxMFML/VX7jufBQf1QuDLoX5PE25sK3jwL6KJwtFv5T7G+agxkTVFP0sQg3WLqIFu1rNbfQTvAJVACuGOOWwylqI2eWYEdwJKvmkcPolhk5jQcWrCSxyiAsJDUIC5us5NPgzepnoYBO4Clt3UK+uqHcfghTS4LlGawBZ2eys8q6E/8i/jGmmh8MZPNrfqg9ZxivN5a7sm4ZhQM+I8NJK4nsuMsgu+dvA1sPYPxRBlyO8e4SH2JR6Q7tPsp37SAuMbkoPg2tdOoeWyNJL1ZXkcCZUEuKxvxIKZalbRTz2JhRKA+w8Bqi60hOpFnkLFWzV2pXf7kLv8e/d/dKNGW6R4pqYwOvX0v2X1Ik3yT/qHNRBwZZz8nICutXgiTtJhwt0yI8rrBP0h0Q7vhnSWrnendE6I/aQGioBMDaqUjHwEX7agexTpcSgHoavZ/yJ0YSF0QeFqLdKc2D3LUvzX3TbELTp4vpKMuj5rSxrV7WNvOWwn9cjlSuOVMp/vWJ6AeZ6Abv40k73DUVvG/RqBW2dg9hVxN7zaUjdAhd43H1IPNkZeOGXuh0YM9gGuAb3atzICQu4kObhX7evAA2AtxwRtkt3jr6wsdAxX9GxpIrS6RSHkCnA4TW25/H2SL8Ygdx3MCSrmcfTtv5sieT4/PPq7GcOYtP4F6SMmeCiyFjGZVxSMdVgxfvutkpiJcJkpkmXMsZR2SY88p2CtI0LOHsdniwNgexBtZEdNJXfeAqYA5YcTlQVO3QHF/CSUIEYrMsA4quD7b3L1s520nfZY102X1Vw4IaeMJfniTx0XiENREior8Ypq+lDWAq8BOmWpwHnhWSpMnf06O8Ioa6rUm+A9s/rG8jILDMVbiHKxneNg45jr5uF4nXLItoMMtdB8/mG/fjuBKBU+mZNouwWVZhcBHsKB7hPuwXu7Yf86ntbgPR/sGBUtP45XYuUC54DRuPy+A3ufWFKDJgAHNNCkYZ7rZzPd7FyXdaO/6C5nVPadTxk8Ar9BOw2GUhl6wH2Iugtyl1z2ps6lRmcwoepUtgFJL15TwSM2y87MIn5F7jeXxTnubYV4ePHuy0xJ561XeCzFY20+lnuxIZIRU/lx0uYvvke50M/NqRzNJJ6QkiuUhMjhECavaaUp2Wa/RdkgAFcY7zGWHkqQe/0EcqIoIob8BCD9UxUk3ELtiV3Fp0fBCH1O6G/zZ/eEIi9I+5Pxs0Y40G8fjohFtF95rUeqEjjJ1RVzfP4mi11UjEhUC/GdaF1+xOW5GPXdcwAG6RbtR7j4eFltWmEMMEOp7oVUCdGQZ/hhYgEqNaEOfPTz7Qioz0DEeJRK7gDcYM3Grx++M6H/Ja8HakxSoqQhqJFgz3xNTFBuj1gohDVaK3V7t/oLq+sFvbs7hCKT8Thzg1TP1H3xLQavV4hGub8yaUvm9fzAleJo/t0fDF3pv32MrZluw3V93yVPmeiLIYIRnWup+R+ly+VL4KHS6DRRWKBf/u2hzsjSy1O0kl1XpHU92SGOQNsbHxELYzNbeM/ahVHqH8vlPFBkZljPe35j6R3DnefJutw66hqepruhAxQgb2RTcvU0QoM4o0oGaOB1qhk6lJloQLyA567l4SiY8x7JaVpF1bVKLQqQOd3xDr9/wGdnJo8qR9Qk7CRKa8DKnTzZdnTFU8QSR7FSkVAzTwQU9VC/1ve9ItX2NOlbXChguM5j332MY4mkoNQ19+ldii/p+JSbsR6VFRiWWH6SUSlQxiApvuoMh1iDClu4pLOJAGg+zy8FUQcwEL3pYbKz5+7sALPB18vaaSsAUvexC2oIVSrCaTGQPqe1S/VBvgl/m5B64gRaTsCxcwg7gfo67+NkJ6BcAOLMeoAjRrjWVZicY1FifM4PTc8Xjdme/HIabKojaWpi9Bhkdqs2Y1upOfS8diMm3t/s8cKc0xUKqRVpvDV0po44GmjtyE6IV1FdKNvQ9eIUDeICo4CfzSma1ralWvAngaE8TkMYT3uHSznapH+bls0SBfZyTXvazBeibP/BfpLkltYrXQ3X7nF67RZtHhCoV9LKPQLzHRNzw8LX/iIsCzSHsvrHn5H8+4utkX/yOBm04DTfNMJ4sxQsbLtI1LzUPqXZQ7OJ+jl6K9Um8m8IqRcrXuCe+Eoburma1PctuStKK4hIkeRWU/DcOtjEC+fWGWQlfVVfYarbPwgDNz/IGruOdWW41i5vCsTAkmzkCxKa1aezvUCLHAQZrU4ZRMnwa6euGem4FaVixcAhNMsp5k5UBTzocDls9NHXvWaleiwByyp5Qy+qsuS6tiKc7jMswnziRsi+3UyPqL7r50rc4QLzKGfSxTipKuOqymIzN8gZtB1I+UUhgdhB81tn61ZTC3WaqvocmqbgEFk6wTixnbbmGe9ozEbdm+75AsMGuqZDCOjoSfohTs3pDi9yyc/uG72Ko3CB21BkT7I5VVh5x6iZ2QPHktJMYIjJ/YlOf2jMsrj6cbJgIP7AV0pnqNO21kwrlLXH+EEZlCyeq8H70VqWQE6u753Sy4olc5oqyt7euYN2J8xmOXSa3j3SJ1Gv+ZLYgl5i0V5ilWSRyUKSZRBFYxYlw84cSXPd3IQ4MRa6q/UOioUK/5M9BR7rPnuPD9Vl4XVOd6tPXluiVWs76VVGRs8K8iwIV68Qq4Fnm9cv3xb5t7h7TecepDHtyLijCjPC2gUQjYQLpVO9qSpaYFxsPFV0yzFG4stBnGbZQYmIzIDUo2AqUHK+ij2f8+RXWWFC8S8fx71VhJavaf//u8RxH0Vkx1ytjESxlK7IF4qd3uit1h34u7TZ0t27wg1LME8Tyu1q6vp1kX6DxNN7Vm/z2KvD6eMfrzzONX8ENivLxC5KIOvGfRmlZRFS2QZaqawg73c1E3FhxKGfb0qybtL9BXnQ7caWThhNjYi4/mAC5cwHm1yUT7V4LCylys5ktXwjUDHzbqQNBBOnGrZudcYCKAmK7lpK9jMKQgpEmekh3o30je+TjLWbzGfKdNdSc19L0PkvQtmCiJ86tmVwSB96nMzwOsXpeOmayEYbCMhDL5spz1EDnUVABMBHGVV9pLugeKZVrUQjCXIlAL066sTVQX0b9dtO7Ko+bAzOttvE+sWoPNJ/Sm7YuHDBEKPxo+wqak/Ykc+rKg0QOOYrYRcriIRnneS/VsvGKp/MiKRl395Smg6nglikVJaEbITG4pTCs2ln5OobMiPTuBcsK3/Dkkd50kMlUHiUmKOK+X2YcWlgmkJDSclZ/28wcZU/nglFJ7U6wvmOin6S68LQYJVox8C+vIzUysDppdf+GrajR8cCCehE9+y4rpVPIoE5vPlMwK8YYkO7tTZB1gAGZp+AqpvT+I22XMdBHTkqmcdg+nuAOV5L2M974couaYX5pe9r84Zivs/1uS3pi6C9tCvLoYFuTdz1izfQwJSoeZxV+9YIauu3kY6y4cVt+piQ4mPL8NW/Yn/rYwLixPIONsDsR4g8RvTYYmu9g3O6yVtxZgBKDqZuZM51ZoM+yeeoa3yZi/zKGA6gTYtHba2LPkzT1T7qWodo4q8vxYrrhUvvlzUzqwL1dQI2/XrsTEpLK+2oGXDYnSx6dQG8nfeikIBn/z4hyy/owoINJh/iQGJBuI5xFRDbuIVH8+u5LUiD4NK4OVBOkRaAUYDZ0c2VCJqNT8whbhX05GdbaoWTwCwSQiqHCXVEtzzFRkxvYUX0fnF/LnJzq907TZM11ql5B5Yrk9d5DOo0AQZBnY3uPjXTCitJq8AGkkl9hFt0rVpIAU12+k8M78ZtXt0zXiwRfGfC7YWf/mWZlKzaa3EbFavxuXurdXa4sg9mm/wFLD0w/cKtB8AXIqXeIkIa07TirrS5Ahd34dWPNgwwJCT2tUwf2TbOLrIcABxUaUFsfARwzrwsZWgskJuyD3y7P376N504RuO2o5R/qK7qC2rZ4Ux/CfCauWenxwKR1ZBPGZkpLF4vpwALoYu5ITtoZqugiZ4fpPKdPo+mNlLwduSX67IKoC/xFi2Km7Mq5Rr77j1KfY1TM4W7MGoki4pXDrpPBZmwlCCskLU3fV9eu70DKDB4+C7SsbnJ+0dUIHWZjh2dEZeBsIQEJOq1fe1k2zn98P3kyOdKFAjrYuWMoWZfd2LFHKGWnK86134ebaNotbIizXfyg4oxUkDKpOE1BJa6ZOe67K8AshKshbxCqmMmrFeqjOrKyk3P9TcCXtMgROOathKVLY2XVZBo6Iamy06Oly2V/0v50aH8+cfpa/6q75tHMN8ZT6+50PFT5fs639bzLgagt0TuzcelGDkMGkjLEutQKNh2zyLPSnZhyAFy5C6IWZ2FmQ8l0lRjHlbCWRbBAy2d4qtFpNnmypvLn09UxfNHpKj003l4JN1J+u2PDwcxLQ3dL8VMUU6goXGcJiYCSTGfL7eJ2B7rTuvoKFJiuBPwH5jHCBpZNoI2RrJEojaLUO4lktxPCEUFVor8ZWO6db//ku1712KWLq1nY6Qcx0NDTRvcZVehATF/nORpS7jiLLM7OpW2vJJAz2mQpIdlZrhBmQsKxFEzTMIOvoAyd1TobKzqCcDt5R4uHTdPs+xmpAA6ntdHUKN1fPhOwtGkT4Kq06Dj+E4254guhQhDQuLf+vLJAzUO8ZubjAvQBsDGxgYOdQel36FXhVCyflfd97XDgGl9zQUAUYHyep48L3GzVQ+MYE0/qoDpbVneKxX1qkzuzheCsywwMmvjB7B46tnZHrvaWUry+9lC9FCvG1C8dFvKU+AUSKGy4Ll9Sa4KxEevuoPzOlZfc/7NJl+yqzQkbmYxIDYtgOUV600tYcDRTtZe6875TttCSLc+06rVbPESWOGBEFCc2/mSCK4IrMZTVrc8sHy3cHAg4hyll4i3p2/hQKyvwfbXPxPDgQZllQ8EtBXWSmogXJs11HHUGCOyN6AT59d1iYDd99lxJ4fT7ZCjDXzOwr+cAupVKI2q1J2BIiK0Fi1MdDukew46QcMXO4z9lX9TNGFXfbu/yqKmnz42cl2nA1jtOSP9swPCueAyp0V5KaSpa9lPMq/ghhouNfce9FMqUbuK1lSRkyTtgGphTK4AuXW8jsd8yZTiYnRgv3VkcBRSq0b0CzvTPgoIGfE7nTB/1fuPObxaSCJERx8UGH/GhmNnisV9LWYduPe2cAomUmb4MJNJwj9uA+xFK1HuVDSQCieuSBA16T0ktx4AyeO85/2bAmdj4cz1KSsf2D+O92e3uIPZ+I4upG2JB4KSH73KuHKnUa0RkD1euO9AeztqKvi/Su4owo3JTxCU3DFl9AVxPTb1mJrED+4UkeoU0+xjCXsZ0+JOFsm+S5otYTjOS/U0b+9pb4dzF4632FlDi04vvRXknMhM8jno1+oAckp5rc6XEjBt22nbs6/NdQIeWCwSmd9DcwCZDBRHFDfgmkEUTTY16YmsOOLqqnn38mGk546o4zLvQi/ldxphF6g8yCiozlZLM2qKafjmx5JLmu6g9cX+8VimKUjzO9ao6RtGMDzuuQCdzzsTnweJwKSt3caAu8iBDDT8rONZZQpDDrm2i+okqlIIJ69GQwCu0kq5xtuC7GVx6n/rAlmuZ7G9U36ZNhPbY46xyo4mQukwhdlM/HBSpyxCa2P77VXWx2m0E3VFWykho4pX0FIsQblR2j5snpm0y9OgQV2iOA+SEB1MDhBGOCRCDioB4PqhDqRfIHVAottcGU51xEj3aVhRXCuLEpP07Rn4YdXbiabLBYYt4+gZaTUMi+tvrOtk9KaOW5A9G+eF3NgXVT6AgTiXrxCvvMMKtFTNVXmpnV5rO38I0qmixhN6MvCO4GVHxIn4Wva1Hk91+C0DH5dPkwetdMpFWWnn8meZEK367dToTx//pVcmqxvPYiWkrEi44eU6fidIb31f6jrD7/oZmFFbZppbpO60HjSUhbLoD/PVGrvfjOYu4eIJ2tTiwfXiE0BTclyiCVWmqSNOB1Tn5FJsGG2mmiHAcCiRrsAVP2IyX/YpDTca6KcCgPAZgdtFCT0zq7pUFuxNw7HMBs6Du6TdhQV17GiJDKHpgH1thT2ERWthS4QrpLHXeHOsAeUCIO3G9yICFGaMcmoYs3nJ7P+zod8IUKUWBKXRIQoC79LykB+0t+3SbvjD3olbyNBi5MjUxhBmIWeNgh88/GDZDq7rUMaN52TleXPz5w1evHUFYQnnqCtijQQGuey0BRrV6vQB/trgmR1FkCT+v1Wz/hwtudvV4htP/1IfiDBpWeZfs5tRfQCz7yWP1tglqg90Lb3fSj/b5RKRoaNKpcMl63wTufRA/uARmmaicjY2WnLGbRDT5SplbVkGKNsQM30rputva+mlTobQT2sZObRU9j2ps0w7HoM96n1bE5hv5KSq4piS9mPMIwbqPGwiwPsampGxLQj9OUEvyXW9hpU5ozlsz5Q/ncPIPEmpm3/wQsrKxcvCmX10tMBBWJK4dLu3jZ6YYE25NnEHUbsxWgckGGCiLw+Tn0T4gv+VTCpfACXdEyGnOLZHA1Oxbxt70xC2IIjRomSMn3/FMSESxT7BvoT2+4OuGPhZ19TdmnVDUEZlprI8APyk+kEVbDN95NhnMFb2voXY67drDVOkrbm4dkAbeZ6cbWII1RcpFQDhpM0Npk2nJDkwgiDsX62wtB+VlgqBBzCxlmCyeYxlHT4iInt51zz5wUzUejNXrabMQj+jebPBY8y1GeN4l293epYxfw61fzd9Cd8vd0GR8axbObtGInrc4pfSwqBiI/cYsMOSZ7ADr5Bf0qU4ot/NaQaS1FDrhMHwh+I5Nyq0rliLzAVq/enqqfSkP7NiEQ5HvadySW9lKm+kPXQMbbBAJ0Q3SWXmp7U3repjM0RZapswZThl6z1o0zOCxWtzkIIyH55tgFeFWJfAb3Zg2SiiH14WmavLUX7CEg/6ocnEHqPJfCEF715L/hr+m963NcRzm3e/bzuHANsl1ctXOKwAViuOtFe44dUQKc8h0H62BvjsRWL+czf2c/eReBKpr1jEUxFaqDGM8YAPYNS+b9RC60NBToxjOf1ENStr0nioXpDfnxdZI0lCPbfkSSwnJ8x4iVvTN0G8WrI3UjCZbOpFFcTjI/MUx5vSAbGsxfOrDKSYEumuJbPHENCSm+s/+IHtRp2sbjljYX3oUohmWa3PjsuIHtV2aRHw1u5XmCLEMjomJQKI+D+pBM8ZrX58zIGyYjkxsOLixVUsWSENdNjazekq0kf5lEJulFiDCTBINx4+nettTk1fbZAEVj000vA13hqnezrSWmZxg86TR++UX+vX1HAmI2PqIgMYZSkqTK2rCMpgdW23++oMfHbv+z2MlquwnBm2uyMycDhR0WJ5cZQiTVbuCufvcqNl7NODJ1mQQtmxKvQQ71lQgBMxtBMymim0lJ2A4/FvYb3aNhtUNH00gGfWz33oUMWUhWtJvaOlxVODCh54kBRrTAcXa/sYSpwD/dzHDOdv0KZ+HvQclUnm3Ftc6+5t0v401h9SV4xF2DG1bn8lG/YTBz9YEzDu5s8Rew33RRbKmihFFi7i4TpCmyADVYPazx7X6R01bHiSAUH+iRSxTQ4EF4av6f1En9V7S1pBHB6IABd7BolnbBUPVDHlNqMJ67E6zvefrTiLLfppTVXmI0l2h2/2Qb1XX2PDElaEH8jMw0ki+Se1VIhuTYan0QVA7qSP3gVqUWWBFAwiVt8QJPHrCESGJMd4YKK8GTEDvOybPgpolOvpkvFpdafv++HHSHdGf4QwDJK3uCXKYaT2qNCq67eoIByjRX5UnescR52SSq4V2Yx1zStlh5G1kVUWU1LYGIJivc5NETs4tfN8BzndCdhzuFBTpitFrlqEbXHSrx8w17QehRTCTSIIyI1YyB25hxvN57NF95w6WZb+Q1r5HdoeWIInHroNFIpliM4ihZ9C4VMnisOMLBIVq2kKGWbMZU8ilrBFMxB8WEepKfBKF7+nlCAOooe79ObQ+2a3nlprCzdBtN6gjjGypMBAg6U3UsN3MjTScHbqYkHW8cgBXXLZILdmunONoycpQYPHehx4ba7j7f5GVVw63lhcc43+W4ZFDhsuoCYAr9zt1AQqqFY5CWZFY2wvTD7bMkPLucGQsmd/edw/mMyPoKQTvjxQu4IQbYTmv4jqTESiFMnlzWF1NEsx+gpMX85z6O6accVu0qFIHFO/pktnFqc1LCc+/FpUDnnQxNgW0XT3/nOZ+8IJdvCAUz+D1uWtV/8/AlXNwg+ddRav7xO37d06aQkpuc3Dq4NEAnA2PpyOm42BxL/oZkArpNOSxCWzKi03hR4emWk3MXKvxpSJs2sXhg1nRXN1+9L2f4qW3bekP7OH2qFheok81HV695f7LLdXNxIXmnRo0oQzsghhhDyQRDEmYnWeg/GfbaD50XYlSBrXKrOvZo+8rk6rkP18M0YJFx4tdbyjuROsdkK2BcIZzQ2qRsb34FX+J6MQ5oF28/O7QhqZxHb9e8yNF1o+U3PB+MT8rp+13p7EeM8CGHyXwrcIy8qVV7QQWa/IUR/BB6+zurZRG0Mm9IQ3kdly7CE/NvF4ydD7u9I+LqNlqniTJ+CDPXnj3UE3XkdkfvGGU1orFd02AeacaIrPeqqbvh3+IO/KuLeGIbCtKCyBdzFaAfFD3gmJWPd72lmR/yRPid9AQmCmBYs98N03p019/cztRIBbAEC7hb7gcIBfKTMfI7vEHi3FLxC0XftcvnzQqG//7Z2LXuYRxDk7qDzflsLQhWFE5SYqYafwA4s1CZV0PB3h28Q99tKmZDpYdct4HDvfsy68+IJ5wrISKK9KNWdl3NrboAmhaaBsaqF1IPvzCROUIU9gHsE7J6gNqilYEDWY6M5u1JMtMenuY1w00C5fSMH6LJjUeVrQDAXMBTI1NufuH2E58+1D7I6GMztjofs6agFw9g6eraZcnM4mvCXQQGfMjYjAqUcOOmrQLiGtlAwLwIITve7KKpLr22Vi6CjoPPu81hg4sODjIx9z6vK5nyWyZJasoJQI7jpn5VgB3Qgn53yfSPTTIvp5vQdDUnLAi2FlGVmB6JGXyXTdjdBwe6ESmj9B9+1kfSbF7+7y9kJ5tRjI3PTKalDq/iVwuJmxBzkGRfBORGJxZGPsxzSKdmWHAsOz5kHZ7D7xaD2B7tAz5PQ/MDyjgoNqeZ+waUOnCf9kGswbv/dB8PsiLN4UecK7Y8qFL971xsxc4R9UAHJsqLd2VYhRlaXoGJoPgGjSTD3Fhqb0Rn1qiHETTPRpEM3oBtfOJpt+61oPYymTCagdNHV6eWkpX8KJIbKDrcx/MVm+Nv9Prjr71Uht7QQSw/8ALYSVVwHXrywhYKUM1EyaP49uWReQiwUxQHoyzh/kmLospmF4tBKAkXGFj1lGcOqiLZmskGnvsnPohaWPyVpBqSB2AROsl3wDtWNoSl3Scb/QHAMLlB1ysPE+NRPDQgt3WiH1cgXG2kH87/FREkaKbEZhN9gLU0fh73ewWNXApgFMjUFj/e9uQjZq3f7HPsM53lfrrlb8G8oYLdLxO78/bP41JYx7K5B6ahCrra0YVeAyIk30wIAvOo0zIaNTbOONJwyM1qcblfln3i8dIIZryKlK46i+Fr4f1uVfUQMPt1RJfBVWClHZErnX9qV66AuHei5xRIMH7MDt7xB/bN9elVxflU3u2sxtg5O9jGlUdubkFbN0X4Uk7Id4qyoDDioD9YBXntct3KqH9HEvK2t21ppdCCHCtDJ0rjnmXrDa23zd/6Phxcg66D+Tw3548adfHfPTMXCB3pibA78KjTkAqv14IXepvEh8hue+P2zLdOzSZzfKRH8ABo4kWcXuZ1jhR5vbea2ijloMb0753A3UiDqkfE6v5yr7ZzzEL9XcC6NoIBX70SIGZy+9hblBQM5rs2zLz9NvnSuIfLL6VSf3qcmbXEKDcmz9/ZL+gJaIIcsCquryNzMuayZL8sX4SP93hEbwb7iuU/gG5GUE3mofaC+Ql1uTvoEhLRkEIsCBcn7JkFLEu0HmFtt3+S0pDu2hB24CHDnmkcTjEjtZDAEOuiQr+FZ65TeONwpC7LI5TultAFwaN79mJ908g+arsRgZeJEyazBPtWOS3LYwlZHerbruyAkIsoM9HppjBmb4A4zqccUVC+DbGi4eY0kR/9KqN9iAu9tNlpuU65A/2qCqjgT1PWS9EMiUZQgZSBHxxBS7it+j+WGznL76KgxF92I73StCXxvPFhT9VTVQWd47WlgE5Yiak7+sqOA5xSSt5i7VHTU8DB1KMoqqfCABkd/ML5Y9OojhvL2tyTLz8KcP26PQDblxzMEe1px/mUJ8x86jq0QLk2ug+m2S6OgUM40qQ0pzF+x4lzKj1L+ydsZrSxCLc+Qr9sNn9tMEMz0atCGMZBY/sMyIsg9h9Rt3qbG3qeWr4vQe0CKhcV/oQMiEV4sDkbhCLt0x+jGhuWM5hjoJN4ghnqu/sPHHgiV2VMavjGEwMBSTIGPTugzjy/galBGeDIBVMlJZeGqDEu1EwdCRlQf8xXcsGSB2Ge6NTuCFqAb3nG1mq5SqJu6wFf08TFx8GQXPcCbmvc9zAvfSE+uuWN8hk0uD4ImyjU+I/8TgrVvqQKm4V6fiYwkWNxyab4aW1aJ4vw/S+mMprGwyyCMwRcpHznqXrYKIff33AJ1GHOjWa6XvX3LFXxbzTHys77RgbZsBSd4GqX5PXBiUsYxXf0LnP4HZvC6HGx/IkNs2I42ObIRgeGbTg9HKpsg2JebzPmBdWx5R7m55HjhqjqD6CgiOKfNL7KfafuDetDGJx2aLKxwl4F8XNkaccH7ZbsTYlvzEmHNSa1dUB1CgyoGa+vHvU1d3u3mYCyjRdGRK15d+lPbW8EeHljgzDCr2cfw3BtSdbM32UzMw1M840C15rpG7B6YgvZpWvC1y1baWXIqD2q5bKmjPk6Lk5Ds+2MNwXua+V0pz9ZBc9sJJPOJAYW0A6hoBBysX2tcV9PUydmmt1NHGGAUYEqSxdY5Ez2Ou1DxEgZz6w8effqWhrx2Kljjvbb+XQsNFuTKhxPUpVl8p2MjdJyA22LJyrvj2GM8qzP3NmUkVCLoKr5dJji9V1WLHMrjAKCVmJ1v+9rmAQ2WJF54I1Ww1Jb3hiB+F5ArA4FT7+p/nfmfTAbqoXpdlQaiYggxlaYePs7oj87Ght6CahBQI4WrstAXuKZ1I+08Sbl9ykeHnPF9pa3oAUySaLtGulih0JG4tc9PnjcUawwvk8X9jVuHoWGE8fJDdJGcUaC4DnfMAItPAsWN6svhVWuQIhNpddkQubr+ks0oLNDsbgeG65dPlGvtdxDQJSyCaa/Q0fM5huVOixHDgocNQEP7G1nBwcdEGjpFBC69Fh7G/GDVYcu6xoQRVOp11keImcHE4HXQiNWL+yu/l+aXNpHxujto5LhbKDl/JYqBeH+1srCTSQ8XTbYNKCBpTZ2TowYO9LxNurkSNIdpAPeRvinwq0POYkhcAWXdY8hS2KawT7GSp7m0IwbKmk9Pzp/2mv9N0o5jXHfaiCEpIdfX63fjUUSn5YNf9wrAApmQAkCu73rHSjX4JQrPb6BCa1tqNS6xZZREeoyNBt/qT6l6eI4UgWHRy3vicndGJ17J6tSYSRQ/dt1V4BUnaOQZ7gZREhBnpFqhcgWbPB6i3oRQq/RZAzOrNO00KpUDpkA/PcDLlVpJmSp1oYnkZtyquP2o+KZEzerZpvu67YIUW3rXznu7Xg68be9WGVsLPg1j6JE4vLTXiwto1iLnJxFy9AcGy1caAsSkxb2iyNPdU1UjQhJcTMJFwO2B5h5FdBpI2dYeALal30puYGi93ihIBUIrqhmsX2k8qXkiGwGlB1Chr7uM0why30sSI3NrsVK5TJtdN8EmNfPKf4hGhBqRXcuNaVnRofyJoX6vq/o54BCq8RT1t/Y7l8NglaQC1Xd5rhwZzQal/7Jnw/nY0dZt5hl9G1b+GTf5DthMK+TyhJpBYe+CJBqHmpffaH7omZcSRpDxe2v507B1OGdVOHCTtrOa2nkqV3dTbajcu+STBpJWnmaCiRB1TqdXtk1hZGuvlRpROTm5PhImQba+vtlubo63S9Qsuv4c/H1EY7Xek8JKX3EYvPvM00V0/VRupUbPj4F0/FAPM6mOjbRX32Iv5Hf+oKF5H/j6kEjkbhDvQEjamXsl0a/sZ6hsjC/X1YmvwZ2rapAJ9G5mOdECqrssoaswIDr8fMx029XVboMgSSFEYkHIQLx+ceHPWWNoltJjhRe3xqKOX1lr83AGpFrbLCugfz/BDFNfpzCKVgmLRgzdCFxchuGlyHgBr5EPjdaypItrZ6k0IfS3NbHgcBjTPgcD1yjvPprHwVEAfAlyJoV+sqPr3vPCHBltM6OTfRYo+wCEYghtlUNf6/WdKssTMW6IyNfwu/AeCu3jF0L7vOiv8JHhMxN1Ach+TrB//l2XHVnSQR5nJ0mGgej01ovkVva920Mdg07NMiUxxm59ieT0jy+ZEWtJr89P2zMWq4QSngeB8efdw/BxqFcLLDIPChE/7u+0c/0nip84VkV6Y7NK2pDDhXLj2l3yk92ktieVTgUNfvtUwzTGQLh5loPTGEkoxAoySAghIJNRyHiAaxiCgTPVHJig0KdqcpALpY3Ocxylky6u3m2mRJte4BcojDSQedV+5iRvOqJmLyB6cwASwkZxsP0okIB+GF2uI3bthot/b4QPHOv0xKjJO85ZsVMLCB0NxTMuxcDrZuDA0EmcSn7D/m533tqAmmxdCjzb8+cqVOUliNDlCNEJfEIt5qsWA79eZVCvdivxLInNX3Hu3JklxrtxsTEmYJUKXw4pH2nXxFRODrfOR1HQ5PszVr7UPRdV6xL1w66QpLZpIw2a+lUdRdQK8jwep7tPCk0rPj/VPeb25Nl6lJVkXCJiiawjE2hlKC6K27WBwVVD322ZNrofXuhJMShM38FVFoz4clTAoCrDtzC75qcR+GSSQQ+mm7PNbejzKKm2kxxoitZ8OF1RynZiNwoPELsOfasePFJCwn0wWrrS0wyJWsNYNLBGpVbE4AFL0ZmG6/zwN224wQsuP8CmCRHLQiPH6SDWBM8onJq4u613q3Q6Pjtyj27CMwSfQWOoPWbmZ3equ29pFVctjGFdCb3FzjRq/JM2U6T5FWHNOYGzyd7bVaqWRcEdukniEbnE9zwC/2lPRf5TV2WyITT3ToZ3Ye5/aPoGIFe6V+ZKAMmXkNar8QKelYUBlS2V3ARxfwyxeeFfYbhGICH2JgbuaWBZ+/Tr0IVyob74o/jHw8FmUKkgiMaMgWalrH3QgBNlhu6+d6Y3yR3KVSmG4p6GrCCyXUBy5107UI0EWreDttwS9L3g4rP3kON/woTBSY/7dB5npIH1DzCgG4WkbdKLCMB6zRzHreNaM8mppJk66POUNqsrVVCO1XfIXp4B/86TzMwyN/CusnUrNudCvc4chnXUoQPESxRZao79UYWU0kcYnbCQ1FN2Ph5SDl0rhPq8LXZaOyNJSR5erdERtVTeuf+eojkypMPvIcaPw8tkwLHOHghChmLy9dQenMoV+7G4wt/0RxRJMtSBkLMuUiujZHXfDz9nl0vT+j+BR8AmIXT8z1Ng9veSZe87wgSxPLgtEc25jhD7sVmNtew4dYtjgU+JUuoi+UWu2Z6VNc/PHsxJYPUWh9yaUnEDh5tSN3/PokHdcR9EAPgOxl1odRTAtgMiD86J9hjbf2m7WVntRtJsgaGnqzAaBmqzrqtIetWW8W8ncYSzZwRT1W9KLqciDOZ0loxGzyoyJ9rznRmVNvXCjE8OkSVr7DHGtq56ZMrgZ3i7IslbQJ9PT+Y+kmuPoCXD9lKbWjWynDK0IQA6z6R8ES9MQAIPxdhA37ggcwrESlNsRp/3bHZJbEcm+M5X6bhMl4PmY+VZlzgVTVX4wdy/1epkS0Jld38LHZ5gxvBKzVSSNqzLHb8bdDazMloBC3Jbk4yC7tTjQ+zVEDL5gn2fgNY2xtN6f/kRR7LsHL6TAUIrSAQEf4tyLdbfiJq2p54k651KrAAjpbInDJxoleKHryDSKUaMleQDKPsAT7vpqlCD29P9R8GbhX2xKb1fH3CisrJm3MrznSVwTGargz3iB25PIncDdkTc2S0gkRmBRpfmhyHA9L7y3rohO8oez5EJ5l70wnQ6EC+3bNgr8ISuN82HLvsk06mZo5Eku1sun+2W4E1O6Ra2NZqFvAlxfN4JLCg7cACRYGn4HbPop8pgVzas1rbUu7lYpucjfwemoLvZIB4wUW5Rl6h0cZEuXa2TL5ZpF7yOW5rIEwjibaAuhM13ScLVNOSR32nI4DKb0turyBFisWKDLt4/h6Zpa+DAia84I2rDD3aTqDvXMx8sMTqslY4xDCfCJpDUF+/YbjqFK8yt1cDpy9lipw+jSclYvx62m9TCf3W2UuFtE0Hxxt0SkYwbblh25+C+DMOw4FE4+YiqYHKEdGYnHntzs2VYrzZvLHTlMT5xx84NsfIzyxwVQEaLSqUzcrGDmHRdo/0AMQKpo1vF4XC+xEeWmmnA5eALEnmySZYA7wWDZf357xJNK5FAIXpO5ZRewQkmjlMIb6bUpCdr9HZyPwRYO5OuucaPyMzcWqfThOoK1j2jzbwUsxJfq9GszgBNS5R46iSY0Xp2/vukBFrNOq6wYM9dcr4gYC4t5VTVMAw8272HKnYqOT/DcFO3za2AxU1eHxCD8eiVAvEhFrKx/IS+r/2la9vtnN202gfZPnuMmyiCzyLccxqgfLnfRqEmN27L0Lm3syW6Dcg8jvlziBHO6+4eeD+dTosmp4Ahut/ITHm0XNicoV3VoHPcNw//SPfVQbUgnKaDgUIGn6qknkawhNwX/RfvYcIYbD9WHKXQd4tm42SgtcJPrUTnhSjcF0BuVz1XAMBVuFri5BMKvV+nCc20cpxWiU2CXY6+YCdMKDfvNDMPnI90fcw26aIn4yqYzdbfW4fU/o9Dr+qrzEKHYtuXhrA32aVqOll7O4gmQ+/Nx+4Q/XLKIxU0AxGtxPu5dZ1X2j4zqxCpJOBxbtlDWYl+9uiG9qXLj+30u9V9/4wnsAZxju2asHQw+O7DnXDGhUq/oV00YpNKTH+upV/S03MiLBvQ5YlWmUuZYm6EW66oUTPXT0c+cD2bRteKyOftOR9OXgs9hWZsw5KEd7javU12zRqTdaMIL+UWXsD2t19TebWWWTryfIT1Q5bfKndkD/kGU/TlRRrqsH3XiSUorA+nH6RH0RXcauWLrdjSWk6xPz/d9Y5Fkw+9yXQRtv0y2CToVy6Xj4SWSslaxcZuzdnmSaOKQisW3TDVJlwbvffmIm4bTvr0k5H5NP5Zj0B+CyVoTe/t7q040ytBknEFvh51fIG7ZQf8BaKu7WLxTBZR+OjwWEX3V6IlN9Ac2cxqdQrQImV7CjD7Q7HzYtsdi4Mx0DLb6clgjXkxUQehIad92TVLTLmH99yWz5XuL43MRK35TBw6Rpst5phaiTQ/ztwPj6DKMqhKZRCOkvERWK9WT0IV7fzPakFf/03B8rs/4ilSPR00Q4d4RRxqFobNhldm0Io9VFNaXR7UBphCpzwd3yR/dzt2zf7N4kbPvWrLhpDuGVoJGYEpA4aB0lrRFT5Y0FejKYjkjrZLSwKGt2fluvbjMUDPwm/IVfLGB4DxPQgSBnm0fzNCTkmpdNQVnBRuZP3gjMHk8M0MRO+2cQ1tXpVzgbY7i4Ar+9Cg2GcEV00MMsrpTKkvuoZLJHaR2tbedvKQs5K4r87gfQoefjR0P+I5fbzeJEbY5BqthDz8Ogbjfhc3HaOVwAmTxmjiCwtCzkFQL4a2LVvGglm42nbANuQjXXsstRYh0jdXL6NP0KsTAOV0+iFK0WNGK6pL56f7vtlHxua5HPgCawNZbetSPj0Nj0cFgU6gc3QHhRV9R5Fuz3wJH8u6sYQKQwhVm2j8nKp2khecbbCsLXEMOcwWgNb0S2rPeHIZ9rUBjxNCEPiwJskxR3HKZXblHXjwhmciYs5j1HRNFXnCj1EVx6p5qdBFZr3nFXMb5cwwubDNW5S4Itamg0Jx7zl5EyRMZaEh1+XzTRRerQscZ6nqb9Oktnvv7z3ytBMOpVv3RqAnWEbXMy/OkKgeRD6jinNeMCopsRLmFnWS67/e1CXlK7uHTnOWtR04QXPEXt1Kgf4sYz3IGXMkQy6yQTZWcXAASskwYqHRJ1vaGXMjYTqQXCgSKxs5DznWXWoZBQ/On2H5Nk14kB0QTiOAfXczVllQenjQ75V3lm7Ug7w6j9J4/LcLc5/gBcvcwOdrl4Imq7S4l7OnUltc6HaRwSk3ZZbh9D9dpYmwzET0La2JT2LZSzxsNtcH0MoQ02z0xk8pwMgn4ZpYB91BCx1Ty8/qhsrZxbQ/9iGEiQ96loKLiZJILaEtL+idWgYuaqXbfW2gogwYD2+L8ILXsZsAD0iln14G7b7pz8Hkbp4Bo/PCbfcfEF4q7N15TU6nf/bAq0Aw9+v+bqKLcZNQ29gRog5z/QPSF5VjxI0yyY2zy3UTIgYYjRHaGX/oyn//hnrawf4Cud4eWbf9Io8Ad8EjFmNAmNV3LnjxGOjpZRd0bqHdKwU9ye0clTkIFxPugcuGgeUWOBt+6Q/bTYzXZvJZWpUPRz/4LAD2HbNzyxXw+ociT3azXrXXl9dqmx2whDCeAXKvlx7xQRCg558lDByBqcHTTNwvSG/zFnLCP/l4Q02lcAbDvAJ7XFpgemdwWEgP2hgYCxVYOJTMNvQ6d2kga10oZPhV67gQaF9EbA1JnZnG3iLR+dXD1Ntsi5Sf2X3cawJ+QVnwp7S8Sc13qEd6dKdM3jHWo44+5Rp3LV0eh+CZQEGGTzRR+f8r1CBcWM4PhsqSJLjEnJUVsMbuLLzsifQS0Bn4B6wtO0MB8O88O7M13VXVDmApRUnEYzYnNC2VA/6gvIojELHmHEG+DFeJsXKrVUhJb8yl4eOZmoxZWmPBQRQaYKqAv788uuBeO3nT/VqPNTMcFX/6w8t7G6mfC4fdi9RTSO1ftPuteISSXh0ZJ+fXXBLgLZlQ92nHu6Zi1k1QmttvR0FU2Mh1iA4IVBLq8Is9Z2DSDTABOIa1XiHHpbZK+vXgDs4rwtbggxOP+OE/KDsgwRrVeqzX2EBcJPDbo9QkWWd03C6KkqvCMzwwA6xNuMweShpRsvUpVgMJtJtZ/G8MdfSAvrxJ7cd2Cq+EWf8MQkvumI8gPAOPI02JvDGqbrY62X/Q4rjlJxj+kWdOlfexvdr6nQhwNRP4S19hFieyiXKYEL19K3DDXf56ldTrYNEBWZQF2H6Skaw/AyjHulW1REE1ym6FWrXDnwGt/52DCFu8RAjZ+77O9hgFpe85q2LEmfmA1fOo6dv1ihlPylmrza+okt07pJqts9blmjMhOQnu2/DhzhVqT4B1pFJla9QCBEmOcK+o/MlIAguBAV1WJEXpV1Dnw4YOthww5cbbC9qOoKfZgSp9FfGeLU6jkOiEG4ue8n/9RX7rdUqE5VSO6r4EexpDwUITwB08pLXAQH1/XbzqQ9z67gn4t1ERFuLOAJp0zs8N2yTHfa5E0AbeHrUaRFIiRTvi+v4zjOiLf9xQqMmV7j6N8AaafQ7vbt0t1pW7MCyzbC5Qwz61Cfc1JGeJ0qridNuvBy/BgY/76XVp6SUNH3CVOp/DAoZvPqVAz6geAoge4oSNpWHTz+9b0oqDouPKr3EQugzK5vqqtBv9ywvbciRB1OvGgfm6uO6b0XHoYRyQsTbD/jMBYlaUwPM/nS8E0e5s5q1Us42IL3JJckyMK6Rw/VfFsKgUWH1D42D+8WhWqeL8AtOwBXzoYmoZm6yMICELbKnSCnFNPxFo85o7+YS5cJK+Kcx9t8W/buoufmQEr2XUkfMAry6Wup8BCh6LPoF4Ii8AK7Up8Bfb8aoz9C2CUbaW9n6MQSCajN9aHo3DoPoA+c1POvBJt4vSI52tZfGMZT+0G/KcY7Coohkn/8HcT2R9y8dBiZzznEHiUAZ/cV6YSJtderEw4+RWEwJ4tNpzXa/xUcs8LojcT2eM5LfS9tAPKqfg6mMUk87DVapZC+TG27/CEnFeYNovxfxerpTozQtZmUR/E/roBFWhY8GQJgErBdmVJBJJ3P9rPH50MOwrmhw+GEC+kGoY0UWjmWevNnCAvugOwFJz8TyZ1WWn+mTq5PIg2U8IovFvKtfWuidDeOanTYXzwsCpDUVpiMn00NuxFWL04k8VcrwP3GgfoxjsjR4KIMJrL+HD35Ao1AE+S+1aFXbUlEHvoXmG6HfnlBcABVbuJa5qC+yfvC34f8Ib0DqcNJCX2IWvKvypvmraLG40gj6CL0YHwVB2BEiP9bTcWADn6r+PXUTMm4knO8hPFEVqbHJlPRyMtm3/EfQufqiApM0hamnhWb8L+Zipe81TUFgh74ga75/KAlJzhBiithd1rTp6aP8a85IHoI+V8uPKhpEPw3Ey42tTMIxEsvl2eCPDZOGvtOqwL3vPqChsBFVQsZtn0IIKFpuc/JskDrmzcBND9Zr4kK4PEvqvg4BxPTPeMI2Oo7TMOzLISHi2xJ1M/fB4JDfjwJbSSTLDVEu7htEEP/KjYqAFv7+eD7dWl545+nkUSykeRJDI1qfsgavHRZ2AWbME33fMatW+p+Y0epW9jYRYEBAI0lvFGNY7e2orHFACtKEpN1ux5cgppDOoDXxhlIVkp2Dr21OG3qjkRe4hhUQblwVSymwlZo/wBYP1JzX8hnnWr7HL4u5eraJzszMs7QaI8nbPJ9s0VmAVgcfJXdiKAHsEIIlg2RSu9+9mbpPtDfna1CCdWh7olqsfFBXsTBIAAawLOr6Bv4Pqt15Bn9O0IG7Viy9qAfDYctsqqW5vndmJktIaQIgUibLewiWVdcCO1nxg7caThCA7HSKaX/TVM2VpfLuicg4E31BweeybyNo3ziH/5XtMBMcpBCZfOJZWv7jxko9R2i/tkloD6ING+RR8OciSFolwpEaldYW1t7idN4FCX3iZIwoEa1njbG1WxrmGomcTeh36eNbKioNFr0SRG6Y2/TgRfsHeMwuo86q03ymLcJ2aSMZKeaAyMgEWVzRCSiuk4kS3Yb+AZJuQOWkO73LLLlImzcNr9QW/S5wp4Cqw/5JpO/PsI2fVfpEud0VCjtOkVPGlYNbaWGEfBtxSb1fI8ZL8IpbprKzthIdHTcKbENrKWTXpSh80Q09JaZ/J+rn1UHkHEVtuRdy/mCr/7MWB7GNBt+tM21AuixY3d1AHMlYOrHZ1/o8puCJenMPYsvAZz2oTFW0PwmedWXPLY95XiVusPFG1HMyPuyPUv8L6f9CvycSeuFVeI3iw4KuB/P65Xb+Rglt6woRbsVNcp8GPglfN3FVRzJzePP0NaWx3MCIelOVi3URfJd+z4oWD1U8cgAnltnsCn55O0CrkI9dSTfF1BsnDymml3Rd0Kk17HAr9czrxsI1C3w9+SnIZXRzJ65R70RCfZM2st0RXfQWBdQnzc9CvKSXZUwDnzFkCxA3Bs3oJsd6bnv03wFsYXnBJyDSyZFqKItuwas0iJsgTjjUl9EB2EaJDoOp8Awr5GnH6tlxSgbu1hAm8uAHY/XUddi2KkO/UmGQ+KW926tMXTWuux9HkRBPi3t5d15ISSiUMs00YCS0fi2niYzz7TfGH8mazAa9BkBP6z9TBsPV0Gc28Pq2OInHs1a+QgEqpUiQ/32k8xhpOaFY4Bu6YyuP2JJqpzWrJAAzTPhrPp9kyHlmwIZzEJHxitu1imGMx7oRGc9OIS55DPTDWLX/MAvi9MDRHMHj1tzcsPBalp2bgVR3E7yyT/duHPacNNxv3Ox11tH0zWE6zDQDAOxDTnEe9mDLUqMfuOftlAwnVBe8WcSz4gBcGzfa9tXQBQxyCZ31QcRmkVmH6yfQYTsEif61CQROtSAQ7mJ5pHqwV705w9qKg8u2kD2NUV3YC9if5B9XiSHPLIsnu/CeLww3AK5wfyZFqeKVLrqycGxcAngUQIbRD4XsyIng4YU04Xeawd9Ln7rTCRCrgzcHQwx+8raKhDVFCuUVdYGdvEtZcUKTpwmick4BMwPDAzXtCESVR1ZVC5GAPp2aCfyoKiXoHb6FYoEgkBYExFMn8DZpLzf5ANtS/cYnKzurDZbSP2ihVnvN3JR49YCnXGaCByWxOxNVPOgdfMwPdr8bGQ2OPjQmElWTQxVuKY+lxiWqLKzvby11M0C9OOv1PRaExYuMYLn/B+Jt8zKbBbAkliEP5p+MtExSPGbyiYilSxZRCMCdWGHJzlTONtDB/or2Qn0fEHKNJVyOdFeAGMgBEM1p9sTArJI87N7YlWNJTA6UyleawDMtwzYF13e2USRIHwHiesCCL0q5k2Z7pqb6PkcYGuxX+1JJlLQDcZ4aWlQZRDFAABA9ne1xA7Qq8RyM8XdKaw6iWllt/NqpXK7ApbT6PdueEgGyTIWWGAlsjSEOFVjcIWgGe7qIDH1oWyOkVDQlMVtnErJ70I8jaNc5TvfX/+HCZKb0f4yY+JNBZigGYPg7eFL9/64M5MBOJclLPVGsg5C+PKHrKPOT1bzNHfzfHLrgZOK90ngHYkENpO3L1/yttD/4Sv95ezRayUJri3sVsvqVFI4qpfZWnoyBJqjRb1VeonN8QDRJ9avrTH82MerwWmHosZ4Wwftk6tKdxlC4/jKK/zm3z4UpmtYXr7KaSeQkl83/Ama6IgjdJNS4fX5W22b/ifiuwZbqb8PfMEgFw40nKxHOLZs1MeyMB406huzs7C4MNuIpiv4BSUnyZulwxPQ87m6LwE/cD2vdPUemCWQ61EAOJI/tP37QQmO1xwOmf6xYsRfSScdDyMP6vW6Uj4npC6++EIYRLEwOq5gDDut7d4dkuLJ5juM6cP1rmRaEHIwBKl05dxWkJRD737rAE3PUeh/0t0LAJN9JhPFT3BFEN7nN6L2wCdDLAmdBFQErCzn+BxCY+sZU6Ydt12ctHyt2TnCDAOE/Jpul5ZBuv4xqjkRBwmWxgsnA+V0AkZVvNY25dvL24ll/mmiLT5SlHZ1eFHoYteluwAAg5D0qB3pvVkH/ivGyL8T0QyiQUIfP2ifP0IahTC/w9jvjPU5GMu0Cgasf+0aB42CUKZwiqkt8H9JoaI+OjR1rI4eldI0j4b2GlYX+EQiqK9WKBUaKedAmX3tuIQ1NjEmnwEb/t9ut9cakC3g3YaOOmjEAov/VJhFE4MGoiNNb40JvmbKcjSCk0jbPIkIO5t8DLvOyl6HJyLqkRD/L7iQfD13YsAYLvDwVXo8uB6MRbQhV3pOl1SrrQMcAMWj0FV9RNJoRwkae2EHAEFK28g0yHw68vMp2bH6RyVbskUnE6syBWbhWGq+jXiexIH5oc4cZGdJq6iFCzki5rEIEc09dIt3+X7SH2HKkTAFS+TtGJnmF60BI55arRuhii9E/lObLUm0pGhaCRfBZ5qMuDgFYNKZcWxZWrdfMgoDEHzInZqEFwywx7HeNu0TrMSkeFVlWTs4l/wfz203G+uhDqpNHRrHGrXYTEFrU07ZAb+L3JzBR4wygws4OfyYI1eMfog/Ba1GqlG1xBfWHyZwaR+SvHrczvGxtVXW9+SO06SYNtCuYkTxKo6IKW2l+e5Im6sKpbrh6AZaLjOuIypXPBODgbQTHgHf4T5NBYF6ZeeDAiCnjZuYL3psk2XADOyoDVzl+NWI6VZMCXCfOVDqXgkXs3Gy/oKEFoBYAGQkXUulA68vY5J8j/u+lfHKaWPxELVuqFzDmZfCT99oQvI212vwF7CHl5OO0Jvr7qFQ77EwxxaqFRFz5rxBdgFRUHwMRC2/pw9033dyOR3whX0NvcpMuda0fRqR/W/RYpkYu0FHT9D0aVxm+0cCo03lZDt7DEZPznCVqct9EJn5STjGKMrw3qChi060fbIDBfTpb/7R9mgml+6N2LomNkbRLCOX1aLeXYkbO9b4zOOox/sHJic8kSn+pBlIcU/lj9BcOSkN4+rfrPj3HDe4wTYEQQIvrQtUsWfFrvw8OuEf6zDYYDLc4rG/viqbVu7srmmjRCr8ECcdZDZiP7AJIpGbvSvakNBbOVeyYnWjTgd4f56doBPYPqrQF6jJNnWzkDvW/DC8e0tIA3FaE4OfiHNuibmfkxMfqL7T5PIjSQgVrgOLIrg7BUiKAsp/umqrBNtQqEpZJgTy7+T9s6yNOqxrHWKzlmY0Qs7GDrz27ItThpulKvgMP1pqOlNeMoKa9UU8tTsPZyPUYKz5xr4vrtGyT2KHwxqA3pj1iuOrtJI0EdD9suMcjeslp8wHz573AfoY5yn3TuTXw/IACzA8fvFH6yzfCumDJqDgqAxl1l73gstbOWAlzp3XzgfCnasBwxN5UsOo3mPC3W4XEezZhOU9hqBHKlIpawgB7PggQOuFY1uTFSdkhTfZuW4tgm9uAOc/KtDjCCPFyXn9BQW/+ctwvk+umXoANxK6WEeutxmTg5WcAivo0QE6LFQ64YwH1VOl2ipYhq6dRaFY4DqGD2/GmkaE7WRXCchfmvoS2fBtovjXcCyGPPEgc6imjwufX6LhXMh3hyVJkW3l3gL9ntn2f1Fw2vO0OhjD9DupkZa7d/0sOtMRcQXFACj3i9WIH3kcUrwRNYlzzXbwV8/Vq9om4v3Y7lmI7AjxexlGzrSNaN35Zh13m+kR/zv/HpQRrs0nN/7GMl4SonWZItXvA4Q0wbW5rQDFNLIsiRY31uKrr4yT4pco6LZGq+eocmky3A+2wtPxyep/H/ICvZfLR4sISSNi6iZVnOJaGO0qq8BFPwhrPPr/c+6XAXDHmrKm7GpEvymTlm5KSODZc44d3nk7dbxqU/H4KvI0FUVIdX66Yc2YoG0IzqM412M/FNua++Wi/LTReJMg3x1iFuzhwkP5LPGkyHXbygmwxNOHbUvKfbvqxgeA5qmAviWfTGwpo/1OdHRnh5RNnGs2EMGZAWCg1bu9RoY7Bu2Qz47xc1gTYelEVzSVZd6aDJFm5IBF/MGGyybghnCY8VLKx78RmMhd5nWyOTNra5OjBAo+/dxTnMJ12uCCVJYDKjovEg63gFHdL4UTcxCbO5xQKgXGXz44etKIfUcBKV+mMJ/jpOIy2Pjt4aWOKxByaSRd+GXtlVb4bmo1c+ecFpm60hsa+9sqlpcikpsPc8zFnj4Y46h7VhpqQGCDQ59Gex3TXwEnMm3vzn0cvs5Uk7M9/L0FB4+Qd9MxmxJ//8SLKVmyRPGRFZjHpCD2LsqX4FQ3TdM5kgbwAK8saEVp4++OdENeA93OT0oJzqujxE3gqamxZBrnvFLFznbom0Fw5PunWgNHe8JojwWtMOW5zvLnUlAUPCezN+wFMgUQcusOowRsd1szUfeuypWpnsoX9Rwz7YUJk5qWC0iXNumoDUcxtktLxGEKMwO8F8SqUiUcre0pwNTDv6ZbgvyapB9SZ2BlbYIj5ob4axFoGCmlRv6IE4IaC5ev7KfE9gPx9EqYGfyBI4xRtVRwLsR9uDEOpiRt2DkQ6k2n7k/6esPTFnN2K4kCErskyP+eWjv/RsCv8U9wGPKgMr0Hc4KEKdBPB8H3Q01tqMLIZnER2vrxciTxzDcAWQQazT4nxpjKk84yMFw1Ydo3GrUGsCNsTR24pCZorg4gOVGKzXeH3pAkwt9hiVGsnlZUcygG/BvP804JJ8ixGcKMfkDPKBG5FgqaGRovC5LIClImGlUaawrYMIaQV0uJ1TpNdpkxAdHN+J4IpX0/ttLPZnOMrBp4j8qULVctw7wyiaGAVrI88aijfaq/t6tdQU1uYywnRhq5+P4QIzUTh6VdxbYb3fb+ljCp5E7qc9xGCoTZ1ttBkdCTrnMarGGHeoeMgu7V1/vq+Gv6HLS3bjqVBYX85luD26wqUCt83FS1V29dc3/2qzxgq++OwoaqnEi3OtEY/4xoBQPgfdmciHMT7g5OBuxNFiE+pjBqz4s9PWToFZz8BAEmvOp9SFp1YcbZi8EawBv/EEDWEBBfrtPPhb3fcRE/Pk3aAEaiNETDK0zMYE+6G9FERzftqL2wosc3LEbTNfAscV8LumEX2+BKAWtelQmyFJDPWiN8on+845Ij81WBIsE/F2Mdyy5hkt0nRW/+ID85kgrPuRJQOlUe7NR1I0EeRGUvRWwgc2j6TYhrvye8wkwBsIzP2yoGhRZSVDFcu01lze7lNLR/WYPX+nRTHHDi4hGMx6JY/zQOS0tDP3snRMQo3ERXu6FvLnQpi/7Z3p/x60SOgOlsEyFAgWTVGD6siM0xsDB3Ex2acXfkWMMmqwUghfbdbmDWXVGshOAmBC8oXfDLjJetddKON0QRWEHBZHvlDhIDuRMEIKhjWBX22YiTC2FtuTtYH+vFXm6pwS22NFRA2syJPChybtpaIvPD6HuwSIT04Z9Xli+v3JVHwDLgiOIRnpciT2J0dgziFztcEbp9Ku5Xaw8OFzjw4pC8rkzAnvQrNv2q6Icx4c5QPv+bOdQ0932fGTXQBmgc1zLmBMuyd/6eGI4pGB2Mi+nyD8YguMom+I7wf+u3F8A9Yvr8u0SBkLu1UkmHybOYYKP5CLkw+aUPiQTFicUS9kZjGYSzYPbjZBir6qC81dwBs1ysYERHO4LpFjj+BSgejPdIK5gSNc6dmIQ2f7ymKSbkj37u8NZ+GufA0rFDxmkUaagErzBDkE07bo6AiDvaY4eZWseAtKdWPomG3xAnbTl25SnpMwulnPYh6ii+Tt3ksJoEtdnem5vPlbyYQVjE5ThgFh6AV45JUgyDijLrM8CVEZQAsNtDQEArpkA7XldSwDm1WeJWqCjD9Ye1yLNDgubZNNznHbsksdI5lLYa0ytVRDMWJAUppP0IGXnb5AEJUk6Ir+93fp0SRA5mGzyT2ySG7yxgpSz1oGfBX2YuxDwnw7btjQpVxjBnGj1iVSOhtkJlFO3hBZODS4I1wfVc95XWaPGK6tNTWvc2lJpondDhw4NzNl1XrpGk4teIM349DxNvwbH1G9JlJq2oiCzGZwvRMBMtdLBw7dBfB8NsG55P18yUH7mnSz9FbUQQXJHOYhw6Y1U/UJHHEonl0YaVgmfNM3jUCII9W4at1rJiF10NCTnQ5kYEBbB3e/43QuDvwc172ets5ii/ECdA26SVMBLCw2B0Icr9clXv+7f612Ttg+GNQf5Q4gSECf1BCvJDEjl5DhLBl5hQGM5nWych4GHLViGJg/4fvtDJCt/tqWXGdpEes1oBV+PlknsIlZXtRv2cvlnL6oPQyQXPvS71Yr+riAjq7Y4wBeSk2RX1TS8P7fe4QU0uxbe3AUxJI/c4KnOtWQwkx6mAaGUGe7bfTcdjoAqVst/Pcr0GmKEUJdNus1vsvLWEUn6J0gM4jQim6oBGyeteGhVnvxON+GcHH8KpBhXtFSh/vEaM3tQ49/Swqdbshvffc4UO2mYwuoTBamvyHVkqnWY7km8zCglzoVXtoVMcZBCCZL/BcuywG3sUkBHXVj8TymyLgGhkJamYKrYBhcOWmvqDDhwPbNb3u5Egpisl9ckQRardeBxlRiptUL5PC53VaJ4Hkz+VkujT6X2UKdf1q0Hhcs7E2Mddqjl535QGlOJKqO/ac4J0jqYxfkgtMro0+Hr/mf74vTWjiuh8o1U5G9oP0ifOM/Emq/uaSr7wvBuytFKkunByHNH7wyq1SIxIHW0IkewGpniTcZx7i8J/RJ+S7v6cUpOH9zcmF46IzkhiJctf/IXuq1+EBurwQ8Xn1n2F4rNsbClrGhp72nqNNtiMNEt787RuECEVr5JVEBEvj7crOkjKrDx9so099RE5Fcp4yKJ0SDP62ctn9Tp4Un5WOOWl6oeGwPsK/6swBFrXpHXbvWBzf20HD9LDoHezjJl/REcQbgw08pso5t/lohzKntNzEh5EIod9UktaFINdQ+MW/P+jjjHPmVo57pPIsDs3r+JUFlvv+j8JWo4yjE9WwXnabCfFANZBJSiC9XImBD9X2QrDZhRUSdD9xaqxkQReGMfu/eLF+drzsHJOIIibW24kyG/ibauT/3boy7ghhZxQHYSIkzbiM="/>
  <p:tag name="MEKKOXMLTAGS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</TotalTime>
  <Words>1666</Words>
  <Application>Microsoft Office PowerPoint</Application>
  <PresentationFormat>Widescreen</PresentationFormat>
  <Paragraphs>181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ptos</vt:lpstr>
      <vt:lpstr>Arial</vt:lpstr>
      <vt:lpstr>Verdana</vt:lpstr>
      <vt:lpstr>Bain Core</vt:lpstr>
      <vt:lpstr>think-cell Slide</vt:lpstr>
      <vt:lpstr>Most common Customer sentiment Blanks – BCN PEG</vt:lpstr>
      <vt:lpstr>Customer sentiment/ Quant: Target lags on consumer advocacy on E-commerce with net sentiment of ~20% vs. 55-70% for competitors</vt:lpstr>
      <vt:lpstr>Customer sentiment/ KPCs: Feature 1 is most important driver of customer sentiment, followed by xyz; Target well positioned on … </vt:lpstr>
      <vt:lpstr>Customer sentiment/ Performance on KPCs: Target performs well on health benefits and taste/smell; efficacy and price feedback is mixed</vt:lpstr>
      <vt:lpstr>Customer sentiment/ Target double-click: Promoters cite health benefits and tasteful “treats” as good; detractors mainly cite efficacy and value for money</vt:lpstr>
      <vt:lpstr>Deep-dive on most common use cases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ingh, Ujjwal</dc:creator>
  <cp:lastModifiedBy>Singh, Ujjwal</cp:lastModifiedBy>
  <cp:revision>2</cp:revision>
  <cp:lastPrinted>2017-02-15T14:23:56Z</cp:lastPrinted>
  <dcterms:created xsi:type="dcterms:W3CDTF">2025-06-06T05:54:40Z</dcterms:created>
  <dcterms:modified xsi:type="dcterms:W3CDTF">2025-06-06T05:56:12Z</dcterms:modified>
</cp:coreProperties>
</file>